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7.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33" r:id="rId1"/>
  </p:sldMasterIdLst>
  <p:notesMasterIdLst>
    <p:notesMasterId r:id="rId218"/>
  </p:notesMasterIdLst>
  <p:handoutMasterIdLst>
    <p:handoutMasterId r:id="rId219"/>
  </p:handoutMasterIdLst>
  <p:sldIdLst>
    <p:sldId id="327" r:id="rId2"/>
    <p:sldId id="523" r:id="rId3"/>
    <p:sldId id="525" r:id="rId4"/>
    <p:sldId id="354" r:id="rId5"/>
    <p:sldId id="534" r:id="rId6"/>
    <p:sldId id="538" r:id="rId7"/>
    <p:sldId id="539" r:id="rId8"/>
    <p:sldId id="540" r:id="rId9"/>
    <p:sldId id="541" r:id="rId10"/>
    <p:sldId id="358" r:id="rId11"/>
    <p:sldId id="542" r:id="rId12"/>
    <p:sldId id="359" r:id="rId13"/>
    <p:sldId id="361" r:id="rId14"/>
    <p:sldId id="360" r:id="rId15"/>
    <p:sldId id="362" r:id="rId16"/>
    <p:sldId id="364" r:id="rId17"/>
    <p:sldId id="543" r:id="rId18"/>
    <p:sldId id="365" r:id="rId19"/>
    <p:sldId id="437" r:id="rId20"/>
    <p:sldId id="544" r:id="rId21"/>
    <p:sldId id="545" r:id="rId22"/>
    <p:sldId id="366" r:id="rId23"/>
    <p:sldId id="529" r:id="rId24"/>
    <p:sldId id="533" r:id="rId25"/>
    <p:sldId id="530" r:id="rId26"/>
    <p:sldId id="528" r:id="rId27"/>
    <p:sldId id="527" r:id="rId28"/>
    <p:sldId id="368" r:id="rId29"/>
    <p:sldId id="526" r:id="rId30"/>
    <p:sldId id="546" r:id="rId31"/>
    <p:sldId id="465" r:id="rId32"/>
    <p:sldId id="373" r:id="rId33"/>
    <p:sldId id="464" r:id="rId34"/>
    <p:sldId id="369" r:id="rId35"/>
    <p:sldId id="370" r:id="rId36"/>
    <p:sldId id="531" r:id="rId37"/>
    <p:sldId id="549" r:id="rId38"/>
    <p:sldId id="433" r:id="rId39"/>
    <p:sldId id="471" r:id="rId40"/>
    <p:sldId id="374" r:id="rId41"/>
    <p:sldId id="507" r:id="rId42"/>
    <p:sldId id="375" r:id="rId43"/>
    <p:sldId id="467" r:id="rId44"/>
    <p:sldId id="371" r:id="rId45"/>
    <p:sldId id="430" r:id="rId46"/>
    <p:sldId id="431" r:id="rId47"/>
    <p:sldId id="518" r:id="rId48"/>
    <p:sldId id="377" r:id="rId49"/>
    <p:sldId id="520" r:id="rId50"/>
    <p:sldId id="521" r:id="rId51"/>
    <p:sldId id="532" r:id="rId52"/>
    <p:sldId id="423" r:id="rId53"/>
    <p:sldId id="367" r:id="rId54"/>
    <p:sldId id="468" r:id="rId55"/>
    <p:sldId id="506" r:id="rId56"/>
    <p:sldId id="378" r:id="rId57"/>
    <p:sldId id="551" r:id="rId58"/>
    <p:sldId id="550" r:id="rId59"/>
    <p:sldId id="379" r:id="rId60"/>
    <p:sldId id="509" r:id="rId61"/>
    <p:sldId id="380" r:id="rId62"/>
    <p:sldId id="381" r:id="rId63"/>
    <p:sldId id="382" r:id="rId64"/>
    <p:sldId id="383" r:id="rId65"/>
    <p:sldId id="536" r:id="rId66"/>
    <p:sldId id="537" r:id="rId67"/>
    <p:sldId id="552" r:id="rId68"/>
    <p:sldId id="424" r:id="rId69"/>
    <p:sldId id="510" r:id="rId70"/>
    <p:sldId id="376" r:id="rId71"/>
    <p:sldId id="425" r:id="rId72"/>
    <p:sldId id="661" r:id="rId73"/>
    <p:sldId id="662" r:id="rId74"/>
    <p:sldId id="555" r:id="rId75"/>
    <p:sldId id="436" r:id="rId76"/>
    <p:sldId id="422" r:id="rId77"/>
    <p:sldId id="556" r:id="rId78"/>
    <p:sldId id="663" r:id="rId79"/>
    <p:sldId id="472" r:id="rId80"/>
    <p:sldId id="372" r:id="rId81"/>
    <p:sldId id="473" r:id="rId82"/>
    <p:sldId id="512" r:id="rId83"/>
    <p:sldId id="384" r:id="rId84"/>
    <p:sldId id="474" r:id="rId85"/>
    <p:sldId id="647" r:id="rId86"/>
    <p:sldId id="648" r:id="rId87"/>
    <p:sldId id="649" r:id="rId88"/>
    <p:sldId id="650" r:id="rId89"/>
    <p:sldId id="475" r:id="rId90"/>
    <p:sldId id="657" r:id="rId91"/>
    <p:sldId id="658" r:id="rId92"/>
    <p:sldId id="659" r:id="rId93"/>
    <p:sldId id="660" r:id="rId94"/>
    <p:sldId id="398" r:id="rId95"/>
    <p:sldId id="664" r:id="rId96"/>
    <p:sldId id="557" r:id="rId97"/>
    <p:sldId id="636" r:id="rId98"/>
    <p:sldId id="637" r:id="rId99"/>
    <p:sldId id="638" r:id="rId100"/>
    <p:sldId id="639" r:id="rId101"/>
    <p:sldId id="640" r:id="rId102"/>
    <p:sldId id="641" r:id="rId103"/>
    <p:sldId id="642" r:id="rId104"/>
    <p:sldId id="645" r:id="rId105"/>
    <p:sldId id="646" r:id="rId106"/>
    <p:sldId id="513" r:id="rId107"/>
    <p:sldId id="515" r:id="rId108"/>
    <p:sldId id="516" r:id="rId109"/>
    <p:sldId id="476" r:id="rId110"/>
    <p:sldId id="558" r:id="rId111"/>
    <p:sldId id="665" r:id="rId112"/>
    <p:sldId id="611" r:id="rId113"/>
    <p:sldId id="604" r:id="rId114"/>
    <p:sldId id="605" r:id="rId115"/>
    <p:sldId id="393" r:id="rId116"/>
    <p:sldId id="469" r:id="rId117"/>
    <p:sldId id="435" r:id="rId118"/>
    <p:sldId id="394" r:id="rId119"/>
    <p:sldId id="514" r:id="rId120"/>
    <p:sldId id="606" r:id="rId121"/>
    <p:sldId id="607" r:id="rId122"/>
    <p:sldId id="608" r:id="rId123"/>
    <p:sldId id="610" r:id="rId124"/>
    <p:sldId id="612" r:id="rId125"/>
    <p:sldId id="613" r:id="rId126"/>
    <p:sldId id="614" r:id="rId127"/>
    <p:sldId id="615" r:id="rId128"/>
    <p:sldId id="616" r:id="rId129"/>
    <p:sldId id="617" r:id="rId130"/>
    <p:sldId id="619" r:id="rId131"/>
    <p:sldId id="620" r:id="rId132"/>
    <p:sldId id="621" r:id="rId133"/>
    <p:sldId id="622" r:id="rId134"/>
    <p:sldId id="623" r:id="rId135"/>
    <p:sldId id="624" r:id="rId136"/>
    <p:sldId id="625" r:id="rId137"/>
    <p:sldId id="626" r:id="rId138"/>
    <p:sldId id="388" r:id="rId139"/>
    <p:sldId id="669" r:id="rId140"/>
    <p:sldId id="395" r:id="rId141"/>
    <p:sldId id="389" r:id="rId142"/>
    <p:sldId id="396" r:id="rId143"/>
    <p:sldId id="668" r:id="rId144"/>
    <p:sldId id="392" r:id="rId145"/>
    <p:sldId id="519" r:id="rId146"/>
    <p:sldId id="439" r:id="rId147"/>
    <p:sldId id="440" r:id="rId148"/>
    <p:sldId id="438" r:id="rId149"/>
    <p:sldId id="441" r:id="rId150"/>
    <p:sldId id="397" r:id="rId151"/>
    <p:sldId id="399" r:id="rId152"/>
    <p:sldId id="400" r:id="rId153"/>
    <p:sldId id="385" r:id="rId154"/>
    <p:sldId id="401" r:id="rId155"/>
    <p:sldId id="386" r:id="rId156"/>
    <p:sldId id="387" r:id="rId157"/>
    <p:sldId id="589" r:id="rId158"/>
    <p:sldId id="405" r:id="rId159"/>
    <p:sldId id="406" r:id="rId160"/>
    <p:sldId id="407" r:id="rId161"/>
    <p:sldId id="522" r:id="rId162"/>
    <p:sldId id="412" r:id="rId163"/>
    <p:sldId id="404" r:id="rId164"/>
    <p:sldId id="592" r:id="rId165"/>
    <p:sldId id="593" r:id="rId166"/>
    <p:sldId id="594" r:id="rId167"/>
    <p:sldId id="595" r:id="rId168"/>
    <p:sldId id="409" r:id="rId169"/>
    <p:sldId id="596" r:id="rId170"/>
    <p:sldId id="597" r:id="rId171"/>
    <p:sldId id="598" r:id="rId172"/>
    <p:sldId id="599" r:id="rId173"/>
    <p:sldId id="600" r:id="rId174"/>
    <p:sldId id="408" r:id="rId175"/>
    <p:sldId id="421" r:id="rId176"/>
    <p:sldId id="448" r:id="rId177"/>
    <p:sldId id="670" r:id="rId178"/>
    <p:sldId id="575" r:id="rId179"/>
    <p:sldId id="559" r:id="rId180"/>
    <p:sldId id="561" r:id="rId181"/>
    <p:sldId id="562" r:id="rId182"/>
    <p:sldId id="564" r:id="rId183"/>
    <p:sldId id="565" r:id="rId184"/>
    <p:sldId id="566" r:id="rId185"/>
    <p:sldId id="567" r:id="rId186"/>
    <p:sldId id="568" r:id="rId187"/>
    <p:sldId id="569" r:id="rId188"/>
    <p:sldId id="570" r:id="rId189"/>
    <p:sldId id="571" r:id="rId190"/>
    <p:sldId id="572" r:id="rId191"/>
    <p:sldId id="573" r:id="rId192"/>
    <p:sldId id="574" r:id="rId193"/>
    <p:sldId id="411" r:id="rId194"/>
    <p:sldId id="429" r:id="rId195"/>
    <p:sldId id="447" r:id="rId196"/>
    <p:sldId id="443" r:id="rId197"/>
    <p:sldId id="517" r:id="rId198"/>
    <p:sldId id="444" r:id="rId199"/>
    <p:sldId id="446" r:id="rId200"/>
    <p:sldId id="451" r:id="rId201"/>
    <p:sldId id="477" r:id="rId202"/>
    <p:sldId id="483" r:id="rId203"/>
    <p:sldId id="484" r:id="rId204"/>
    <p:sldId id="486" r:id="rId205"/>
    <p:sldId id="487" r:id="rId206"/>
    <p:sldId id="488" r:id="rId207"/>
    <p:sldId id="505" r:id="rId208"/>
    <p:sldId id="501" r:id="rId209"/>
    <p:sldId id="502" r:id="rId210"/>
    <p:sldId id="503" r:id="rId211"/>
    <p:sldId id="413" r:id="rId212"/>
    <p:sldId id="415" r:id="rId213"/>
    <p:sldId id="466" r:id="rId214"/>
    <p:sldId id="450" r:id="rId215"/>
    <p:sldId id="416" r:id="rId216"/>
    <p:sldId id="417" r:id="rId217"/>
  </p:sldIdLst>
  <p:sldSz cx="12195175" cy="6859588"/>
  <p:notesSz cx="6858000" cy="9144000"/>
  <p:embeddedFontLst>
    <p:embeddedFont>
      <p:font typeface="Calibri" panose="020F0502020204030204" pitchFamily="34" charset="0"/>
      <p:regular r:id="rId220"/>
      <p:bold r:id="rId221"/>
      <p:italic r:id="rId222"/>
      <p:boldItalic r:id="rId223"/>
    </p:embeddedFont>
    <p:embeddedFont>
      <p:font typeface="Cambria Math" panose="02040503050406030204" pitchFamily="18" charset="0"/>
      <p:regular r:id="rId224"/>
    </p:embeddedFont>
    <p:embeddedFont>
      <p:font typeface="BentonSans Light" panose="020B0604020202020204" charset="0"/>
      <p:regular r:id="rId225"/>
    </p:embeddedFont>
    <p:embeddedFont>
      <p:font typeface="Arial Unicode MS" panose="020B0604020202020204" pitchFamily="34" charset="-128"/>
      <p:regular r:id="rId226"/>
    </p:embeddedFont>
  </p:embeddedFont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8">
          <p15:clr>
            <a:srgbClr val="A4A3A4"/>
          </p15:clr>
        </p15:guide>
        <p15:guide id="2" orient="horz" pos="3835">
          <p15:clr>
            <a:srgbClr val="A4A3A4"/>
          </p15:clr>
        </p15:guide>
        <p15:guide id="3" orient="horz" pos="1065">
          <p15:clr>
            <a:srgbClr val="A4A3A4"/>
          </p15:clr>
        </p15:guide>
        <p15:guide id="4" orient="horz" pos="779">
          <p15:clr>
            <a:srgbClr val="A4A3A4"/>
          </p15:clr>
        </p15:guide>
        <p15:guide id="5" pos="7478">
          <p15:clr>
            <a:srgbClr val="A4A3A4"/>
          </p15:clr>
        </p15:guide>
        <p15:guide id="6" pos="205">
          <p15:clr>
            <a:srgbClr val="A4A3A4"/>
          </p15:clr>
        </p15:guide>
        <p15:guide id="7" pos="3849">
          <p15:clr>
            <a:srgbClr val="A4A3A4"/>
          </p15:clr>
        </p15:guide>
        <p15:guide id="8" pos="4708">
          <p15:clr>
            <a:srgbClr val="A4A3A4"/>
          </p15:clr>
        </p15:guide>
        <p15:guide id="9" pos="4812">
          <p15:clr>
            <a:srgbClr val="A4A3A4"/>
          </p15:clr>
        </p15:guide>
        <p15:guide id="10" pos="2865">
          <p15:clr>
            <a:srgbClr val="A4A3A4"/>
          </p15:clr>
        </p15:guide>
        <p15:guide id="11" pos="296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0000"/>
    <a:srgbClr val="92D050"/>
    <a:srgbClr val="F0AB00"/>
    <a:srgbClr val="003283"/>
    <a:srgbClr val="666666"/>
    <a:srgbClr val="2B3F7B"/>
    <a:srgbClr val="9C277B"/>
    <a:srgbClr val="D465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49" autoAdjust="0"/>
    <p:restoredTop sz="93439" autoAdjust="0"/>
  </p:normalViewPr>
  <p:slideViewPr>
    <p:cSldViewPr snapToGrid="0" showGuides="1">
      <p:cViewPr varScale="1">
        <p:scale>
          <a:sx n="105" d="100"/>
          <a:sy n="105" d="100"/>
        </p:scale>
        <p:origin x="144" y="978"/>
      </p:cViewPr>
      <p:guideLst>
        <p:guide orient="horz" pos="4118"/>
        <p:guide orient="horz" pos="3835"/>
        <p:guide orient="horz" pos="1065"/>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varScale="1">
      <p:scale>
        <a:sx n="100" d="100"/>
        <a:sy n="100" d="100"/>
      </p:scale>
      <p:origin x="0" y="-43858"/>
    </p:cViewPr>
  </p:sorterViewPr>
  <p:notesViewPr>
    <p:cSldViewPr snapToGrid="0" showGuides="1">
      <p:cViewPr varScale="1">
        <p:scale>
          <a:sx n="64" d="100"/>
          <a:sy n="64" d="100"/>
        </p:scale>
        <p:origin x="3180" y="5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font" Target="fonts/font7.fntdata"/><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slide" Target="slides/slide170.xml"/><Relationship Id="rId176" Type="http://schemas.openxmlformats.org/officeDocument/2006/relationships/slide" Target="slides/slide175.xml"/><Relationship Id="rId192" Type="http://schemas.openxmlformats.org/officeDocument/2006/relationships/slide" Target="slides/slide191.xml"/><Relationship Id="rId197" Type="http://schemas.openxmlformats.org/officeDocument/2006/relationships/slide" Target="slides/slide196.xml"/><Relationship Id="rId206" Type="http://schemas.openxmlformats.org/officeDocument/2006/relationships/slide" Target="slides/slide205.xml"/><Relationship Id="rId227" Type="http://schemas.openxmlformats.org/officeDocument/2006/relationships/presProps" Target="presProps.xml"/><Relationship Id="rId201" Type="http://schemas.openxmlformats.org/officeDocument/2006/relationships/slide" Target="slides/slide200.xml"/><Relationship Id="rId222" Type="http://schemas.openxmlformats.org/officeDocument/2006/relationships/font" Target="fonts/font3.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82" Type="http://schemas.openxmlformats.org/officeDocument/2006/relationships/slide" Target="slides/slide181.xml"/><Relationship Id="rId187" Type="http://schemas.openxmlformats.org/officeDocument/2006/relationships/slide" Target="slides/slide186.xml"/><Relationship Id="rId217" Type="http://schemas.openxmlformats.org/officeDocument/2006/relationships/slide" Target="slides/slide216.xml"/><Relationship Id="rId1" Type="http://schemas.openxmlformats.org/officeDocument/2006/relationships/slideMaster" Target="slideMasters/slideMaster1.xml"/><Relationship Id="rId6" Type="http://schemas.openxmlformats.org/officeDocument/2006/relationships/slide" Target="slides/slide5.xml"/><Relationship Id="rId212" Type="http://schemas.openxmlformats.org/officeDocument/2006/relationships/slide" Target="slides/slide211.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slide" Target="slides/slide201.xml"/><Relationship Id="rId207" Type="http://schemas.openxmlformats.org/officeDocument/2006/relationships/slide" Target="slides/slide206.xml"/><Relationship Id="rId223" Type="http://schemas.openxmlformats.org/officeDocument/2006/relationships/font" Target="fonts/font4.fntdata"/><Relationship Id="rId228"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theme" Target="theme/theme1.xml"/><Relationship Id="rId19" Type="http://schemas.openxmlformats.org/officeDocument/2006/relationships/slide" Target="slides/slide18.xml"/><Relationship Id="rId224" Type="http://schemas.openxmlformats.org/officeDocument/2006/relationships/font" Target="fonts/font5.fntdata"/><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handoutMaster" Target="handoutMasters/handoutMaster1.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tableStyles" Target="tableStyle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font" Target="fonts/font1.fntdata"/><Relationship Id="rId225" Type="http://schemas.openxmlformats.org/officeDocument/2006/relationships/font" Target="fonts/font6.fntdata"/><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6" Type="http://schemas.openxmlformats.org/officeDocument/2006/relationships/slide" Target="slides/slide25.xml"/><Relationship Id="rId231" Type="http://schemas.microsoft.com/office/2015/10/relationships/revisionInfo" Target="revisionInfo.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font" Target="fonts/font2.fntdata"/><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s>
</file>

<file path=ppt/diagrams/_rels/data3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s>
</file>

<file path=ppt/diagrams/_rels/drawing3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CE000F-B1EE-48F4-917A-31998C44E667}" type="doc">
      <dgm:prSet loTypeId="urn:microsoft.com/office/officeart/2005/8/layout/process5" loCatId="process" qsTypeId="urn:microsoft.com/office/officeart/2005/8/quickstyle/simple5" qsCatId="simple" csTypeId="urn:microsoft.com/office/officeart/2005/8/colors/colorful5" csCatId="colorful" phldr="1"/>
      <dgm:spPr/>
      <dgm:t>
        <a:bodyPr/>
        <a:lstStyle/>
        <a:p>
          <a:endParaRPr lang="en-US"/>
        </a:p>
      </dgm:t>
    </dgm:pt>
    <dgm:pt modelId="{BBB6F9CD-0B68-49BF-BD66-5F40E978ADA7}">
      <dgm:prSet phldrT="[Text]" custT="1"/>
      <dgm:spPr/>
      <dgm:t>
        <a:bodyPr/>
        <a:lstStyle/>
        <a:p>
          <a:r>
            <a:rPr lang="en-US" sz="1800" dirty="0"/>
            <a:t>Digital (1950s)</a:t>
          </a:r>
        </a:p>
      </dgm:t>
    </dgm:pt>
    <dgm:pt modelId="{AF37DCF3-F560-442D-8819-5A37636B3D2E}" type="parTrans" cxnId="{B0FE311A-4211-436B-87C8-8F5FE1DAC4D9}">
      <dgm:prSet/>
      <dgm:spPr/>
      <dgm:t>
        <a:bodyPr/>
        <a:lstStyle/>
        <a:p>
          <a:endParaRPr lang="en-US"/>
        </a:p>
      </dgm:t>
    </dgm:pt>
    <dgm:pt modelId="{4877B592-EDDA-4625-9560-9346A45F808A}" type="sibTrans" cxnId="{B0FE311A-4211-436B-87C8-8F5FE1DAC4D9}">
      <dgm:prSet/>
      <dgm:spPr/>
      <dgm:t>
        <a:bodyPr/>
        <a:lstStyle/>
        <a:p>
          <a:endParaRPr lang="en-US"/>
        </a:p>
      </dgm:t>
    </dgm:pt>
    <dgm:pt modelId="{32A693A7-EAD8-4DD6-B2FE-94298D117F6C}">
      <dgm:prSet phldrT="[Text]" custT="1"/>
      <dgm:spPr/>
      <dgm:t>
        <a:bodyPr/>
        <a:lstStyle/>
        <a:p>
          <a:r>
            <a:rPr lang="en-US" sz="1400" dirty="0"/>
            <a:t>Computer</a:t>
          </a:r>
        </a:p>
      </dgm:t>
    </dgm:pt>
    <dgm:pt modelId="{720E056E-962B-4B38-8E3B-1E89704D3A11}" type="parTrans" cxnId="{71AFDDD5-72AB-41EA-8749-F262DF7EE6A8}">
      <dgm:prSet/>
      <dgm:spPr/>
      <dgm:t>
        <a:bodyPr/>
        <a:lstStyle/>
        <a:p>
          <a:endParaRPr lang="en-US"/>
        </a:p>
      </dgm:t>
    </dgm:pt>
    <dgm:pt modelId="{589189C6-E314-466B-9311-451FB36A870C}" type="sibTrans" cxnId="{71AFDDD5-72AB-41EA-8749-F262DF7EE6A8}">
      <dgm:prSet/>
      <dgm:spPr/>
      <dgm:t>
        <a:bodyPr/>
        <a:lstStyle/>
        <a:p>
          <a:endParaRPr lang="en-US"/>
        </a:p>
      </dgm:t>
    </dgm:pt>
    <dgm:pt modelId="{5CE07FE9-9972-425A-8BB6-8E8E3A237F38}">
      <dgm:prSet phldrT="[Text]" custT="1"/>
      <dgm:spPr/>
      <dgm:t>
        <a:bodyPr/>
        <a:lstStyle/>
        <a:p>
          <a:r>
            <a:rPr lang="en-US" sz="1800" dirty="0"/>
            <a:t>Network (1960s)</a:t>
          </a:r>
        </a:p>
      </dgm:t>
    </dgm:pt>
    <dgm:pt modelId="{A972B714-A28A-4F69-9903-FA6155975B77}" type="parTrans" cxnId="{94E905D0-4698-43AA-95C6-401B11671B8C}">
      <dgm:prSet/>
      <dgm:spPr/>
      <dgm:t>
        <a:bodyPr/>
        <a:lstStyle/>
        <a:p>
          <a:endParaRPr lang="en-US"/>
        </a:p>
      </dgm:t>
    </dgm:pt>
    <dgm:pt modelId="{FFE996E6-D84B-4E3B-994A-0CBDF3D2DB6F}" type="sibTrans" cxnId="{94E905D0-4698-43AA-95C6-401B11671B8C}">
      <dgm:prSet/>
      <dgm:spPr/>
      <dgm:t>
        <a:bodyPr/>
        <a:lstStyle/>
        <a:p>
          <a:endParaRPr lang="en-US"/>
        </a:p>
      </dgm:t>
    </dgm:pt>
    <dgm:pt modelId="{BC72D231-BFF6-4380-88B3-748C24F12846}">
      <dgm:prSet phldrT="[Text]" custT="1"/>
      <dgm:spPr/>
      <dgm:t>
        <a:bodyPr/>
        <a:lstStyle/>
        <a:p>
          <a:r>
            <a:rPr lang="en-US" sz="1400" dirty="0"/>
            <a:t>Internet</a:t>
          </a:r>
        </a:p>
      </dgm:t>
    </dgm:pt>
    <dgm:pt modelId="{5C329874-797D-4AEC-AFA5-96D16F5DB390}" type="parTrans" cxnId="{AF6DE947-A53E-46E6-BA17-1199E1D89020}">
      <dgm:prSet/>
      <dgm:spPr/>
      <dgm:t>
        <a:bodyPr/>
        <a:lstStyle/>
        <a:p>
          <a:endParaRPr lang="en-US"/>
        </a:p>
      </dgm:t>
    </dgm:pt>
    <dgm:pt modelId="{8E6F2483-5FEC-4105-8E17-FBD2DB7BA9AC}" type="sibTrans" cxnId="{AF6DE947-A53E-46E6-BA17-1199E1D89020}">
      <dgm:prSet/>
      <dgm:spPr/>
      <dgm:t>
        <a:bodyPr/>
        <a:lstStyle/>
        <a:p>
          <a:endParaRPr lang="en-US"/>
        </a:p>
      </dgm:t>
    </dgm:pt>
    <dgm:pt modelId="{C60E144D-3C3D-4BDC-97C8-3849016B1176}">
      <dgm:prSet phldrT="[Text]" custT="1"/>
      <dgm:spPr/>
      <dgm:t>
        <a:bodyPr/>
        <a:lstStyle/>
        <a:p>
          <a:r>
            <a:rPr lang="en-US" sz="1800" dirty="0"/>
            <a:t>Communication (1970s)</a:t>
          </a:r>
        </a:p>
      </dgm:t>
    </dgm:pt>
    <dgm:pt modelId="{D1B9B542-73C5-465D-B332-C1B97E049CDE}" type="parTrans" cxnId="{8F8A11C8-D168-4B3B-9E90-559FF9804BE5}">
      <dgm:prSet/>
      <dgm:spPr/>
      <dgm:t>
        <a:bodyPr/>
        <a:lstStyle/>
        <a:p>
          <a:endParaRPr lang="en-US"/>
        </a:p>
      </dgm:t>
    </dgm:pt>
    <dgm:pt modelId="{3BF103D0-9D24-4E03-B452-BB2328318C4B}" type="sibTrans" cxnId="{8F8A11C8-D168-4B3B-9E90-559FF9804BE5}">
      <dgm:prSet/>
      <dgm:spPr/>
      <dgm:t>
        <a:bodyPr/>
        <a:lstStyle/>
        <a:p>
          <a:endParaRPr lang="en-US"/>
        </a:p>
      </dgm:t>
    </dgm:pt>
    <dgm:pt modelId="{BB8031F8-7F96-44E3-870C-74BFD5BE5EE2}">
      <dgm:prSet phldrT="[Text]" custT="1"/>
      <dgm:spPr/>
      <dgm:t>
        <a:bodyPr/>
        <a:lstStyle/>
        <a:p>
          <a:r>
            <a:rPr lang="en-US" sz="1400" dirty="0"/>
            <a:t>Messaging</a:t>
          </a:r>
        </a:p>
      </dgm:t>
    </dgm:pt>
    <dgm:pt modelId="{6BF2288A-3841-4E6D-AE14-1859A19C65A5}" type="parTrans" cxnId="{9BD21B47-A2E0-4487-ABA1-946817D81C17}">
      <dgm:prSet/>
      <dgm:spPr/>
      <dgm:t>
        <a:bodyPr/>
        <a:lstStyle/>
        <a:p>
          <a:endParaRPr lang="en-US"/>
        </a:p>
      </dgm:t>
    </dgm:pt>
    <dgm:pt modelId="{59115DBC-3460-4A5A-8194-265C55126F48}" type="sibTrans" cxnId="{9BD21B47-A2E0-4487-ABA1-946817D81C17}">
      <dgm:prSet/>
      <dgm:spPr/>
      <dgm:t>
        <a:bodyPr/>
        <a:lstStyle/>
        <a:p>
          <a:endParaRPr lang="en-US"/>
        </a:p>
      </dgm:t>
    </dgm:pt>
    <dgm:pt modelId="{C8AC192A-F379-47BF-92D9-ABD4C0435A78}">
      <dgm:prSet phldrT="[Text]" custT="1"/>
      <dgm:spPr/>
      <dgm:t>
        <a:bodyPr/>
        <a:lstStyle/>
        <a:p>
          <a:r>
            <a:rPr lang="en-US" sz="1800" dirty="0"/>
            <a:t>Web (1990s)</a:t>
          </a:r>
        </a:p>
      </dgm:t>
    </dgm:pt>
    <dgm:pt modelId="{4E7729D7-A3E3-4340-915C-2A114A848019}" type="parTrans" cxnId="{8965F0D7-6A94-4027-8154-4C6FBA503DB2}">
      <dgm:prSet/>
      <dgm:spPr/>
      <dgm:t>
        <a:bodyPr/>
        <a:lstStyle/>
        <a:p>
          <a:endParaRPr lang="en-US"/>
        </a:p>
      </dgm:t>
    </dgm:pt>
    <dgm:pt modelId="{BA73B597-C0C0-4F16-B0B4-EC3E825BE26B}" type="sibTrans" cxnId="{8965F0D7-6A94-4027-8154-4C6FBA503DB2}">
      <dgm:prSet/>
      <dgm:spPr/>
      <dgm:t>
        <a:bodyPr/>
        <a:lstStyle/>
        <a:p>
          <a:endParaRPr lang="en-US"/>
        </a:p>
      </dgm:t>
    </dgm:pt>
    <dgm:pt modelId="{EFB87F2A-974B-49D0-987C-BCD19BFC5C3B}">
      <dgm:prSet phldrT="[Text]" custT="1"/>
      <dgm:spPr/>
      <dgm:t>
        <a:bodyPr/>
        <a:lstStyle/>
        <a:p>
          <a:r>
            <a:rPr lang="en-US" sz="1400" dirty="0"/>
            <a:t>Information</a:t>
          </a:r>
        </a:p>
      </dgm:t>
    </dgm:pt>
    <dgm:pt modelId="{5ED69561-2097-43DF-B5BB-05DA491D17C0}" type="parTrans" cxnId="{3CAB8B06-48BD-4CC9-B962-0BCC8CCF82FB}">
      <dgm:prSet/>
      <dgm:spPr/>
      <dgm:t>
        <a:bodyPr/>
        <a:lstStyle/>
        <a:p>
          <a:endParaRPr lang="en-US"/>
        </a:p>
      </dgm:t>
    </dgm:pt>
    <dgm:pt modelId="{78E6576B-E880-4A8E-995F-90AE0409A9EE}" type="sibTrans" cxnId="{3CAB8B06-48BD-4CC9-B962-0BCC8CCF82FB}">
      <dgm:prSet/>
      <dgm:spPr/>
      <dgm:t>
        <a:bodyPr/>
        <a:lstStyle/>
        <a:p>
          <a:endParaRPr lang="en-US"/>
        </a:p>
      </dgm:t>
    </dgm:pt>
    <dgm:pt modelId="{F12C5E95-887B-4249-B7EC-2E20EF13368D}">
      <dgm:prSet phldrT="[Text]" custT="1"/>
      <dgm:spPr/>
      <dgm:t>
        <a:bodyPr/>
        <a:lstStyle/>
        <a:p>
          <a:r>
            <a:rPr lang="en-US" sz="1400" dirty="0"/>
            <a:t>Ecommerce</a:t>
          </a:r>
        </a:p>
      </dgm:t>
    </dgm:pt>
    <dgm:pt modelId="{A0D6BDB0-1B96-40F1-A148-3EFD1682E36D}" type="parTrans" cxnId="{2282E98E-8D0D-4731-B3AA-316900235FE2}">
      <dgm:prSet/>
      <dgm:spPr/>
      <dgm:t>
        <a:bodyPr/>
        <a:lstStyle/>
        <a:p>
          <a:endParaRPr lang="en-US"/>
        </a:p>
      </dgm:t>
    </dgm:pt>
    <dgm:pt modelId="{7819127A-CFD4-40C7-8CE7-B33F260B8E08}" type="sibTrans" cxnId="{2282E98E-8D0D-4731-B3AA-316900235FE2}">
      <dgm:prSet/>
      <dgm:spPr/>
      <dgm:t>
        <a:bodyPr/>
        <a:lstStyle/>
        <a:p>
          <a:endParaRPr lang="en-US"/>
        </a:p>
      </dgm:t>
    </dgm:pt>
    <dgm:pt modelId="{41A83157-D3C1-435E-8790-E1234AC86EBA}">
      <dgm:prSet phldrT="[Text]" custT="1"/>
      <dgm:spPr/>
      <dgm:t>
        <a:bodyPr/>
        <a:lstStyle/>
        <a:p>
          <a:r>
            <a:rPr lang="en-US" sz="1800" dirty="0"/>
            <a:t>Mobile (2000s)</a:t>
          </a:r>
        </a:p>
      </dgm:t>
    </dgm:pt>
    <dgm:pt modelId="{E9C4E3B7-0AF5-467A-925D-048BDE775E72}" type="parTrans" cxnId="{152297B4-08ED-4271-8E92-89794B1D8E0D}">
      <dgm:prSet/>
      <dgm:spPr/>
      <dgm:t>
        <a:bodyPr/>
        <a:lstStyle/>
        <a:p>
          <a:endParaRPr lang="en-US"/>
        </a:p>
      </dgm:t>
    </dgm:pt>
    <dgm:pt modelId="{B908FABB-8186-4527-B984-C01C60C7045E}" type="sibTrans" cxnId="{152297B4-08ED-4271-8E92-89794B1D8E0D}">
      <dgm:prSet/>
      <dgm:spPr/>
      <dgm:t>
        <a:bodyPr/>
        <a:lstStyle/>
        <a:p>
          <a:endParaRPr lang="en-US"/>
        </a:p>
      </dgm:t>
    </dgm:pt>
    <dgm:pt modelId="{2F035977-ACEB-42C8-827B-45654B7D1F77}">
      <dgm:prSet phldrT="[Text]" custT="1"/>
      <dgm:spPr/>
      <dgm:t>
        <a:bodyPr/>
        <a:lstStyle/>
        <a:p>
          <a:r>
            <a:rPr lang="en-US" sz="1400" dirty="0"/>
            <a:t>Apps</a:t>
          </a:r>
        </a:p>
      </dgm:t>
    </dgm:pt>
    <dgm:pt modelId="{91A3D2E9-4919-406F-BDE1-0F886EC14B2D}" type="parTrans" cxnId="{2EECFFA6-19AF-4C5C-8D60-A7D686A87E5B}">
      <dgm:prSet/>
      <dgm:spPr/>
      <dgm:t>
        <a:bodyPr/>
        <a:lstStyle/>
        <a:p>
          <a:endParaRPr lang="en-US"/>
        </a:p>
      </dgm:t>
    </dgm:pt>
    <dgm:pt modelId="{AD825D4F-5F5C-4916-9873-6FE9941FD4C0}" type="sibTrans" cxnId="{2EECFFA6-19AF-4C5C-8D60-A7D686A87E5B}">
      <dgm:prSet/>
      <dgm:spPr/>
      <dgm:t>
        <a:bodyPr/>
        <a:lstStyle/>
        <a:p>
          <a:endParaRPr lang="en-US"/>
        </a:p>
      </dgm:t>
    </dgm:pt>
    <dgm:pt modelId="{A1D6B47C-BCA9-45F2-9C71-BE71E92B2FEB}">
      <dgm:prSet phldrT="[Text]" custT="1"/>
      <dgm:spPr/>
      <dgm:t>
        <a:bodyPr/>
        <a:lstStyle/>
        <a:p>
          <a:r>
            <a:rPr lang="en-US" sz="1800" dirty="0"/>
            <a:t>Social (2000s)</a:t>
          </a:r>
        </a:p>
      </dgm:t>
    </dgm:pt>
    <dgm:pt modelId="{25A19175-0FB9-46E2-B25C-3298CEA0D616}" type="parTrans" cxnId="{2CC75E25-B698-42F3-BA46-5C45C0A9F9DC}">
      <dgm:prSet/>
      <dgm:spPr/>
      <dgm:t>
        <a:bodyPr/>
        <a:lstStyle/>
        <a:p>
          <a:endParaRPr lang="en-US"/>
        </a:p>
      </dgm:t>
    </dgm:pt>
    <dgm:pt modelId="{2CA44BC2-D554-490B-9B19-3ED96630FDEA}" type="sibTrans" cxnId="{2CC75E25-B698-42F3-BA46-5C45C0A9F9DC}">
      <dgm:prSet/>
      <dgm:spPr/>
      <dgm:t>
        <a:bodyPr/>
        <a:lstStyle/>
        <a:p>
          <a:endParaRPr lang="en-US"/>
        </a:p>
      </dgm:t>
    </dgm:pt>
    <dgm:pt modelId="{534F3F3C-BCEB-4D17-985D-5CD4040BDF25}">
      <dgm:prSet phldrT="[Text]" custT="1"/>
      <dgm:spPr/>
      <dgm:t>
        <a:bodyPr/>
        <a:lstStyle/>
        <a:p>
          <a:r>
            <a:rPr lang="en-US" sz="1400" dirty="0"/>
            <a:t>Media</a:t>
          </a:r>
        </a:p>
      </dgm:t>
    </dgm:pt>
    <dgm:pt modelId="{C47C708A-9785-4A59-8AFA-56C0C4AC246C}" type="parTrans" cxnId="{65F168F3-9B54-46C4-9AE4-11B27FB0FF14}">
      <dgm:prSet/>
      <dgm:spPr/>
      <dgm:t>
        <a:bodyPr/>
        <a:lstStyle/>
        <a:p>
          <a:endParaRPr lang="en-US"/>
        </a:p>
      </dgm:t>
    </dgm:pt>
    <dgm:pt modelId="{E6BFB732-766B-4486-94AA-4D2AF135E963}" type="sibTrans" cxnId="{65F168F3-9B54-46C4-9AE4-11B27FB0FF14}">
      <dgm:prSet/>
      <dgm:spPr/>
      <dgm:t>
        <a:bodyPr/>
        <a:lstStyle/>
        <a:p>
          <a:endParaRPr lang="en-US"/>
        </a:p>
      </dgm:t>
    </dgm:pt>
    <dgm:pt modelId="{17C8E894-CD90-4C94-B523-8A2E5E1AC948}">
      <dgm:prSet phldrT="[Text]" custT="1"/>
      <dgm:spPr/>
      <dgm:t>
        <a:bodyPr/>
        <a:lstStyle/>
        <a:p>
          <a:r>
            <a:rPr lang="en-US" sz="1800" dirty="0"/>
            <a:t>Data (2010s)</a:t>
          </a:r>
        </a:p>
      </dgm:t>
    </dgm:pt>
    <dgm:pt modelId="{FA767AEA-0B5E-40A2-AD45-201506F2B3F9}" type="parTrans" cxnId="{D85BF238-3E7B-496A-BCDD-A8C7087F2CAF}">
      <dgm:prSet/>
      <dgm:spPr/>
      <dgm:t>
        <a:bodyPr/>
        <a:lstStyle/>
        <a:p>
          <a:endParaRPr lang="en-US"/>
        </a:p>
      </dgm:t>
    </dgm:pt>
    <dgm:pt modelId="{B3C8E4A9-3DA5-4C48-89D8-C6E1F4CFFDE9}" type="sibTrans" cxnId="{D85BF238-3E7B-496A-BCDD-A8C7087F2CAF}">
      <dgm:prSet/>
      <dgm:spPr/>
      <dgm:t>
        <a:bodyPr/>
        <a:lstStyle/>
        <a:p>
          <a:endParaRPr lang="en-US"/>
        </a:p>
      </dgm:t>
    </dgm:pt>
    <dgm:pt modelId="{62ADE943-8F8D-444E-9D2B-CDBE9AA69D2A}">
      <dgm:prSet phldrT="[Text]" custT="1"/>
      <dgm:spPr/>
      <dgm:t>
        <a:bodyPr/>
        <a:lstStyle/>
        <a:p>
          <a:r>
            <a:rPr lang="en-US" sz="1400" dirty="0"/>
            <a:t>Analytics</a:t>
          </a:r>
        </a:p>
      </dgm:t>
    </dgm:pt>
    <dgm:pt modelId="{E7BAFCB9-9040-434F-9CBD-BEFF699921E1}" type="parTrans" cxnId="{070A6154-8B71-4472-BD35-B97F0C809709}">
      <dgm:prSet/>
      <dgm:spPr/>
      <dgm:t>
        <a:bodyPr/>
        <a:lstStyle/>
        <a:p>
          <a:endParaRPr lang="en-US"/>
        </a:p>
      </dgm:t>
    </dgm:pt>
    <dgm:pt modelId="{630A0B79-EAE6-49C2-8CF7-0824916A0B43}" type="sibTrans" cxnId="{070A6154-8B71-4472-BD35-B97F0C809709}">
      <dgm:prSet/>
      <dgm:spPr/>
      <dgm:t>
        <a:bodyPr/>
        <a:lstStyle/>
        <a:p>
          <a:endParaRPr lang="en-US"/>
        </a:p>
      </dgm:t>
    </dgm:pt>
    <dgm:pt modelId="{E78790C7-6080-4A07-9269-D044044908A9}">
      <dgm:prSet phldrT="[Text]" custT="1"/>
      <dgm:spPr/>
      <dgm:t>
        <a:bodyPr/>
        <a:lstStyle/>
        <a:p>
          <a:r>
            <a:rPr lang="en-US" sz="1400" dirty="0"/>
            <a:t>Machine Learning</a:t>
          </a:r>
        </a:p>
      </dgm:t>
    </dgm:pt>
    <dgm:pt modelId="{2AAFC692-A7B2-4119-9DF8-DE7CB262E5F7}" type="parTrans" cxnId="{A87755A9-F8FB-43D8-9A9B-509884EBDA2C}">
      <dgm:prSet/>
      <dgm:spPr/>
      <dgm:t>
        <a:bodyPr/>
        <a:lstStyle/>
        <a:p>
          <a:endParaRPr lang="en-US"/>
        </a:p>
      </dgm:t>
    </dgm:pt>
    <dgm:pt modelId="{860D55D4-BE3C-47B3-98C7-EC58177C7FBF}" type="sibTrans" cxnId="{A87755A9-F8FB-43D8-9A9B-509884EBDA2C}">
      <dgm:prSet/>
      <dgm:spPr/>
      <dgm:t>
        <a:bodyPr/>
        <a:lstStyle/>
        <a:p>
          <a:endParaRPr lang="en-US"/>
        </a:p>
      </dgm:t>
    </dgm:pt>
    <dgm:pt modelId="{6D1256DF-5E76-400F-B519-451F3579272B}">
      <dgm:prSet phldrT="[Text]" custT="1"/>
      <dgm:spPr/>
      <dgm:t>
        <a:bodyPr/>
        <a:lstStyle/>
        <a:p>
          <a:r>
            <a:rPr lang="en-US" sz="1800" dirty="0"/>
            <a:t>Crypto (2009 - )</a:t>
          </a:r>
        </a:p>
      </dgm:t>
    </dgm:pt>
    <dgm:pt modelId="{A193A37D-FAD5-49BC-BE31-CA0C99A709B8}" type="parTrans" cxnId="{0371583B-4EFB-44A0-97DE-B78A1357083C}">
      <dgm:prSet/>
      <dgm:spPr/>
      <dgm:t>
        <a:bodyPr/>
        <a:lstStyle/>
        <a:p>
          <a:endParaRPr lang="en-US"/>
        </a:p>
      </dgm:t>
    </dgm:pt>
    <dgm:pt modelId="{12CBD382-29C5-473C-A233-EF036B3ECDAE}" type="sibTrans" cxnId="{0371583B-4EFB-44A0-97DE-B78A1357083C}">
      <dgm:prSet/>
      <dgm:spPr/>
      <dgm:t>
        <a:bodyPr/>
        <a:lstStyle/>
        <a:p>
          <a:endParaRPr lang="en-US"/>
        </a:p>
      </dgm:t>
    </dgm:pt>
    <dgm:pt modelId="{C531E428-9A1C-4FA9-B86E-D99AF517057A}">
      <dgm:prSet phldrT="[Text]" custT="1"/>
      <dgm:spPr/>
      <dgm:t>
        <a:bodyPr/>
        <a:lstStyle/>
        <a:p>
          <a:r>
            <a:rPr lang="en-US" sz="1800" dirty="0"/>
            <a:t>Bitcoin</a:t>
          </a:r>
        </a:p>
      </dgm:t>
    </dgm:pt>
    <dgm:pt modelId="{E71F7334-0DF5-4E03-A84F-867E52CC9A01}" type="parTrans" cxnId="{0CCA85D9-98BC-4443-A0F7-B0C53D6BF2C1}">
      <dgm:prSet/>
      <dgm:spPr/>
      <dgm:t>
        <a:bodyPr/>
        <a:lstStyle/>
        <a:p>
          <a:endParaRPr lang="en-US"/>
        </a:p>
      </dgm:t>
    </dgm:pt>
    <dgm:pt modelId="{EFAFE71B-964A-44FE-B12A-2EDBCBD11C99}" type="sibTrans" cxnId="{0CCA85D9-98BC-4443-A0F7-B0C53D6BF2C1}">
      <dgm:prSet/>
      <dgm:spPr/>
      <dgm:t>
        <a:bodyPr/>
        <a:lstStyle/>
        <a:p>
          <a:endParaRPr lang="en-US"/>
        </a:p>
      </dgm:t>
    </dgm:pt>
    <dgm:pt modelId="{4A7B9410-F90B-4538-850C-FFF23B6C7D89}">
      <dgm:prSet phldrT="[Text]" custT="1"/>
      <dgm:spPr/>
      <dgm:t>
        <a:bodyPr/>
        <a:lstStyle/>
        <a:p>
          <a:r>
            <a:rPr lang="en-US" sz="1800" dirty="0"/>
            <a:t>Blockchain</a:t>
          </a:r>
        </a:p>
      </dgm:t>
    </dgm:pt>
    <dgm:pt modelId="{4A1166F0-9C88-4FEC-A591-0CF45B657438}" type="parTrans" cxnId="{8BCFA0FB-ACF0-450A-A43F-F6F7CE08780F}">
      <dgm:prSet/>
      <dgm:spPr/>
      <dgm:t>
        <a:bodyPr/>
        <a:lstStyle/>
        <a:p>
          <a:endParaRPr lang="en-US"/>
        </a:p>
      </dgm:t>
    </dgm:pt>
    <dgm:pt modelId="{2C1DA61E-AF22-4BD0-A7BD-689D70AA152D}" type="sibTrans" cxnId="{8BCFA0FB-ACF0-450A-A43F-F6F7CE08780F}">
      <dgm:prSet/>
      <dgm:spPr/>
      <dgm:t>
        <a:bodyPr/>
        <a:lstStyle/>
        <a:p>
          <a:endParaRPr lang="en-US"/>
        </a:p>
      </dgm:t>
    </dgm:pt>
    <dgm:pt modelId="{22B96D68-7317-4963-83B6-A29D5F0743A6}">
      <dgm:prSet phldrT="[Text]" custT="1"/>
      <dgm:spPr/>
      <dgm:t>
        <a:bodyPr/>
        <a:lstStyle/>
        <a:p>
          <a:r>
            <a:rPr lang="en-US" sz="1400" dirty="0"/>
            <a:t>Enterprise</a:t>
          </a:r>
        </a:p>
      </dgm:t>
    </dgm:pt>
    <dgm:pt modelId="{09DBBC77-83B0-4151-8752-C64EBAAEF6E9}" type="parTrans" cxnId="{F3B5E57F-849A-4080-8834-8BA0AEBCE3A7}">
      <dgm:prSet/>
      <dgm:spPr/>
      <dgm:t>
        <a:bodyPr/>
        <a:lstStyle/>
        <a:p>
          <a:endParaRPr lang="en-US"/>
        </a:p>
      </dgm:t>
    </dgm:pt>
    <dgm:pt modelId="{F96EE63F-1E1F-4A41-B12B-2BBD473E0AE8}" type="sibTrans" cxnId="{F3B5E57F-849A-4080-8834-8BA0AEBCE3A7}">
      <dgm:prSet/>
      <dgm:spPr/>
      <dgm:t>
        <a:bodyPr/>
        <a:lstStyle/>
        <a:p>
          <a:endParaRPr lang="en-US"/>
        </a:p>
      </dgm:t>
    </dgm:pt>
    <dgm:pt modelId="{FE1DC90A-7D28-48E2-A96D-2FB8283791D1}">
      <dgm:prSet phldrT="[Text]" custT="1"/>
      <dgm:spPr/>
      <dgm:t>
        <a:bodyPr/>
        <a:lstStyle/>
        <a:p>
          <a:r>
            <a:rPr lang="en-US" sz="1400" dirty="0"/>
            <a:t>Usenet</a:t>
          </a:r>
        </a:p>
      </dgm:t>
    </dgm:pt>
    <dgm:pt modelId="{D0321AF2-3CF2-4CC7-A206-0323BCE68185}" type="parTrans" cxnId="{6EF58501-AEC5-405B-B731-2CD931C1FFEB}">
      <dgm:prSet/>
      <dgm:spPr/>
      <dgm:t>
        <a:bodyPr/>
        <a:lstStyle/>
        <a:p>
          <a:endParaRPr lang="en-US"/>
        </a:p>
      </dgm:t>
    </dgm:pt>
    <dgm:pt modelId="{4B9AC709-24ED-445B-8F48-E4391D2032DD}" type="sibTrans" cxnId="{6EF58501-AEC5-405B-B731-2CD931C1FFEB}">
      <dgm:prSet/>
      <dgm:spPr/>
      <dgm:t>
        <a:bodyPr/>
        <a:lstStyle/>
        <a:p>
          <a:endParaRPr lang="en-US"/>
        </a:p>
      </dgm:t>
    </dgm:pt>
    <dgm:pt modelId="{11247C7C-FACD-4120-884C-83ED8176E956}">
      <dgm:prSet phldrT="[Text]" custT="1"/>
      <dgm:spPr/>
      <dgm:t>
        <a:bodyPr/>
        <a:lstStyle/>
        <a:p>
          <a:r>
            <a:rPr lang="en-US" sz="1400" dirty="0"/>
            <a:t>Maps</a:t>
          </a:r>
        </a:p>
      </dgm:t>
    </dgm:pt>
    <dgm:pt modelId="{8BABB8F3-0804-42D9-B4D8-9D8B0E049D36}" type="parTrans" cxnId="{07E3FF97-ADAF-4A32-8421-F7953B10AFC6}">
      <dgm:prSet/>
      <dgm:spPr/>
      <dgm:t>
        <a:bodyPr/>
        <a:lstStyle/>
        <a:p>
          <a:endParaRPr lang="en-US"/>
        </a:p>
      </dgm:t>
    </dgm:pt>
    <dgm:pt modelId="{87C463B4-D6BD-46B0-9624-72935DA5726D}" type="sibTrans" cxnId="{07E3FF97-ADAF-4A32-8421-F7953B10AFC6}">
      <dgm:prSet/>
      <dgm:spPr/>
      <dgm:t>
        <a:bodyPr/>
        <a:lstStyle/>
        <a:p>
          <a:endParaRPr lang="en-US"/>
        </a:p>
      </dgm:t>
    </dgm:pt>
    <dgm:pt modelId="{D2DA4613-86E0-4EC6-9AE7-0DFC34D8909C}">
      <dgm:prSet phldrT="[Text]" custT="1"/>
      <dgm:spPr/>
      <dgm:t>
        <a:bodyPr/>
        <a:lstStyle/>
        <a:p>
          <a:r>
            <a:rPr lang="en-US" sz="1400" dirty="0"/>
            <a:t>Snaps</a:t>
          </a:r>
        </a:p>
      </dgm:t>
    </dgm:pt>
    <dgm:pt modelId="{1317D0DA-13AA-4219-B405-CBE5C078E000}" type="parTrans" cxnId="{94662449-AAD5-4E90-9AED-D030B9E4377E}">
      <dgm:prSet/>
      <dgm:spPr/>
      <dgm:t>
        <a:bodyPr/>
        <a:lstStyle/>
        <a:p>
          <a:endParaRPr lang="en-US"/>
        </a:p>
      </dgm:t>
    </dgm:pt>
    <dgm:pt modelId="{031331F1-4341-4602-B104-70402DD35B3E}" type="sibTrans" cxnId="{94662449-AAD5-4E90-9AED-D030B9E4377E}">
      <dgm:prSet/>
      <dgm:spPr/>
      <dgm:t>
        <a:bodyPr/>
        <a:lstStyle/>
        <a:p>
          <a:endParaRPr lang="en-US"/>
        </a:p>
      </dgm:t>
    </dgm:pt>
    <dgm:pt modelId="{9CCB6FD9-1A4F-41D6-A6CE-8AE9855CD69E}">
      <dgm:prSet phldrT="[Text]" custT="1"/>
      <dgm:spPr/>
      <dgm:t>
        <a:bodyPr/>
        <a:lstStyle/>
        <a:p>
          <a:r>
            <a:rPr lang="en-US" sz="1400" dirty="0"/>
            <a:t>Networks</a:t>
          </a:r>
        </a:p>
      </dgm:t>
    </dgm:pt>
    <dgm:pt modelId="{E4B92C73-325C-4D81-A6B7-C00C6C2F5396}" type="parTrans" cxnId="{4EF81B47-001C-4436-A558-AC6B486872F9}">
      <dgm:prSet/>
      <dgm:spPr/>
      <dgm:t>
        <a:bodyPr/>
        <a:lstStyle/>
        <a:p>
          <a:endParaRPr lang="en-US"/>
        </a:p>
      </dgm:t>
    </dgm:pt>
    <dgm:pt modelId="{64791114-3B38-4159-99B2-200D94C51CE0}" type="sibTrans" cxnId="{4EF81B47-001C-4436-A558-AC6B486872F9}">
      <dgm:prSet/>
      <dgm:spPr/>
      <dgm:t>
        <a:bodyPr/>
        <a:lstStyle/>
        <a:p>
          <a:endParaRPr lang="en-US"/>
        </a:p>
      </dgm:t>
    </dgm:pt>
    <dgm:pt modelId="{1C714536-469E-426D-BBAC-927F6C22D253}">
      <dgm:prSet phldrT="[Text]" custT="1"/>
      <dgm:spPr/>
      <dgm:t>
        <a:bodyPr/>
        <a:lstStyle/>
        <a:p>
          <a:r>
            <a:rPr lang="en-US" sz="1400"/>
            <a:t>Email</a:t>
          </a:r>
          <a:endParaRPr lang="en-US" sz="1400" dirty="0"/>
        </a:p>
      </dgm:t>
    </dgm:pt>
    <dgm:pt modelId="{808EEF47-2BFE-45E5-B8C1-36D5A3FDF5F8}" type="parTrans" cxnId="{73E4E41C-9C34-4F16-9A05-5A6521D55F83}">
      <dgm:prSet/>
      <dgm:spPr/>
      <dgm:t>
        <a:bodyPr/>
        <a:lstStyle/>
        <a:p>
          <a:endParaRPr lang="en-US"/>
        </a:p>
      </dgm:t>
    </dgm:pt>
    <dgm:pt modelId="{42A5D7AA-6346-4D6B-85FA-0C21BC0F6E9E}" type="sibTrans" cxnId="{73E4E41C-9C34-4F16-9A05-5A6521D55F83}">
      <dgm:prSet/>
      <dgm:spPr/>
      <dgm:t>
        <a:bodyPr/>
        <a:lstStyle/>
        <a:p>
          <a:endParaRPr lang="en-US"/>
        </a:p>
      </dgm:t>
    </dgm:pt>
    <dgm:pt modelId="{FE1C1147-2730-4899-ABF1-3C1AC25D59DA}">
      <dgm:prSet phldrT="[Text]" custT="1"/>
      <dgm:spPr/>
      <dgm:t>
        <a:bodyPr/>
        <a:lstStyle/>
        <a:p>
          <a:r>
            <a:rPr lang="en-US" sz="1800" dirty="0"/>
            <a:t>Smart contracts</a:t>
          </a:r>
        </a:p>
      </dgm:t>
    </dgm:pt>
    <dgm:pt modelId="{D6028EF5-0E3C-43D7-B46D-014C38689694}" type="parTrans" cxnId="{1EF9AFA7-0636-4519-B954-72DE6BD0187A}">
      <dgm:prSet/>
      <dgm:spPr/>
      <dgm:t>
        <a:bodyPr/>
        <a:lstStyle/>
        <a:p>
          <a:endParaRPr lang="en-US"/>
        </a:p>
      </dgm:t>
    </dgm:pt>
    <dgm:pt modelId="{04810802-FDD0-4716-9C0B-007D4CCE8D75}" type="sibTrans" cxnId="{1EF9AFA7-0636-4519-B954-72DE6BD0187A}">
      <dgm:prSet/>
      <dgm:spPr/>
      <dgm:t>
        <a:bodyPr/>
        <a:lstStyle/>
        <a:p>
          <a:endParaRPr lang="en-US"/>
        </a:p>
      </dgm:t>
    </dgm:pt>
    <dgm:pt modelId="{05C0A883-7F78-4017-A2AE-569F611A1CAE}">
      <dgm:prSet phldrT="[Text]" custT="1"/>
      <dgm:spPr/>
      <dgm:t>
        <a:bodyPr/>
        <a:lstStyle/>
        <a:p>
          <a:r>
            <a:rPr lang="en-US" sz="1400" dirty="0"/>
            <a:t>Internet of Things</a:t>
          </a:r>
        </a:p>
      </dgm:t>
    </dgm:pt>
    <dgm:pt modelId="{29814C55-812E-42D5-B8BA-BAB964CE6C8F}" type="parTrans" cxnId="{716AAFE0-EA52-477F-B515-24FA509A7C54}">
      <dgm:prSet/>
      <dgm:spPr/>
      <dgm:t>
        <a:bodyPr/>
        <a:lstStyle/>
        <a:p>
          <a:endParaRPr lang="en-US"/>
        </a:p>
      </dgm:t>
    </dgm:pt>
    <dgm:pt modelId="{10EFA74E-B06C-4E50-8CDE-253020B2870E}" type="sibTrans" cxnId="{716AAFE0-EA52-477F-B515-24FA509A7C54}">
      <dgm:prSet/>
      <dgm:spPr/>
      <dgm:t>
        <a:bodyPr/>
        <a:lstStyle/>
        <a:p>
          <a:endParaRPr lang="en-US"/>
        </a:p>
      </dgm:t>
    </dgm:pt>
    <dgm:pt modelId="{822403E4-5A68-4875-BAEF-486F43537A73}">
      <dgm:prSet phldrT="[Text]" custT="1"/>
      <dgm:spPr/>
      <dgm:t>
        <a:bodyPr/>
        <a:lstStyle/>
        <a:p>
          <a:r>
            <a:rPr lang="en-US" sz="1800" dirty="0"/>
            <a:t>Internet of Money</a:t>
          </a:r>
        </a:p>
      </dgm:t>
    </dgm:pt>
    <dgm:pt modelId="{FCDA289E-CAB1-4256-84CE-0DCA00441766}" type="parTrans" cxnId="{3FF318CA-E3CB-49EB-AD1E-756E5DDFFF53}">
      <dgm:prSet/>
      <dgm:spPr/>
      <dgm:t>
        <a:bodyPr/>
        <a:lstStyle/>
        <a:p>
          <a:endParaRPr lang="en-US"/>
        </a:p>
      </dgm:t>
    </dgm:pt>
    <dgm:pt modelId="{7EB64CF9-BDC9-45F1-9CEE-1F2BB3F400A9}" type="sibTrans" cxnId="{3FF318CA-E3CB-49EB-AD1E-756E5DDFFF53}">
      <dgm:prSet/>
      <dgm:spPr/>
      <dgm:t>
        <a:bodyPr/>
        <a:lstStyle/>
        <a:p>
          <a:endParaRPr lang="en-US"/>
        </a:p>
      </dgm:t>
    </dgm:pt>
    <dgm:pt modelId="{DB042980-64BC-4428-B898-59F9B22005E8}">
      <dgm:prSet phldrT="[Text]" custT="1"/>
      <dgm:spPr/>
      <dgm:t>
        <a:bodyPr/>
        <a:lstStyle/>
        <a:p>
          <a:r>
            <a:rPr lang="en-US" sz="1800" dirty="0"/>
            <a:t>Internet of Value</a:t>
          </a:r>
        </a:p>
      </dgm:t>
    </dgm:pt>
    <dgm:pt modelId="{62988D90-8D9D-4476-AC40-1E19518904F9}" type="parTrans" cxnId="{6D09C48D-FEBB-4CAF-950F-7378F13C49AF}">
      <dgm:prSet/>
      <dgm:spPr/>
      <dgm:t>
        <a:bodyPr/>
        <a:lstStyle/>
        <a:p>
          <a:endParaRPr lang="en-US"/>
        </a:p>
      </dgm:t>
    </dgm:pt>
    <dgm:pt modelId="{72508852-F6C5-4095-ABDB-2487F398867D}" type="sibTrans" cxnId="{6D09C48D-FEBB-4CAF-950F-7378F13C49AF}">
      <dgm:prSet/>
      <dgm:spPr/>
      <dgm:t>
        <a:bodyPr/>
        <a:lstStyle/>
        <a:p>
          <a:endParaRPr lang="en-US"/>
        </a:p>
      </dgm:t>
    </dgm:pt>
    <dgm:pt modelId="{194181EE-0180-413E-9B5D-A5C680F187A4}">
      <dgm:prSet phldrT="[Text]" custT="1"/>
      <dgm:spPr/>
      <dgm:t>
        <a:bodyPr/>
        <a:lstStyle/>
        <a:p>
          <a:r>
            <a:rPr lang="en-US" sz="1400" dirty="0"/>
            <a:t>Big Data</a:t>
          </a:r>
        </a:p>
      </dgm:t>
    </dgm:pt>
    <dgm:pt modelId="{A8061EF9-5755-4AC6-911E-6C8DBDCDB10B}" type="parTrans" cxnId="{F1889508-6477-4B12-8DC7-5E31FC322EDB}">
      <dgm:prSet/>
      <dgm:spPr/>
      <dgm:t>
        <a:bodyPr/>
        <a:lstStyle/>
        <a:p>
          <a:endParaRPr lang="en-US"/>
        </a:p>
      </dgm:t>
    </dgm:pt>
    <dgm:pt modelId="{194E2BEB-BA4E-4398-A1AC-62D6F15D2137}" type="sibTrans" cxnId="{F1889508-6477-4B12-8DC7-5E31FC322EDB}">
      <dgm:prSet/>
      <dgm:spPr/>
      <dgm:t>
        <a:bodyPr/>
        <a:lstStyle/>
        <a:p>
          <a:endParaRPr lang="en-US"/>
        </a:p>
      </dgm:t>
    </dgm:pt>
    <dgm:pt modelId="{7F6BBF50-269E-44A5-BBBD-94E9138F97E9}" type="pres">
      <dgm:prSet presAssocID="{34CE000F-B1EE-48F4-917A-31998C44E667}" presName="diagram" presStyleCnt="0">
        <dgm:presLayoutVars>
          <dgm:dir/>
          <dgm:resizeHandles val="exact"/>
        </dgm:presLayoutVars>
      </dgm:prSet>
      <dgm:spPr/>
    </dgm:pt>
    <dgm:pt modelId="{CAA10836-BD34-4AAB-9F1C-AF427A2F9A33}" type="pres">
      <dgm:prSet presAssocID="{BBB6F9CD-0B68-49BF-BD66-5F40E978ADA7}" presName="node" presStyleLbl="node1" presStyleIdx="0" presStyleCnt="8" custScaleY="152383">
        <dgm:presLayoutVars>
          <dgm:bulletEnabled val="1"/>
        </dgm:presLayoutVars>
      </dgm:prSet>
      <dgm:spPr/>
    </dgm:pt>
    <dgm:pt modelId="{F32B2FA4-0426-445A-817F-41E38985209E}" type="pres">
      <dgm:prSet presAssocID="{4877B592-EDDA-4625-9560-9346A45F808A}" presName="sibTrans" presStyleLbl="sibTrans2D1" presStyleIdx="0" presStyleCnt="7"/>
      <dgm:spPr/>
    </dgm:pt>
    <dgm:pt modelId="{DF446C54-CFFF-4AB8-A0DB-9CC52530C124}" type="pres">
      <dgm:prSet presAssocID="{4877B592-EDDA-4625-9560-9346A45F808A}" presName="connectorText" presStyleLbl="sibTrans2D1" presStyleIdx="0" presStyleCnt="7"/>
      <dgm:spPr/>
    </dgm:pt>
    <dgm:pt modelId="{8F7036B6-9AE6-46B4-BE47-6D4656A44A11}" type="pres">
      <dgm:prSet presAssocID="{5CE07FE9-9972-425A-8BB6-8E8E3A237F38}" presName="node" presStyleLbl="node1" presStyleIdx="1" presStyleCnt="8" custScaleY="152383">
        <dgm:presLayoutVars>
          <dgm:bulletEnabled val="1"/>
        </dgm:presLayoutVars>
      </dgm:prSet>
      <dgm:spPr/>
    </dgm:pt>
    <dgm:pt modelId="{6E324268-BA18-42EF-9539-9E8E37847432}" type="pres">
      <dgm:prSet presAssocID="{FFE996E6-D84B-4E3B-994A-0CBDF3D2DB6F}" presName="sibTrans" presStyleLbl="sibTrans2D1" presStyleIdx="1" presStyleCnt="7"/>
      <dgm:spPr/>
    </dgm:pt>
    <dgm:pt modelId="{974CA971-6A22-4B7C-9939-80459695425B}" type="pres">
      <dgm:prSet presAssocID="{FFE996E6-D84B-4E3B-994A-0CBDF3D2DB6F}" presName="connectorText" presStyleLbl="sibTrans2D1" presStyleIdx="1" presStyleCnt="7"/>
      <dgm:spPr/>
    </dgm:pt>
    <dgm:pt modelId="{8B0BB58A-178A-47CD-BB90-BCFF340855A4}" type="pres">
      <dgm:prSet presAssocID="{C60E144D-3C3D-4BDC-97C8-3849016B1176}" presName="node" presStyleLbl="node1" presStyleIdx="2" presStyleCnt="8" custScaleX="105156" custScaleY="152383">
        <dgm:presLayoutVars>
          <dgm:bulletEnabled val="1"/>
        </dgm:presLayoutVars>
      </dgm:prSet>
      <dgm:spPr/>
    </dgm:pt>
    <dgm:pt modelId="{E948FDCB-FB32-4E27-BDAB-8AEF3CD91A00}" type="pres">
      <dgm:prSet presAssocID="{3BF103D0-9D24-4E03-B452-BB2328318C4B}" presName="sibTrans" presStyleLbl="sibTrans2D1" presStyleIdx="2" presStyleCnt="7"/>
      <dgm:spPr/>
    </dgm:pt>
    <dgm:pt modelId="{44920FE2-D8C8-4F6C-A38A-2AE6397310E9}" type="pres">
      <dgm:prSet presAssocID="{3BF103D0-9D24-4E03-B452-BB2328318C4B}" presName="connectorText" presStyleLbl="sibTrans2D1" presStyleIdx="2" presStyleCnt="7"/>
      <dgm:spPr/>
    </dgm:pt>
    <dgm:pt modelId="{CF9037F3-3295-4425-A306-4E5DBA1BFDC7}" type="pres">
      <dgm:prSet presAssocID="{C8AC192A-F379-47BF-92D9-ABD4C0435A78}" presName="node" presStyleLbl="node1" presStyleIdx="3" presStyleCnt="8" custScaleY="152383">
        <dgm:presLayoutVars>
          <dgm:bulletEnabled val="1"/>
        </dgm:presLayoutVars>
      </dgm:prSet>
      <dgm:spPr/>
    </dgm:pt>
    <dgm:pt modelId="{CAD0ACEE-5126-4EC2-913C-0B36FC729E11}" type="pres">
      <dgm:prSet presAssocID="{BA73B597-C0C0-4F16-B0B4-EC3E825BE26B}" presName="sibTrans" presStyleLbl="sibTrans2D1" presStyleIdx="3" presStyleCnt="7"/>
      <dgm:spPr/>
    </dgm:pt>
    <dgm:pt modelId="{9C2546DE-9851-4BBB-BDB2-3AE27CFF7EDA}" type="pres">
      <dgm:prSet presAssocID="{BA73B597-C0C0-4F16-B0B4-EC3E825BE26B}" presName="connectorText" presStyleLbl="sibTrans2D1" presStyleIdx="3" presStyleCnt="7"/>
      <dgm:spPr/>
    </dgm:pt>
    <dgm:pt modelId="{C3F5AF78-4A62-4964-815B-3004C1518921}" type="pres">
      <dgm:prSet presAssocID="{41A83157-D3C1-435E-8790-E1234AC86EBA}" presName="node" presStyleLbl="node1" presStyleIdx="4" presStyleCnt="8" custScaleY="152383">
        <dgm:presLayoutVars>
          <dgm:bulletEnabled val="1"/>
        </dgm:presLayoutVars>
      </dgm:prSet>
      <dgm:spPr/>
    </dgm:pt>
    <dgm:pt modelId="{5E214CC5-234C-4009-B93D-2E7F4C9A5FE6}" type="pres">
      <dgm:prSet presAssocID="{B908FABB-8186-4527-B984-C01C60C7045E}" presName="sibTrans" presStyleLbl="sibTrans2D1" presStyleIdx="4" presStyleCnt="7"/>
      <dgm:spPr/>
    </dgm:pt>
    <dgm:pt modelId="{666FBAAF-7D60-4480-A360-0A4390A98CEE}" type="pres">
      <dgm:prSet presAssocID="{B908FABB-8186-4527-B984-C01C60C7045E}" presName="connectorText" presStyleLbl="sibTrans2D1" presStyleIdx="4" presStyleCnt="7"/>
      <dgm:spPr/>
    </dgm:pt>
    <dgm:pt modelId="{10CE7FA0-0CAF-43D9-AC95-2168C43C59B8}" type="pres">
      <dgm:prSet presAssocID="{A1D6B47C-BCA9-45F2-9C71-BE71E92B2FEB}" presName="node" presStyleLbl="node1" presStyleIdx="5" presStyleCnt="8" custScaleY="152383">
        <dgm:presLayoutVars>
          <dgm:bulletEnabled val="1"/>
        </dgm:presLayoutVars>
      </dgm:prSet>
      <dgm:spPr/>
    </dgm:pt>
    <dgm:pt modelId="{21B35B76-C753-49B2-B6BD-274665E2289B}" type="pres">
      <dgm:prSet presAssocID="{2CA44BC2-D554-490B-9B19-3ED96630FDEA}" presName="sibTrans" presStyleLbl="sibTrans2D1" presStyleIdx="5" presStyleCnt="7"/>
      <dgm:spPr/>
    </dgm:pt>
    <dgm:pt modelId="{9703990D-B776-411A-8DB3-7A1280370D5F}" type="pres">
      <dgm:prSet presAssocID="{2CA44BC2-D554-490B-9B19-3ED96630FDEA}" presName="connectorText" presStyleLbl="sibTrans2D1" presStyleIdx="5" presStyleCnt="7"/>
      <dgm:spPr/>
    </dgm:pt>
    <dgm:pt modelId="{06D6DD59-1338-4DDD-9FBC-6AF8FFA78E27}" type="pres">
      <dgm:prSet presAssocID="{17C8E894-CD90-4C94-B523-8A2E5E1AC948}" presName="node" presStyleLbl="node1" presStyleIdx="6" presStyleCnt="8" custScaleY="152383">
        <dgm:presLayoutVars>
          <dgm:bulletEnabled val="1"/>
        </dgm:presLayoutVars>
      </dgm:prSet>
      <dgm:spPr/>
    </dgm:pt>
    <dgm:pt modelId="{CEB69F7F-1637-4967-9F83-41E1C0C39EF7}" type="pres">
      <dgm:prSet presAssocID="{B3C8E4A9-3DA5-4C48-89D8-C6E1F4CFFDE9}" presName="sibTrans" presStyleLbl="sibTrans2D1" presStyleIdx="6" presStyleCnt="7"/>
      <dgm:spPr/>
    </dgm:pt>
    <dgm:pt modelId="{461EAE08-7F77-46B9-B0D8-6C1B025A827A}" type="pres">
      <dgm:prSet presAssocID="{B3C8E4A9-3DA5-4C48-89D8-C6E1F4CFFDE9}" presName="connectorText" presStyleLbl="sibTrans2D1" presStyleIdx="6" presStyleCnt="7"/>
      <dgm:spPr/>
    </dgm:pt>
    <dgm:pt modelId="{5E1F623B-63C3-43F1-B0B3-45ACC740D5C5}" type="pres">
      <dgm:prSet presAssocID="{6D1256DF-5E76-400F-B519-451F3579272B}" presName="node" presStyleLbl="node1" presStyleIdx="7" presStyleCnt="8" custScaleX="129261" custScaleY="194280">
        <dgm:presLayoutVars>
          <dgm:bulletEnabled val="1"/>
        </dgm:presLayoutVars>
      </dgm:prSet>
      <dgm:spPr/>
    </dgm:pt>
  </dgm:ptLst>
  <dgm:cxnLst>
    <dgm:cxn modelId="{11884700-5BAC-4B47-859D-40AB5316850F}" type="presOf" srcId="{B3C8E4A9-3DA5-4C48-89D8-C6E1F4CFFDE9}" destId="{CEB69F7F-1637-4967-9F83-41E1C0C39EF7}" srcOrd="0" destOrd="0" presId="urn:microsoft.com/office/officeart/2005/8/layout/process5"/>
    <dgm:cxn modelId="{6EF58501-AEC5-405B-B731-2CD931C1FFEB}" srcId="{C60E144D-3C3D-4BDC-97C8-3849016B1176}" destId="{FE1DC90A-7D28-48E2-A96D-2FB8283791D1}" srcOrd="0" destOrd="0" parTransId="{D0321AF2-3CF2-4CC7-A206-0323BCE68185}" sibTransId="{4B9AC709-24ED-445B-8F48-E4391D2032DD}"/>
    <dgm:cxn modelId="{60071D06-E5CB-42AD-8065-BC2BF16494CF}" type="presOf" srcId="{FE1DC90A-7D28-48E2-A96D-2FB8283791D1}" destId="{8B0BB58A-178A-47CD-BB90-BCFF340855A4}" srcOrd="0" destOrd="1" presId="urn:microsoft.com/office/officeart/2005/8/layout/process5"/>
    <dgm:cxn modelId="{3CAB8B06-48BD-4CC9-B962-0BCC8CCF82FB}" srcId="{C8AC192A-F379-47BF-92D9-ABD4C0435A78}" destId="{EFB87F2A-974B-49D0-987C-BCD19BFC5C3B}" srcOrd="0" destOrd="0" parTransId="{5ED69561-2097-43DF-B5BB-05DA491D17C0}" sibTransId="{78E6576B-E880-4A8E-995F-90AE0409A9EE}"/>
    <dgm:cxn modelId="{F1889508-6477-4B12-8DC7-5E31FC322EDB}" srcId="{17C8E894-CD90-4C94-B523-8A2E5E1AC948}" destId="{194181EE-0180-413E-9B5D-A5C680F187A4}" srcOrd="3" destOrd="0" parTransId="{A8061EF9-5755-4AC6-911E-6C8DBDCDB10B}" sibTransId="{194E2BEB-BA4E-4398-A1AC-62D6F15D2137}"/>
    <dgm:cxn modelId="{E44E930B-C04F-4F7A-A6B9-1C812C0DB478}" type="presOf" srcId="{BBB6F9CD-0B68-49BF-BD66-5F40E978ADA7}" destId="{CAA10836-BD34-4AAB-9F1C-AF427A2F9A33}" srcOrd="0" destOrd="0" presId="urn:microsoft.com/office/officeart/2005/8/layout/process5"/>
    <dgm:cxn modelId="{0D3FE90B-E0CD-4621-9D64-7495A2BE27B3}" type="presOf" srcId="{3BF103D0-9D24-4E03-B452-BB2328318C4B}" destId="{E948FDCB-FB32-4E27-BDAB-8AEF3CD91A00}" srcOrd="0" destOrd="0" presId="urn:microsoft.com/office/officeart/2005/8/layout/process5"/>
    <dgm:cxn modelId="{4040A410-9F86-4194-92FB-38C5AEC7ED4B}" type="presOf" srcId="{534F3F3C-BCEB-4D17-985D-5CD4040BDF25}" destId="{10CE7FA0-0CAF-43D9-AC95-2168C43C59B8}" srcOrd="0" destOrd="1" presId="urn:microsoft.com/office/officeart/2005/8/layout/process5"/>
    <dgm:cxn modelId="{7CE32C13-1D8D-4ACD-8C6C-4B1D92B762F3}" type="presOf" srcId="{BB8031F8-7F96-44E3-870C-74BFD5BE5EE2}" destId="{8B0BB58A-178A-47CD-BB90-BCFF340855A4}" srcOrd="0" destOrd="3" presId="urn:microsoft.com/office/officeart/2005/8/layout/process5"/>
    <dgm:cxn modelId="{5574AB13-CB26-4990-B984-AA8770DC7250}" type="presOf" srcId="{4A7B9410-F90B-4538-850C-FFF23B6C7D89}" destId="{5E1F623B-63C3-43F1-B0B3-45ACC740D5C5}" srcOrd="0" destOrd="2" presId="urn:microsoft.com/office/officeart/2005/8/layout/process5"/>
    <dgm:cxn modelId="{0B201F18-BC01-4C68-A53C-C5074E18433A}" type="presOf" srcId="{F12C5E95-887B-4249-B7EC-2E20EF13368D}" destId="{CF9037F3-3295-4425-A306-4E5DBA1BFDC7}" srcOrd="0" destOrd="2" presId="urn:microsoft.com/office/officeart/2005/8/layout/process5"/>
    <dgm:cxn modelId="{B0FE311A-4211-436B-87C8-8F5FE1DAC4D9}" srcId="{34CE000F-B1EE-48F4-917A-31998C44E667}" destId="{BBB6F9CD-0B68-49BF-BD66-5F40E978ADA7}" srcOrd="0" destOrd="0" parTransId="{AF37DCF3-F560-442D-8819-5A37636B3D2E}" sibTransId="{4877B592-EDDA-4625-9560-9346A45F808A}"/>
    <dgm:cxn modelId="{73E4E41C-9C34-4F16-9A05-5A6521D55F83}" srcId="{C60E144D-3C3D-4BDC-97C8-3849016B1176}" destId="{1C714536-469E-426D-BBAC-927F6C22D253}" srcOrd="1" destOrd="0" parTransId="{808EEF47-2BFE-45E5-B8C1-36D5A3FDF5F8}" sibTransId="{42A5D7AA-6346-4D6B-85FA-0C21BC0F6E9E}"/>
    <dgm:cxn modelId="{2FFCA720-3FB1-4816-8ED7-156A58BB9855}" type="presOf" srcId="{B908FABB-8186-4527-B984-C01C60C7045E}" destId="{666FBAAF-7D60-4480-A360-0A4390A98CEE}" srcOrd="1" destOrd="0" presId="urn:microsoft.com/office/officeart/2005/8/layout/process5"/>
    <dgm:cxn modelId="{4F4E3322-2B4F-44BA-B499-5A6CF6474444}" type="presOf" srcId="{A1D6B47C-BCA9-45F2-9C71-BE71E92B2FEB}" destId="{10CE7FA0-0CAF-43D9-AC95-2168C43C59B8}" srcOrd="0" destOrd="0" presId="urn:microsoft.com/office/officeart/2005/8/layout/process5"/>
    <dgm:cxn modelId="{0FA1AA23-371A-4033-A54F-E859BB58A763}" type="presOf" srcId="{C60E144D-3C3D-4BDC-97C8-3849016B1176}" destId="{8B0BB58A-178A-47CD-BB90-BCFF340855A4}" srcOrd="0" destOrd="0" presId="urn:microsoft.com/office/officeart/2005/8/layout/process5"/>
    <dgm:cxn modelId="{2CC75E25-B698-42F3-BA46-5C45C0A9F9DC}" srcId="{34CE000F-B1EE-48F4-917A-31998C44E667}" destId="{A1D6B47C-BCA9-45F2-9C71-BE71E92B2FEB}" srcOrd="5" destOrd="0" parTransId="{25A19175-0FB9-46E2-B25C-3298CEA0D616}" sibTransId="{2CA44BC2-D554-490B-9B19-3ED96630FDEA}"/>
    <dgm:cxn modelId="{F4EF5E29-FFD0-4AB6-9EDA-348EE795EC7C}" type="presOf" srcId="{32A693A7-EAD8-4DD6-B2FE-94298D117F6C}" destId="{CAA10836-BD34-4AAB-9F1C-AF427A2F9A33}" srcOrd="0" destOrd="1" presId="urn:microsoft.com/office/officeart/2005/8/layout/process5"/>
    <dgm:cxn modelId="{D0596A2B-1881-4D33-B003-BDB20F8E7AE5}" type="presOf" srcId="{6D1256DF-5E76-400F-B519-451F3579272B}" destId="{5E1F623B-63C3-43F1-B0B3-45ACC740D5C5}" srcOrd="0" destOrd="0" presId="urn:microsoft.com/office/officeart/2005/8/layout/process5"/>
    <dgm:cxn modelId="{0276A531-33A9-452E-9A54-6998BC6819F6}" type="presOf" srcId="{FFE996E6-D84B-4E3B-994A-0CBDF3D2DB6F}" destId="{974CA971-6A22-4B7C-9939-80459695425B}" srcOrd="1" destOrd="0" presId="urn:microsoft.com/office/officeart/2005/8/layout/process5"/>
    <dgm:cxn modelId="{D85BF238-3E7B-496A-BCDD-A8C7087F2CAF}" srcId="{34CE000F-B1EE-48F4-917A-31998C44E667}" destId="{17C8E894-CD90-4C94-B523-8A2E5E1AC948}" srcOrd="6" destOrd="0" parTransId="{FA767AEA-0B5E-40A2-AD45-201506F2B3F9}" sibTransId="{B3C8E4A9-3DA5-4C48-89D8-C6E1F4CFFDE9}"/>
    <dgm:cxn modelId="{0371583B-4EFB-44A0-97DE-B78A1357083C}" srcId="{34CE000F-B1EE-48F4-917A-31998C44E667}" destId="{6D1256DF-5E76-400F-B519-451F3579272B}" srcOrd="7" destOrd="0" parTransId="{A193A37D-FAD5-49BC-BE31-CA0C99A709B8}" sibTransId="{12CBD382-29C5-473C-A233-EF036B3ECDAE}"/>
    <dgm:cxn modelId="{E3ABAD41-E219-4E0E-8D71-F63C58B67B6B}" type="presOf" srcId="{17C8E894-CD90-4C94-B523-8A2E5E1AC948}" destId="{06D6DD59-1338-4DDD-9FBC-6AF8FFA78E27}" srcOrd="0" destOrd="0" presId="urn:microsoft.com/office/officeart/2005/8/layout/process5"/>
    <dgm:cxn modelId="{9BD21B47-A2E0-4487-ABA1-946817D81C17}" srcId="{C60E144D-3C3D-4BDC-97C8-3849016B1176}" destId="{BB8031F8-7F96-44E3-870C-74BFD5BE5EE2}" srcOrd="2" destOrd="0" parTransId="{6BF2288A-3841-4E6D-AE14-1859A19C65A5}" sibTransId="{59115DBC-3460-4A5A-8194-265C55126F48}"/>
    <dgm:cxn modelId="{4EF81B47-001C-4436-A558-AC6B486872F9}" srcId="{A1D6B47C-BCA9-45F2-9C71-BE71E92B2FEB}" destId="{9CCB6FD9-1A4F-41D6-A6CE-8AE9855CD69E}" srcOrd="1" destOrd="0" parTransId="{E4B92C73-325C-4D81-A6B7-C00C6C2F5396}" sibTransId="{64791114-3B38-4159-99B2-200D94C51CE0}"/>
    <dgm:cxn modelId="{AF6DE947-A53E-46E6-BA17-1199E1D89020}" srcId="{5CE07FE9-9972-425A-8BB6-8E8E3A237F38}" destId="{BC72D231-BFF6-4380-88B3-748C24F12846}" srcOrd="0" destOrd="0" parTransId="{5C329874-797D-4AEC-AFA5-96D16F5DB390}" sibTransId="{8E6F2483-5FEC-4105-8E17-FBD2DB7BA9AC}"/>
    <dgm:cxn modelId="{94662449-AAD5-4E90-9AED-D030B9E4377E}" srcId="{41A83157-D3C1-435E-8790-E1234AC86EBA}" destId="{D2DA4613-86E0-4EC6-9AE7-0DFC34D8909C}" srcOrd="2" destOrd="0" parTransId="{1317D0DA-13AA-4219-B405-CBE5C078E000}" sibTransId="{031331F1-4341-4602-B104-70402DD35B3E}"/>
    <dgm:cxn modelId="{12CB9F50-2808-4AE4-B844-49FEF6499A07}" type="presOf" srcId="{DB042980-64BC-4428-B898-59F9B22005E8}" destId="{5E1F623B-63C3-43F1-B0B3-45ACC740D5C5}" srcOrd="0" destOrd="5" presId="urn:microsoft.com/office/officeart/2005/8/layout/process5"/>
    <dgm:cxn modelId="{070A6154-8B71-4472-BD35-B97F0C809709}" srcId="{17C8E894-CD90-4C94-B523-8A2E5E1AC948}" destId="{62ADE943-8F8D-444E-9D2B-CDBE9AA69D2A}" srcOrd="0" destOrd="0" parTransId="{E7BAFCB9-9040-434F-9CBD-BEFF699921E1}" sibTransId="{630A0B79-EAE6-49C2-8CF7-0824916A0B43}"/>
    <dgm:cxn modelId="{88FCA25A-26EC-491F-BA68-84DB1809E7F5}" type="presOf" srcId="{2CA44BC2-D554-490B-9B19-3ED96630FDEA}" destId="{21B35B76-C753-49B2-B6BD-274665E2289B}" srcOrd="0" destOrd="0" presId="urn:microsoft.com/office/officeart/2005/8/layout/process5"/>
    <dgm:cxn modelId="{636C547F-7E97-4F5A-B04C-4663196427F5}" type="presOf" srcId="{FE1C1147-2730-4899-ABF1-3C1AC25D59DA}" destId="{5E1F623B-63C3-43F1-B0B3-45ACC740D5C5}" srcOrd="0" destOrd="3" presId="urn:microsoft.com/office/officeart/2005/8/layout/process5"/>
    <dgm:cxn modelId="{F3B5E57F-849A-4080-8834-8BA0AEBCE3A7}" srcId="{C8AC192A-F379-47BF-92D9-ABD4C0435A78}" destId="{22B96D68-7317-4963-83B6-A29D5F0743A6}" srcOrd="2" destOrd="0" parTransId="{09DBBC77-83B0-4151-8752-C64EBAAEF6E9}" sibTransId="{F96EE63F-1E1F-4A41-B12B-2BBD473E0AE8}"/>
    <dgm:cxn modelId="{6D09C48D-FEBB-4CAF-950F-7378F13C49AF}" srcId="{6D1256DF-5E76-400F-B519-451F3579272B}" destId="{DB042980-64BC-4428-B898-59F9B22005E8}" srcOrd="4" destOrd="0" parTransId="{62988D90-8D9D-4476-AC40-1E19518904F9}" sibTransId="{72508852-F6C5-4095-ABDB-2487F398867D}"/>
    <dgm:cxn modelId="{2282E98E-8D0D-4731-B3AA-316900235FE2}" srcId="{C8AC192A-F379-47BF-92D9-ABD4C0435A78}" destId="{F12C5E95-887B-4249-B7EC-2E20EF13368D}" srcOrd="1" destOrd="0" parTransId="{A0D6BDB0-1B96-40F1-A148-3EFD1682E36D}" sibTransId="{7819127A-CFD4-40C7-8CE7-B33F260B8E08}"/>
    <dgm:cxn modelId="{EEBB3891-46BD-4832-ACD1-7CAEBE5C3AC4}" type="presOf" srcId="{22B96D68-7317-4963-83B6-A29D5F0743A6}" destId="{CF9037F3-3295-4425-A306-4E5DBA1BFDC7}" srcOrd="0" destOrd="3" presId="urn:microsoft.com/office/officeart/2005/8/layout/process5"/>
    <dgm:cxn modelId="{35CD5E93-EC3D-48A7-B5BD-86E1468CF644}" type="presOf" srcId="{D2DA4613-86E0-4EC6-9AE7-0DFC34D8909C}" destId="{C3F5AF78-4A62-4964-815B-3004C1518921}" srcOrd="0" destOrd="3" presId="urn:microsoft.com/office/officeart/2005/8/layout/process5"/>
    <dgm:cxn modelId="{A1206D94-363E-49BB-9749-92ED13FF2AF3}" type="presOf" srcId="{BC72D231-BFF6-4380-88B3-748C24F12846}" destId="{8F7036B6-9AE6-46B4-BE47-6D4656A44A11}" srcOrd="0" destOrd="1" presId="urn:microsoft.com/office/officeart/2005/8/layout/process5"/>
    <dgm:cxn modelId="{45DEC096-2461-4255-893C-C64B6934981A}" type="presOf" srcId="{C8AC192A-F379-47BF-92D9-ABD4C0435A78}" destId="{CF9037F3-3295-4425-A306-4E5DBA1BFDC7}" srcOrd="0" destOrd="0" presId="urn:microsoft.com/office/officeart/2005/8/layout/process5"/>
    <dgm:cxn modelId="{07E3FF97-ADAF-4A32-8421-F7953B10AFC6}" srcId="{41A83157-D3C1-435E-8790-E1234AC86EBA}" destId="{11247C7C-FACD-4120-884C-83ED8176E956}" srcOrd="1" destOrd="0" parTransId="{8BABB8F3-0804-42D9-B4D8-9D8B0E049D36}" sibTransId="{87C463B4-D6BD-46B0-9624-72935DA5726D}"/>
    <dgm:cxn modelId="{627F6E9A-ECE9-477C-A8D4-D689E5712843}" type="presOf" srcId="{2F035977-ACEB-42C8-827B-45654B7D1F77}" destId="{C3F5AF78-4A62-4964-815B-3004C1518921}" srcOrd="0" destOrd="1" presId="urn:microsoft.com/office/officeart/2005/8/layout/process5"/>
    <dgm:cxn modelId="{8C2D5FA6-66BA-4527-BCF0-265B4B00DD49}" type="presOf" srcId="{BA73B597-C0C0-4F16-B0B4-EC3E825BE26B}" destId="{CAD0ACEE-5126-4EC2-913C-0B36FC729E11}" srcOrd="0" destOrd="0" presId="urn:microsoft.com/office/officeart/2005/8/layout/process5"/>
    <dgm:cxn modelId="{2EECFFA6-19AF-4C5C-8D60-A7D686A87E5B}" srcId="{41A83157-D3C1-435E-8790-E1234AC86EBA}" destId="{2F035977-ACEB-42C8-827B-45654B7D1F77}" srcOrd="0" destOrd="0" parTransId="{91A3D2E9-4919-406F-BDE1-0F886EC14B2D}" sibTransId="{AD825D4F-5F5C-4916-9873-6FE9941FD4C0}"/>
    <dgm:cxn modelId="{1EF9AFA7-0636-4519-B954-72DE6BD0187A}" srcId="{6D1256DF-5E76-400F-B519-451F3579272B}" destId="{FE1C1147-2730-4899-ABF1-3C1AC25D59DA}" srcOrd="2" destOrd="0" parTransId="{D6028EF5-0E3C-43D7-B46D-014C38689694}" sibTransId="{04810802-FDD0-4716-9C0B-007D4CCE8D75}"/>
    <dgm:cxn modelId="{A87755A9-F8FB-43D8-9A9B-509884EBDA2C}" srcId="{17C8E894-CD90-4C94-B523-8A2E5E1AC948}" destId="{E78790C7-6080-4A07-9269-D044044908A9}" srcOrd="1" destOrd="0" parTransId="{2AAFC692-A7B2-4119-9DF8-DE7CB262E5F7}" sibTransId="{860D55D4-BE3C-47B3-98C7-EC58177C7FBF}"/>
    <dgm:cxn modelId="{152297B4-08ED-4271-8E92-89794B1D8E0D}" srcId="{34CE000F-B1EE-48F4-917A-31998C44E667}" destId="{41A83157-D3C1-435E-8790-E1234AC86EBA}" srcOrd="4" destOrd="0" parTransId="{E9C4E3B7-0AF5-467A-925D-048BDE775E72}" sibTransId="{B908FABB-8186-4527-B984-C01C60C7045E}"/>
    <dgm:cxn modelId="{F5BD12C0-A0D9-49FE-A50C-386651B663E5}" type="presOf" srcId="{194181EE-0180-413E-9B5D-A5C680F187A4}" destId="{06D6DD59-1338-4DDD-9FBC-6AF8FFA78E27}" srcOrd="0" destOrd="4" presId="urn:microsoft.com/office/officeart/2005/8/layout/process5"/>
    <dgm:cxn modelId="{58BA4EC2-3A7C-47C8-A26D-10F0BBC55CDE}" type="presOf" srcId="{3BF103D0-9D24-4E03-B452-BB2328318C4B}" destId="{44920FE2-D8C8-4F6C-A38A-2AE6397310E9}" srcOrd="1" destOrd="0" presId="urn:microsoft.com/office/officeart/2005/8/layout/process5"/>
    <dgm:cxn modelId="{8F8A11C8-D168-4B3B-9E90-559FF9804BE5}" srcId="{34CE000F-B1EE-48F4-917A-31998C44E667}" destId="{C60E144D-3C3D-4BDC-97C8-3849016B1176}" srcOrd="2" destOrd="0" parTransId="{D1B9B542-73C5-465D-B332-C1B97E049CDE}" sibTransId="{3BF103D0-9D24-4E03-B452-BB2328318C4B}"/>
    <dgm:cxn modelId="{3FF318CA-E3CB-49EB-AD1E-756E5DDFFF53}" srcId="{6D1256DF-5E76-400F-B519-451F3579272B}" destId="{822403E4-5A68-4875-BAEF-486F43537A73}" srcOrd="3" destOrd="0" parTransId="{FCDA289E-CAB1-4256-84CE-0DCA00441766}" sibTransId="{7EB64CF9-BDC9-45F1-9CEE-1F2BB3F400A9}"/>
    <dgm:cxn modelId="{531A7ACA-5DA9-4A39-BA31-09A198126B0F}" type="presOf" srcId="{2CA44BC2-D554-490B-9B19-3ED96630FDEA}" destId="{9703990D-B776-411A-8DB3-7A1280370D5F}" srcOrd="1" destOrd="0" presId="urn:microsoft.com/office/officeart/2005/8/layout/process5"/>
    <dgm:cxn modelId="{DDB8C4CF-D949-4F38-8866-35C022FA64DC}" type="presOf" srcId="{41A83157-D3C1-435E-8790-E1234AC86EBA}" destId="{C3F5AF78-4A62-4964-815B-3004C1518921}" srcOrd="0" destOrd="0" presId="urn:microsoft.com/office/officeart/2005/8/layout/process5"/>
    <dgm:cxn modelId="{94E905D0-4698-43AA-95C6-401B11671B8C}" srcId="{34CE000F-B1EE-48F4-917A-31998C44E667}" destId="{5CE07FE9-9972-425A-8BB6-8E8E3A237F38}" srcOrd="1" destOrd="0" parTransId="{A972B714-A28A-4F69-9903-FA6155975B77}" sibTransId="{FFE996E6-D84B-4E3B-994A-0CBDF3D2DB6F}"/>
    <dgm:cxn modelId="{244914D1-D402-4F50-9E1C-E9A4BFBB8396}" type="presOf" srcId="{4877B592-EDDA-4625-9560-9346A45F808A}" destId="{DF446C54-CFFF-4AB8-A0DB-9CC52530C124}" srcOrd="1" destOrd="0" presId="urn:microsoft.com/office/officeart/2005/8/layout/process5"/>
    <dgm:cxn modelId="{71AFDDD5-72AB-41EA-8749-F262DF7EE6A8}" srcId="{BBB6F9CD-0B68-49BF-BD66-5F40E978ADA7}" destId="{32A693A7-EAD8-4DD6-B2FE-94298D117F6C}" srcOrd="0" destOrd="0" parTransId="{720E056E-962B-4B38-8E3B-1E89704D3A11}" sibTransId="{589189C6-E314-466B-9311-451FB36A870C}"/>
    <dgm:cxn modelId="{36186BD6-31D7-4EF8-B8C7-A22DB2DCE95A}" type="presOf" srcId="{34CE000F-B1EE-48F4-917A-31998C44E667}" destId="{7F6BBF50-269E-44A5-BBBD-94E9138F97E9}" srcOrd="0" destOrd="0" presId="urn:microsoft.com/office/officeart/2005/8/layout/process5"/>
    <dgm:cxn modelId="{8965F0D7-6A94-4027-8154-4C6FBA503DB2}" srcId="{34CE000F-B1EE-48F4-917A-31998C44E667}" destId="{C8AC192A-F379-47BF-92D9-ABD4C0435A78}" srcOrd="3" destOrd="0" parTransId="{4E7729D7-A3E3-4340-915C-2A114A848019}" sibTransId="{BA73B597-C0C0-4F16-B0B4-EC3E825BE26B}"/>
    <dgm:cxn modelId="{0CCA85D9-98BC-4443-A0F7-B0C53D6BF2C1}" srcId="{6D1256DF-5E76-400F-B519-451F3579272B}" destId="{C531E428-9A1C-4FA9-B86E-D99AF517057A}" srcOrd="0" destOrd="0" parTransId="{E71F7334-0DF5-4E03-A84F-867E52CC9A01}" sibTransId="{EFAFE71B-964A-44FE-B12A-2EDBCBD11C99}"/>
    <dgm:cxn modelId="{ED5355DB-66DB-48DA-8C0D-075120F81252}" type="presOf" srcId="{822403E4-5A68-4875-BAEF-486F43537A73}" destId="{5E1F623B-63C3-43F1-B0B3-45ACC740D5C5}" srcOrd="0" destOrd="4" presId="urn:microsoft.com/office/officeart/2005/8/layout/process5"/>
    <dgm:cxn modelId="{716AAFE0-EA52-477F-B515-24FA509A7C54}" srcId="{17C8E894-CD90-4C94-B523-8A2E5E1AC948}" destId="{05C0A883-7F78-4017-A2AE-569F611A1CAE}" srcOrd="2" destOrd="0" parTransId="{29814C55-812E-42D5-B8BA-BAB964CE6C8F}" sibTransId="{10EFA74E-B06C-4E50-8CDE-253020B2870E}"/>
    <dgm:cxn modelId="{6C4924E5-861F-4C8F-89F5-2C35C9C32B2F}" type="presOf" srcId="{1C714536-469E-426D-BBAC-927F6C22D253}" destId="{8B0BB58A-178A-47CD-BB90-BCFF340855A4}" srcOrd="0" destOrd="2" presId="urn:microsoft.com/office/officeart/2005/8/layout/process5"/>
    <dgm:cxn modelId="{FF1BDFE8-1FBE-419C-988A-66B089E9A400}" type="presOf" srcId="{B3C8E4A9-3DA5-4C48-89D8-C6E1F4CFFDE9}" destId="{461EAE08-7F77-46B9-B0D8-6C1B025A827A}" srcOrd="1" destOrd="0" presId="urn:microsoft.com/office/officeart/2005/8/layout/process5"/>
    <dgm:cxn modelId="{DB9D2CEB-BE59-403B-8D76-1F63C1B3153D}" type="presOf" srcId="{C531E428-9A1C-4FA9-B86E-D99AF517057A}" destId="{5E1F623B-63C3-43F1-B0B3-45ACC740D5C5}" srcOrd="0" destOrd="1" presId="urn:microsoft.com/office/officeart/2005/8/layout/process5"/>
    <dgm:cxn modelId="{8D8586F0-912B-4F3A-A4F6-CF0564901C11}" type="presOf" srcId="{4877B592-EDDA-4625-9560-9346A45F808A}" destId="{F32B2FA4-0426-445A-817F-41E38985209E}" srcOrd="0" destOrd="0" presId="urn:microsoft.com/office/officeart/2005/8/layout/process5"/>
    <dgm:cxn modelId="{1E6592F1-86D4-4431-B3BF-8225432D4A2C}" type="presOf" srcId="{62ADE943-8F8D-444E-9D2B-CDBE9AA69D2A}" destId="{06D6DD59-1338-4DDD-9FBC-6AF8FFA78E27}" srcOrd="0" destOrd="1" presId="urn:microsoft.com/office/officeart/2005/8/layout/process5"/>
    <dgm:cxn modelId="{C62D2BF3-64A3-45D6-9F15-B375284EDA30}" type="presOf" srcId="{11247C7C-FACD-4120-884C-83ED8176E956}" destId="{C3F5AF78-4A62-4964-815B-3004C1518921}" srcOrd="0" destOrd="2" presId="urn:microsoft.com/office/officeart/2005/8/layout/process5"/>
    <dgm:cxn modelId="{65F168F3-9B54-46C4-9AE4-11B27FB0FF14}" srcId="{A1D6B47C-BCA9-45F2-9C71-BE71E92B2FEB}" destId="{534F3F3C-BCEB-4D17-985D-5CD4040BDF25}" srcOrd="0" destOrd="0" parTransId="{C47C708A-9785-4A59-8AFA-56C0C4AC246C}" sibTransId="{E6BFB732-766B-4486-94AA-4D2AF135E963}"/>
    <dgm:cxn modelId="{2DDBCEF5-6EB1-4B61-9E9D-540CF22674A5}" type="presOf" srcId="{9CCB6FD9-1A4F-41D6-A6CE-8AE9855CD69E}" destId="{10CE7FA0-0CAF-43D9-AC95-2168C43C59B8}" srcOrd="0" destOrd="2" presId="urn:microsoft.com/office/officeart/2005/8/layout/process5"/>
    <dgm:cxn modelId="{C82B1DFB-42CA-4FE2-AB83-98E9FC2F5CE4}" type="presOf" srcId="{BA73B597-C0C0-4F16-B0B4-EC3E825BE26B}" destId="{9C2546DE-9851-4BBB-BDB2-3AE27CFF7EDA}" srcOrd="1" destOrd="0" presId="urn:microsoft.com/office/officeart/2005/8/layout/process5"/>
    <dgm:cxn modelId="{09C36AFB-4596-4545-B95A-8CF1DEE29246}" type="presOf" srcId="{5CE07FE9-9972-425A-8BB6-8E8E3A237F38}" destId="{8F7036B6-9AE6-46B4-BE47-6D4656A44A11}" srcOrd="0" destOrd="0" presId="urn:microsoft.com/office/officeart/2005/8/layout/process5"/>
    <dgm:cxn modelId="{8BCFA0FB-ACF0-450A-A43F-F6F7CE08780F}" srcId="{6D1256DF-5E76-400F-B519-451F3579272B}" destId="{4A7B9410-F90B-4538-850C-FFF23B6C7D89}" srcOrd="1" destOrd="0" parTransId="{4A1166F0-9C88-4FEC-A591-0CF45B657438}" sibTransId="{2C1DA61E-AF22-4BD0-A7BD-689D70AA152D}"/>
    <dgm:cxn modelId="{3118B8FB-0128-4BC0-BF88-0DF02FEB77AD}" type="presOf" srcId="{FFE996E6-D84B-4E3B-994A-0CBDF3D2DB6F}" destId="{6E324268-BA18-42EF-9539-9E8E37847432}" srcOrd="0" destOrd="0" presId="urn:microsoft.com/office/officeart/2005/8/layout/process5"/>
    <dgm:cxn modelId="{ADBD07FC-80B1-466C-85B7-A5AEF0253B92}" type="presOf" srcId="{E78790C7-6080-4A07-9269-D044044908A9}" destId="{06D6DD59-1338-4DDD-9FBC-6AF8FFA78E27}" srcOrd="0" destOrd="2" presId="urn:microsoft.com/office/officeart/2005/8/layout/process5"/>
    <dgm:cxn modelId="{AD7883FD-180B-4493-BB66-D870125D3925}" type="presOf" srcId="{B908FABB-8186-4527-B984-C01C60C7045E}" destId="{5E214CC5-234C-4009-B93D-2E7F4C9A5FE6}" srcOrd="0" destOrd="0" presId="urn:microsoft.com/office/officeart/2005/8/layout/process5"/>
    <dgm:cxn modelId="{AB9757FE-076F-476D-988D-2880B7CAAA15}" type="presOf" srcId="{05C0A883-7F78-4017-A2AE-569F611A1CAE}" destId="{06D6DD59-1338-4DDD-9FBC-6AF8FFA78E27}" srcOrd="0" destOrd="3" presId="urn:microsoft.com/office/officeart/2005/8/layout/process5"/>
    <dgm:cxn modelId="{B30259FE-F651-41F7-8D3A-3E99824ADB35}" type="presOf" srcId="{EFB87F2A-974B-49D0-987C-BCD19BFC5C3B}" destId="{CF9037F3-3295-4425-A306-4E5DBA1BFDC7}" srcOrd="0" destOrd="1" presId="urn:microsoft.com/office/officeart/2005/8/layout/process5"/>
    <dgm:cxn modelId="{C10B8CBC-D56C-49C6-B19F-390EF937FC09}" type="presParOf" srcId="{7F6BBF50-269E-44A5-BBBD-94E9138F97E9}" destId="{CAA10836-BD34-4AAB-9F1C-AF427A2F9A33}" srcOrd="0" destOrd="0" presId="urn:microsoft.com/office/officeart/2005/8/layout/process5"/>
    <dgm:cxn modelId="{26329317-F52D-4018-AE58-52C26843F6B3}" type="presParOf" srcId="{7F6BBF50-269E-44A5-BBBD-94E9138F97E9}" destId="{F32B2FA4-0426-445A-817F-41E38985209E}" srcOrd="1" destOrd="0" presId="urn:microsoft.com/office/officeart/2005/8/layout/process5"/>
    <dgm:cxn modelId="{94BA1536-101B-40BC-9B61-E8C49C14AFE0}" type="presParOf" srcId="{F32B2FA4-0426-445A-817F-41E38985209E}" destId="{DF446C54-CFFF-4AB8-A0DB-9CC52530C124}" srcOrd="0" destOrd="0" presId="urn:microsoft.com/office/officeart/2005/8/layout/process5"/>
    <dgm:cxn modelId="{8A119381-1BB8-429F-9A57-9B9938627316}" type="presParOf" srcId="{7F6BBF50-269E-44A5-BBBD-94E9138F97E9}" destId="{8F7036B6-9AE6-46B4-BE47-6D4656A44A11}" srcOrd="2" destOrd="0" presId="urn:microsoft.com/office/officeart/2005/8/layout/process5"/>
    <dgm:cxn modelId="{1E284FA5-2DD0-42EE-B005-E8D62F9B9546}" type="presParOf" srcId="{7F6BBF50-269E-44A5-BBBD-94E9138F97E9}" destId="{6E324268-BA18-42EF-9539-9E8E37847432}" srcOrd="3" destOrd="0" presId="urn:microsoft.com/office/officeart/2005/8/layout/process5"/>
    <dgm:cxn modelId="{FA3049B5-7C62-4FBC-B8D5-453BD3CEE672}" type="presParOf" srcId="{6E324268-BA18-42EF-9539-9E8E37847432}" destId="{974CA971-6A22-4B7C-9939-80459695425B}" srcOrd="0" destOrd="0" presId="urn:microsoft.com/office/officeart/2005/8/layout/process5"/>
    <dgm:cxn modelId="{6D853F5C-77FC-45C5-9C73-FB61EE482E45}" type="presParOf" srcId="{7F6BBF50-269E-44A5-BBBD-94E9138F97E9}" destId="{8B0BB58A-178A-47CD-BB90-BCFF340855A4}" srcOrd="4" destOrd="0" presId="urn:microsoft.com/office/officeart/2005/8/layout/process5"/>
    <dgm:cxn modelId="{5B507D52-0AD3-4281-9B1F-208920ED304F}" type="presParOf" srcId="{7F6BBF50-269E-44A5-BBBD-94E9138F97E9}" destId="{E948FDCB-FB32-4E27-BDAB-8AEF3CD91A00}" srcOrd="5" destOrd="0" presId="urn:microsoft.com/office/officeart/2005/8/layout/process5"/>
    <dgm:cxn modelId="{178C2302-4B40-4F56-80F2-3048954FA882}" type="presParOf" srcId="{E948FDCB-FB32-4E27-BDAB-8AEF3CD91A00}" destId="{44920FE2-D8C8-4F6C-A38A-2AE6397310E9}" srcOrd="0" destOrd="0" presId="urn:microsoft.com/office/officeart/2005/8/layout/process5"/>
    <dgm:cxn modelId="{3B9C8395-372D-4894-AFA7-611853D4C70F}" type="presParOf" srcId="{7F6BBF50-269E-44A5-BBBD-94E9138F97E9}" destId="{CF9037F3-3295-4425-A306-4E5DBA1BFDC7}" srcOrd="6" destOrd="0" presId="urn:microsoft.com/office/officeart/2005/8/layout/process5"/>
    <dgm:cxn modelId="{DA234FAE-40A2-421E-B3CB-816E9B9B5EBF}" type="presParOf" srcId="{7F6BBF50-269E-44A5-BBBD-94E9138F97E9}" destId="{CAD0ACEE-5126-4EC2-913C-0B36FC729E11}" srcOrd="7" destOrd="0" presId="urn:microsoft.com/office/officeart/2005/8/layout/process5"/>
    <dgm:cxn modelId="{B16D61D1-C1F2-4E85-84D5-5B105302E25C}" type="presParOf" srcId="{CAD0ACEE-5126-4EC2-913C-0B36FC729E11}" destId="{9C2546DE-9851-4BBB-BDB2-3AE27CFF7EDA}" srcOrd="0" destOrd="0" presId="urn:microsoft.com/office/officeart/2005/8/layout/process5"/>
    <dgm:cxn modelId="{99A519FC-DF25-444A-A14F-AA969FAAA8A3}" type="presParOf" srcId="{7F6BBF50-269E-44A5-BBBD-94E9138F97E9}" destId="{C3F5AF78-4A62-4964-815B-3004C1518921}" srcOrd="8" destOrd="0" presId="urn:microsoft.com/office/officeart/2005/8/layout/process5"/>
    <dgm:cxn modelId="{DE1922BB-03E6-409F-A475-09D93290A6DE}" type="presParOf" srcId="{7F6BBF50-269E-44A5-BBBD-94E9138F97E9}" destId="{5E214CC5-234C-4009-B93D-2E7F4C9A5FE6}" srcOrd="9" destOrd="0" presId="urn:microsoft.com/office/officeart/2005/8/layout/process5"/>
    <dgm:cxn modelId="{BE8A2BBA-9DF7-4D26-B7C2-8702B5DC3DE7}" type="presParOf" srcId="{5E214CC5-234C-4009-B93D-2E7F4C9A5FE6}" destId="{666FBAAF-7D60-4480-A360-0A4390A98CEE}" srcOrd="0" destOrd="0" presId="urn:microsoft.com/office/officeart/2005/8/layout/process5"/>
    <dgm:cxn modelId="{AF651B14-53B1-4105-8EC0-6D0EB634E066}" type="presParOf" srcId="{7F6BBF50-269E-44A5-BBBD-94E9138F97E9}" destId="{10CE7FA0-0CAF-43D9-AC95-2168C43C59B8}" srcOrd="10" destOrd="0" presId="urn:microsoft.com/office/officeart/2005/8/layout/process5"/>
    <dgm:cxn modelId="{C4E8D9C6-487E-4BB3-B2D0-19DF822258A2}" type="presParOf" srcId="{7F6BBF50-269E-44A5-BBBD-94E9138F97E9}" destId="{21B35B76-C753-49B2-B6BD-274665E2289B}" srcOrd="11" destOrd="0" presId="urn:microsoft.com/office/officeart/2005/8/layout/process5"/>
    <dgm:cxn modelId="{9F2ED442-85F4-40E4-B1A5-1944870F7C9D}" type="presParOf" srcId="{21B35B76-C753-49B2-B6BD-274665E2289B}" destId="{9703990D-B776-411A-8DB3-7A1280370D5F}" srcOrd="0" destOrd="0" presId="urn:microsoft.com/office/officeart/2005/8/layout/process5"/>
    <dgm:cxn modelId="{FF6D664D-25CB-4596-8F75-3F3D4A7C3325}" type="presParOf" srcId="{7F6BBF50-269E-44A5-BBBD-94E9138F97E9}" destId="{06D6DD59-1338-4DDD-9FBC-6AF8FFA78E27}" srcOrd="12" destOrd="0" presId="urn:microsoft.com/office/officeart/2005/8/layout/process5"/>
    <dgm:cxn modelId="{0A589723-2A67-4267-9ACF-DB53451A9009}" type="presParOf" srcId="{7F6BBF50-269E-44A5-BBBD-94E9138F97E9}" destId="{CEB69F7F-1637-4967-9F83-41E1C0C39EF7}" srcOrd="13" destOrd="0" presId="urn:microsoft.com/office/officeart/2005/8/layout/process5"/>
    <dgm:cxn modelId="{F8BA4AFF-6970-4D9E-962D-8F60DE5DD28C}" type="presParOf" srcId="{CEB69F7F-1637-4967-9F83-41E1C0C39EF7}" destId="{461EAE08-7F77-46B9-B0D8-6C1B025A827A}" srcOrd="0" destOrd="0" presId="urn:microsoft.com/office/officeart/2005/8/layout/process5"/>
    <dgm:cxn modelId="{B857027F-DD51-48C2-930E-0ADC0DB81AD9}" type="presParOf" srcId="{7F6BBF50-269E-44A5-BBBD-94E9138F97E9}" destId="{5E1F623B-63C3-43F1-B0B3-45ACC740D5C5}" srcOrd="14"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071B1FE-9268-4280-B64A-D1B321E3A4E1}" type="doc">
      <dgm:prSet loTypeId="urn:microsoft.com/office/officeart/2005/8/layout/process5" loCatId="process" qsTypeId="urn:microsoft.com/office/officeart/2005/8/quickstyle/simple4" qsCatId="simple" csTypeId="urn:microsoft.com/office/officeart/2005/8/colors/colorful5" csCatId="colorful" phldr="1"/>
      <dgm:spPr/>
      <dgm:t>
        <a:bodyPr/>
        <a:lstStyle/>
        <a:p>
          <a:endParaRPr lang="en-US"/>
        </a:p>
      </dgm:t>
    </dgm:pt>
    <dgm:pt modelId="{3E0D2381-9302-429C-8B21-046C659F543A}">
      <dgm:prSet phldrT="[Text]" custT="1"/>
      <dgm:spPr/>
      <dgm:t>
        <a:bodyPr/>
        <a:lstStyle/>
        <a:p>
          <a:r>
            <a:rPr lang="en-US" sz="1600" b="1" dirty="0"/>
            <a:t>Alice sends Bob a transaction</a:t>
          </a:r>
        </a:p>
      </dgm:t>
    </dgm:pt>
    <dgm:pt modelId="{5AC33786-2E61-4B95-AE7F-275F9D65E34D}" type="parTrans" cxnId="{05785874-DD7B-4D26-82D4-C53459533F54}">
      <dgm:prSet/>
      <dgm:spPr/>
      <dgm:t>
        <a:bodyPr/>
        <a:lstStyle/>
        <a:p>
          <a:endParaRPr lang="en-US" sz="2400" b="1"/>
        </a:p>
      </dgm:t>
    </dgm:pt>
    <dgm:pt modelId="{1AEB780C-2408-47B6-9D16-4ECFC19A7911}" type="sibTrans" cxnId="{05785874-DD7B-4D26-82D4-C53459533F54}">
      <dgm:prSet custT="1"/>
      <dgm:spPr/>
      <dgm:t>
        <a:bodyPr/>
        <a:lstStyle/>
        <a:p>
          <a:endParaRPr lang="en-US" sz="1100" b="1"/>
        </a:p>
      </dgm:t>
    </dgm:pt>
    <dgm:pt modelId="{25D2EE21-0D10-44FD-98D1-F03D2E10DE9F}">
      <dgm:prSet phldrT="[Text]" custT="1"/>
      <dgm:spPr/>
      <dgm:t>
        <a:bodyPr/>
        <a:lstStyle/>
        <a:p>
          <a:r>
            <a:rPr lang="en-US" sz="1600" b="1" dirty="0"/>
            <a:t>Transaction is broadcast through the blockchain network to other nodes</a:t>
          </a:r>
        </a:p>
      </dgm:t>
    </dgm:pt>
    <dgm:pt modelId="{9EE2C43C-4318-415E-A6B3-CAB92326B183}" type="parTrans" cxnId="{73196572-70C2-4C96-83A3-A592EB3DD016}">
      <dgm:prSet/>
      <dgm:spPr/>
      <dgm:t>
        <a:bodyPr/>
        <a:lstStyle/>
        <a:p>
          <a:endParaRPr lang="en-US" sz="2400" b="1"/>
        </a:p>
      </dgm:t>
    </dgm:pt>
    <dgm:pt modelId="{F088CC88-C40B-40F3-8064-D5FBE98A85A5}" type="sibTrans" cxnId="{73196572-70C2-4C96-83A3-A592EB3DD016}">
      <dgm:prSet custT="1"/>
      <dgm:spPr/>
      <dgm:t>
        <a:bodyPr/>
        <a:lstStyle/>
        <a:p>
          <a:endParaRPr lang="en-US" sz="1100" b="1"/>
        </a:p>
      </dgm:t>
    </dgm:pt>
    <dgm:pt modelId="{C7D14688-6657-43A8-9891-3A334B9E8179}">
      <dgm:prSet phldrT="[Text]" custT="1"/>
      <dgm:spPr/>
      <dgm:t>
        <a:bodyPr/>
        <a:lstStyle/>
        <a:p>
          <a:r>
            <a:rPr lang="en-US" sz="1600" b="1" dirty="0"/>
            <a:t>Nodes validate transactions</a:t>
          </a:r>
        </a:p>
      </dgm:t>
    </dgm:pt>
    <dgm:pt modelId="{6E608930-A62C-480A-AE0B-89DB4A427590}" type="parTrans" cxnId="{3A3E8E4E-AD8C-413D-9299-6CCCE9B27DAD}">
      <dgm:prSet/>
      <dgm:spPr/>
      <dgm:t>
        <a:bodyPr/>
        <a:lstStyle/>
        <a:p>
          <a:endParaRPr lang="en-US" sz="2400" b="1"/>
        </a:p>
      </dgm:t>
    </dgm:pt>
    <dgm:pt modelId="{0F487022-3616-4778-9B16-7F16870909DE}" type="sibTrans" cxnId="{3A3E8E4E-AD8C-413D-9299-6CCCE9B27DAD}">
      <dgm:prSet custT="1"/>
      <dgm:spPr/>
      <dgm:t>
        <a:bodyPr/>
        <a:lstStyle/>
        <a:p>
          <a:endParaRPr lang="en-US" sz="1100" b="1"/>
        </a:p>
      </dgm:t>
    </dgm:pt>
    <dgm:pt modelId="{09175791-1282-4D0E-9DE6-A9F45823C061}">
      <dgm:prSet phldrT="[Text]" custT="1"/>
      <dgm:spPr/>
      <dgm:t>
        <a:bodyPr/>
        <a:lstStyle/>
        <a:p>
          <a:r>
            <a:rPr lang="en-US" sz="1600" b="1" dirty="0"/>
            <a:t>A (volunteer) node collects valid transactions and puts them into a block</a:t>
          </a:r>
        </a:p>
      </dgm:t>
    </dgm:pt>
    <dgm:pt modelId="{93C2F6EC-9001-4A18-B919-3D8489D7360E}" type="parTrans" cxnId="{D8F462A2-FBDE-4359-A431-905F80A95373}">
      <dgm:prSet/>
      <dgm:spPr/>
      <dgm:t>
        <a:bodyPr/>
        <a:lstStyle/>
        <a:p>
          <a:endParaRPr lang="en-US" sz="2400" b="1"/>
        </a:p>
      </dgm:t>
    </dgm:pt>
    <dgm:pt modelId="{BEE002F6-FAF6-42C7-A332-49E65CBA37A8}" type="sibTrans" cxnId="{D8F462A2-FBDE-4359-A431-905F80A95373}">
      <dgm:prSet custT="1"/>
      <dgm:spPr/>
      <dgm:t>
        <a:bodyPr/>
        <a:lstStyle/>
        <a:p>
          <a:endParaRPr lang="en-US" sz="1100" b="1"/>
        </a:p>
      </dgm:t>
    </dgm:pt>
    <dgm:pt modelId="{290B6273-A36C-431B-BF3C-FA42902177E5}">
      <dgm:prSet phldrT="[Text]" custT="1"/>
      <dgm:spPr/>
      <dgm:t>
        <a:bodyPr/>
        <a:lstStyle/>
        <a:p>
          <a:r>
            <a:rPr lang="en-US" sz="1600" b="1" dirty="0"/>
            <a:t>Then broadcasts the block to the network</a:t>
          </a:r>
        </a:p>
      </dgm:t>
    </dgm:pt>
    <dgm:pt modelId="{33A4CF1F-49EF-4FF7-90EA-5931A34CF3FA}" type="parTrans" cxnId="{859D4FAE-93B6-4A6F-ABD6-FAEE5390EAB0}">
      <dgm:prSet/>
      <dgm:spPr/>
      <dgm:t>
        <a:bodyPr/>
        <a:lstStyle/>
        <a:p>
          <a:endParaRPr lang="en-US" sz="2400" b="1"/>
        </a:p>
      </dgm:t>
    </dgm:pt>
    <dgm:pt modelId="{BCD237C9-65E7-4EDE-82D8-C067F8F8A220}" type="sibTrans" cxnId="{859D4FAE-93B6-4A6F-ABD6-FAEE5390EAB0}">
      <dgm:prSet custT="1"/>
      <dgm:spPr/>
      <dgm:t>
        <a:bodyPr/>
        <a:lstStyle/>
        <a:p>
          <a:endParaRPr lang="en-US" sz="1100" b="1"/>
        </a:p>
      </dgm:t>
    </dgm:pt>
    <dgm:pt modelId="{11632007-0193-437C-8A13-2837E0809198}">
      <dgm:prSet phldrT="[Text]" custT="1"/>
      <dgm:spPr/>
      <dgm:t>
        <a:bodyPr/>
        <a:lstStyle/>
        <a:p>
          <a:r>
            <a:rPr lang="en-US" sz="1600" b="1" dirty="0"/>
            <a:t>Changes to the history of the blockchain are tamper evident and in some cases tamper proof</a:t>
          </a:r>
        </a:p>
      </dgm:t>
    </dgm:pt>
    <dgm:pt modelId="{078AF1F4-015B-4CBE-A60A-A3D3A7D86144}" type="parTrans" cxnId="{E4BCFEF6-4EA3-48F8-84FE-F0BB524BFE7A}">
      <dgm:prSet/>
      <dgm:spPr/>
      <dgm:t>
        <a:bodyPr/>
        <a:lstStyle/>
        <a:p>
          <a:endParaRPr lang="en-US" sz="2400" b="1"/>
        </a:p>
      </dgm:t>
    </dgm:pt>
    <dgm:pt modelId="{3351D8AA-88CB-49A5-95A6-A4B9CE89E7EC}" type="sibTrans" cxnId="{E4BCFEF6-4EA3-48F8-84FE-F0BB524BFE7A}">
      <dgm:prSet/>
      <dgm:spPr/>
      <dgm:t>
        <a:bodyPr/>
        <a:lstStyle/>
        <a:p>
          <a:endParaRPr lang="en-US" sz="2400" b="1"/>
        </a:p>
      </dgm:t>
    </dgm:pt>
    <dgm:pt modelId="{A2EA8745-67B3-479B-B120-BA4EBD4E05CE}">
      <dgm:prSet phldrT="[Text]" custT="1"/>
      <dgm:spPr/>
      <dgm:t>
        <a:bodyPr/>
        <a:lstStyle/>
        <a:p>
          <a:r>
            <a:rPr lang="en-US" sz="1600" b="1" dirty="0"/>
            <a:t>Everyone in the network now knows that Alice has sent Bob a transaction</a:t>
          </a:r>
        </a:p>
      </dgm:t>
    </dgm:pt>
    <dgm:pt modelId="{5C29A298-20C9-43F0-92D4-7BAC2B420B6A}" type="parTrans" cxnId="{D50E16D8-2878-4539-986D-F795352FAFFC}">
      <dgm:prSet/>
      <dgm:spPr/>
      <dgm:t>
        <a:bodyPr/>
        <a:lstStyle/>
        <a:p>
          <a:endParaRPr lang="en-US" b="1"/>
        </a:p>
      </dgm:t>
    </dgm:pt>
    <dgm:pt modelId="{2ECAF904-7ED7-4F41-91B5-7870E5EAF4B1}" type="sibTrans" cxnId="{D50E16D8-2878-4539-986D-F795352FAFFC}">
      <dgm:prSet/>
      <dgm:spPr/>
      <dgm:t>
        <a:bodyPr/>
        <a:lstStyle/>
        <a:p>
          <a:endParaRPr lang="en-US" b="1"/>
        </a:p>
      </dgm:t>
    </dgm:pt>
    <dgm:pt modelId="{C93B0CFB-A8EF-4699-B2E6-4078B82F94BC}">
      <dgm:prSet phldrT="[Text]" custT="1"/>
      <dgm:spPr/>
      <dgm:t>
        <a:bodyPr/>
        <a:lstStyle/>
        <a:p>
          <a:r>
            <a:rPr lang="en-US" sz="1600" b="1" dirty="0"/>
            <a:t>Other nodes validate and append their </a:t>
          </a:r>
          <a:r>
            <a:rPr lang="en-US" sz="1600" b="1" dirty="0" err="1"/>
            <a:t>blockchain</a:t>
          </a:r>
          <a:r>
            <a:rPr lang="en-US" sz="1600" b="1" dirty="0"/>
            <a:t> with the new block</a:t>
          </a:r>
        </a:p>
      </dgm:t>
    </dgm:pt>
    <dgm:pt modelId="{973FF30E-84E4-47B1-B446-9D50D1D10FCE}" type="parTrans" cxnId="{8B88C3EF-732F-4030-ADF0-ACC4EE14CAB1}">
      <dgm:prSet/>
      <dgm:spPr/>
      <dgm:t>
        <a:bodyPr/>
        <a:lstStyle/>
        <a:p>
          <a:endParaRPr lang="en-US" b="1"/>
        </a:p>
      </dgm:t>
    </dgm:pt>
    <dgm:pt modelId="{C799FC48-0305-466C-803A-AE03524E6864}" type="sibTrans" cxnId="{8B88C3EF-732F-4030-ADF0-ACC4EE14CAB1}">
      <dgm:prSet/>
      <dgm:spPr/>
      <dgm:t>
        <a:bodyPr/>
        <a:lstStyle/>
        <a:p>
          <a:endParaRPr lang="en-US" b="1"/>
        </a:p>
      </dgm:t>
    </dgm:pt>
    <dgm:pt modelId="{E58404EB-E7CD-46F4-A7A9-81370F8938EC}">
      <dgm:prSet phldrT="[Text]" custT="1"/>
      <dgm:spPr/>
      <dgm:t>
        <a:bodyPr/>
        <a:lstStyle/>
        <a:p>
          <a:r>
            <a:rPr lang="en-US" sz="1600" b="1"/>
            <a:t>The </a:t>
          </a:r>
          <a:r>
            <a:rPr lang="en-US" sz="1600" b="1" dirty="0"/>
            <a:t>blockchain can only be appended</a:t>
          </a:r>
        </a:p>
      </dgm:t>
    </dgm:pt>
    <dgm:pt modelId="{31174AA2-F88E-4B5B-B367-F939A53E5D10}" type="parTrans" cxnId="{9D4BD3CE-8B6A-4737-B1BF-438DC1DB8C05}">
      <dgm:prSet/>
      <dgm:spPr/>
      <dgm:t>
        <a:bodyPr/>
        <a:lstStyle/>
        <a:p>
          <a:endParaRPr lang="en-US" b="1"/>
        </a:p>
      </dgm:t>
    </dgm:pt>
    <dgm:pt modelId="{6F961348-2574-4D89-9891-8839FE326303}" type="sibTrans" cxnId="{9D4BD3CE-8B6A-4737-B1BF-438DC1DB8C05}">
      <dgm:prSet/>
      <dgm:spPr/>
      <dgm:t>
        <a:bodyPr/>
        <a:lstStyle/>
        <a:p>
          <a:endParaRPr lang="en-US" b="1"/>
        </a:p>
      </dgm:t>
    </dgm:pt>
    <dgm:pt modelId="{DFCEC4EE-608C-4174-9489-9AC371415FF0}">
      <dgm:prSet phldrT="[Text]" custT="1"/>
      <dgm:spPr/>
      <dgm:t>
        <a:bodyPr/>
        <a:lstStyle/>
        <a:p>
          <a:r>
            <a:rPr lang="en-US" sz="1600" b="1" dirty="0"/>
            <a:t>The block contains a hash (fingerprint) of the previous block</a:t>
          </a:r>
        </a:p>
      </dgm:t>
    </dgm:pt>
    <dgm:pt modelId="{95C05D11-64E7-4327-8DB2-ED58ADEFE716}" type="parTrans" cxnId="{CE5DA2F1-DD8C-44D2-A04F-99D3E036CD97}">
      <dgm:prSet/>
      <dgm:spPr/>
      <dgm:t>
        <a:bodyPr/>
        <a:lstStyle/>
        <a:p>
          <a:endParaRPr lang="en-US" b="1"/>
        </a:p>
      </dgm:t>
    </dgm:pt>
    <dgm:pt modelId="{7BED0B4B-AFAB-4117-BED6-9665F9EB667C}" type="sibTrans" cxnId="{CE5DA2F1-DD8C-44D2-A04F-99D3E036CD97}">
      <dgm:prSet/>
      <dgm:spPr/>
      <dgm:t>
        <a:bodyPr/>
        <a:lstStyle/>
        <a:p>
          <a:endParaRPr lang="en-US" b="1"/>
        </a:p>
      </dgm:t>
    </dgm:pt>
    <dgm:pt modelId="{E0758234-BC8C-4EB1-9217-0EFED884B073}">
      <dgm:prSet phldrT="[Text]" custT="1"/>
      <dgm:spPr/>
      <dgm:t>
        <a:bodyPr/>
        <a:lstStyle/>
        <a:p>
          <a:r>
            <a:rPr lang="en-US" sz="1600" b="1"/>
            <a:t>If </a:t>
          </a:r>
          <a:r>
            <a:rPr lang="en-US" sz="1600" b="1" dirty="0"/>
            <a:t>the transaction is valid, the nodes propagate it further</a:t>
          </a:r>
        </a:p>
      </dgm:t>
    </dgm:pt>
    <dgm:pt modelId="{DEFE9426-28D4-4967-BB75-3E9749781738}" type="parTrans" cxnId="{8C2BC23F-D724-4E5C-96E5-7E5DA684C497}">
      <dgm:prSet/>
      <dgm:spPr/>
      <dgm:t>
        <a:bodyPr/>
        <a:lstStyle/>
        <a:p>
          <a:endParaRPr lang="en-US" b="1"/>
        </a:p>
      </dgm:t>
    </dgm:pt>
    <dgm:pt modelId="{23364386-CCBC-424B-AB85-A19A1CA33E9D}" type="sibTrans" cxnId="{8C2BC23F-D724-4E5C-96E5-7E5DA684C497}">
      <dgm:prSet/>
      <dgm:spPr/>
      <dgm:t>
        <a:bodyPr/>
        <a:lstStyle/>
        <a:p>
          <a:endParaRPr lang="en-US" b="1"/>
        </a:p>
      </dgm:t>
    </dgm:pt>
    <dgm:pt modelId="{081A3990-61E5-4C43-A9BD-FEA2749753FF}" type="pres">
      <dgm:prSet presAssocID="{4071B1FE-9268-4280-B64A-D1B321E3A4E1}" presName="diagram" presStyleCnt="0">
        <dgm:presLayoutVars>
          <dgm:dir/>
          <dgm:resizeHandles val="exact"/>
        </dgm:presLayoutVars>
      </dgm:prSet>
      <dgm:spPr/>
    </dgm:pt>
    <dgm:pt modelId="{13DDABFE-739B-4C8D-BA35-855356A26080}" type="pres">
      <dgm:prSet presAssocID="{3E0D2381-9302-429C-8B21-046C659F543A}" presName="node" presStyleLbl="node1" presStyleIdx="0" presStyleCnt="11">
        <dgm:presLayoutVars>
          <dgm:bulletEnabled val="1"/>
        </dgm:presLayoutVars>
      </dgm:prSet>
      <dgm:spPr/>
    </dgm:pt>
    <dgm:pt modelId="{5E55B4E3-84E5-4090-B8E9-E72013610DFA}" type="pres">
      <dgm:prSet presAssocID="{1AEB780C-2408-47B6-9D16-4ECFC19A7911}" presName="sibTrans" presStyleLbl="sibTrans2D1" presStyleIdx="0" presStyleCnt="10"/>
      <dgm:spPr/>
    </dgm:pt>
    <dgm:pt modelId="{DECC0DC9-33D6-4B4D-8767-725FE6F2730E}" type="pres">
      <dgm:prSet presAssocID="{1AEB780C-2408-47B6-9D16-4ECFC19A7911}" presName="connectorText" presStyleLbl="sibTrans2D1" presStyleIdx="0" presStyleCnt="10"/>
      <dgm:spPr/>
    </dgm:pt>
    <dgm:pt modelId="{FA444A36-E01E-4DE6-921B-2E58F6AEDD94}" type="pres">
      <dgm:prSet presAssocID="{25D2EE21-0D10-44FD-98D1-F03D2E10DE9F}" presName="node" presStyleLbl="node1" presStyleIdx="1" presStyleCnt="11">
        <dgm:presLayoutVars>
          <dgm:bulletEnabled val="1"/>
        </dgm:presLayoutVars>
      </dgm:prSet>
      <dgm:spPr/>
    </dgm:pt>
    <dgm:pt modelId="{E560CE92-A98B-4B72-A531-EA4B382A0F89}" type="pres">
      <dgm:prSet presAssocID="{F088CC88-C40B-40F3-8064-D5FBE98A85A5}" presName="sibTrans" presStyleLbl="sibTrans2D1" presStyleIdx="1" presStyleCnt="10"/>
      <dgm:spPr/>
    </dgm:pt>
    <dgm:pt modelId="{460D8BD4-0516-4F1C-9ABE-FD5601E26B79}" type="pres">
      <dgm:prSet presAssocID="{F088CC88-C40B-40F3-8064-D5FBE98A85A5}" presName="connectorText" presStyleLbl="sibTrans2D1" presStyleIdx="1" presStyleCnt="10"/>
      <dgm:spPr/>
    </dgm:pt>
    <dgm:pt modelId="{323F867A-C5BB-49B7-86FE-E5CE6DE2DB84}" type="pres">
      <dgm:prSet presAssocID="{C7D14688-6657-43A8-9891-3A334B9E8179}" presName="node" presStyleLbl="node1" presStyleIdx="2" presStyleCnt="11">
        <dgm:presLayoutVars>
          <dgm:bulletEnabled val="1"/>
        </dgm:presLayoutVars>
      </dgm:prSet>
      <dgm:spPr/>
    </dgm:pt>
    <dgm:pt modelId="{CF732B0F-6C31-4ED9-9271-F7EE42469025}" type="pres">
      <dgm:prSet presAssocID="{0F487022-3616-4778-9B16-7F16870909DE}" presName="sibTrans" presStyleLbl="sibTrans2D1" presStyleIdx="2" presStyleCnt="10"/>
      <dgm:spPr/>
    </dgm:pt>
    <dgm:pt modelId="{CBFC5443-E7F8-4418-A03B-46F8E2B44F64}" type="pres">
      <dgm:prSet presAssocID="{0F487022-3616-4778-9B16-7F16870909DE}" presName="connectorText" presStyleLbl="sibTrans2D1" presStyleIdx="2" presStyleCnt="10"/>
      <dgm:spPr/>
    </dgm:pt>
    <dgm:pt modelId="{5FCE63A7-FA91-4271-A8B0-6763C52231CF}" type="pres">
      <dgm:prSet presAssocID="{E0758234-BC8C-4EB1-9217-0EFED884B073}" presName="node" presStyleLbl="node1" presStyleIdx="3" presStyleCnt="11">
        <dgm:presLayoutVars>
          <dgm:bulletEnabled val="1"/>
        </dgm:presLayoutVars>
      </dgm:prSet>
      <dgm:spPr/>
    </dgm:pt>
    <dgm:pt modelId="{5BBB349F-06FE-43BE-812B-D2638D867C4E}" type="pres">
      <dgm:prSet presAssocID="{23364386-CCBC-424B-AB85-A19A1CA33E9D}" presName="sibTrans" presStyleLbl="sibTrans2D1" presStyleIdx="3" presStyleCnt="10"/>
      <dgm:spPr/>
    </dgm:pt>
    <dgm:pt modelId="{F7F0FDBC-604F-4ED8-A5C2-A6FFBC2B2A32}" type="pres">
      <dgm:prSet presAssocID="{23364386-CCBC-424B-AB85-A19A1CA33E9D}" presName="connectorText" presStyleLbl="sibTrans2D1" presStyleIdx="3" presStyleCnt="10"/>
      <dgm:spPr/>
    </dgm:pt>
    <dgm:pt modelId="{F12FFE6C-699B-44A7-BCF5-2DCE6E63CFD4}" type="pres">
      <dgm:prSet presAssocID="{09175791-1282-4D0E-9DE6-A9F45823C061}" presName="node" presStyleLbl="node1" presStyleIdx="4" presStyleCnt="11">
        <dgm:presLayoutVars>
          <dgm:bulletEnabled val="1"/>
        </dgm:presLayoutVars>
      </dgm:prSet>
      <dgm:spPr/>
    </dgm:pt>
    <dgm:pt modelId="{4346544D-C7C5-4143-93E6-364652B7D7BC}" type="pres">
      <dgm:prSet presAssocID="{BEE002F6-FAF6-42C7-A332-49E65CBA37A8}" presName="sibTrans" presStyleLbl="sibTrans2D1" presStyleIdx="4" presStyleCnt="10"/>
      <dgm:spPr/>
    </dgm:pt>
    <dgm:pt modelId="{FCF57677-F299-428B-8639-DFD2C04A68D5}" type="pres">
      <dgm:prSet presAssocID="{BEE002F6-FAF6-42C7-A332-49E65CBA37A8}" presName="connectorText" presStyleLbl="sibTrans2D1" presStyleIdx="4" presStyleCnt="10"/>
      <dgm:spPr/>
    </dgm:pt>
    <dgm:pt modelId="{BBC0AA16-0E0F-40AD-B0A2-9AFE0A038863}" type="pres">
      <dgm:prSet presAssocID="{DFCEC4EE-608C-4174-9489-9AC371415FF0}" presName="node" presStyleLbl="node1" presStyleIdx="5" presStyleCnt="11">
        <dgm:presLayoutVars>
          <dgm:bulletEnabled val="1"/>
        </dgm:presLayoutVars>
      </dgm:prSet>
      <dgm:spPr/>
    </dgm:pt>
    <dgm:pt modelId="{384EAF68-1D25-4530-B121-65104C6C2A2F}" type="pres">
      <dgm:prSet presAssocID="{7BED0B4B-AFAB-4117-BED6-9665F9EB667C}" presName="sibTrans" presStyleLbl="sibTrans2D1" presStyleIdx="5" presStyleCnt="10"/>
      <dgm:spPr/>
    </dgm:pt>
    <dgm:pt modelId="{3EBF4E8A-9451-4388-B640-8297520D2065}" type="pres">
      <dgm:prSet presAssocID="{7BED0B4B-AFAB-4117-BED6-9665F9EB667C}" presName="connectorText" presStyleLbl="sibTrans2D1" presStyleIdx="5" presStyleCnt="10"/>
      <dgm:spPr/>
    </dgm:pt>
    <dgm:pt modelId="{D859F742-3AE5-48DA-89EB-195B4E302239}" type="pres">
      <dgm:prSet presAssocID="{290B6273-A36C-431B-BF3C-FA42902177E5}" presName="node" presStyleLbl="node1" presStyleIdx="6" presStyleCnt="11">
        <dgm:presLayoutVars>
          <dgm:bulletEnabled val="1"/>
        </dgm:presLayoutVars>
      </dgm:prSet>
      <dgm:spPr/>
    </dgm:pt>
    <dgm:pt modelId="{046945F9-6A22-4A1B-B6A8-E46266A9F6F1}" type="pres">
      <dgm:prSet presAssocID="{BCD237C9-65E7-4EDE-82D8-C067F8F8A220}" presName="sibTrans" presStyleLbl="sibTrans2D1" presStyleIdx="6" presStyleCnt="10"/>
      <dgm:spPr/>
    </dgm:pt>
    <dgm:pt modelId="{5A053D83-0C60-4664-BFC0-68639B3C677E}" type="pres">
      <dgm:prSet presAssocID="{BCD237C9-65E7-4EDE-82D8-C067F8F8A220}" presName="connectorText" presStyleLbl="sibTrans2D1" presStyleIdx="6" presStyleCnt="10"/>
      <dgm:spPr/>
    </dgm:pt>
    <dgm:pt modelId="{38FE627D-FF32-43E7-8FC0-943D72E381C2}" type="pres">
      <dgm:prSet presAssocID="{C93B0CFB-A8EF-4699-B2E6-4078B82F94BC}" presName="node" presStyleLbl="node1" presStyleIdx="7" presStyleCnt="11">
        <dgm:presLayoutVars>
          <dgm:bulletEnabled val="1"/>
        </dgm:presLayoutVars>
      </dgm:prSet>
      <dgm:spPr/>
    </dgm:pt>
    <dgm:pt modelId="{14859D47-CFEF-4D1D-AA88-F9690ED84F04}" type="pres">
      <dgm:prSet presAssocID="{C799FC48-0305-466C-803A-AE03524E6864}" presName="sibTrans" presStyleLbl="sibTrans2D1" presStyleIdx="7" presStyleCnt="10"/>
      <dgm:spPr/>
    </dgm:pt>
    <dgm:pt modelId="{BE7B6F14-5E67-4EB7-BA55-C2B9ABB11416}" type="pres">
      <dgm:prSet presAssocID="{C799FC48-0305-466C-803A-AE03524E6864}" presName="connectorText" presStyleLbl="sibTrans2D1" presStyleIdx="7" presStyleCnt="10"/>
      <dgm:spPr/>
    </dgm:pt>
    <dgm:pt modelId="{7299614B-5EB2-46D3-9871-E787BBBA7DFD}" type="pres">
      <dgm:prSet presAssocID="{E58404EB-E7CD-46F4-A7A9-81370F8938EC}" presName="node" presStyleLbl="node1" presStyleIdx="8" presStyleCnt="11">
        <dgm:presLayoutVars>
          <dgm:bulletEnabled val="1"/>
        </dgm:presLayoutVars>
      </dgm:prSet>
      <dgm:spPr/>
    </dgm:pt>
    <dgm:pt modelId="{F7C26A1F-4492-42A7-9153-17DC634ED812}" type="pres">
      <dgm:prSet presAssocID="{6F961348-2574-4D89-9891-8839FE326303}" presName="sibTrans" presStyleLbl="sibTrans2D1" presStyleIdx="8" presStyleCnt="10"/>
      <dgm:spPr/>
    </dgm:pt>
    <dgm:pt modelId="{2C86EB91-1130-4F10-963F-A60C754EF65F}" type="pres">
      <dgm:prSet presAssocID="{6F961348-2574-4D89-9891-8839FE326303}" presName="connectorText" presStyleLbl="sibTrans2D1" presStyleIdx="8" presStyleCnt="10"/>
      <dgm:spPr/>
    </dgm:pt>
    <dgm:pt modelId="{ECCB419A-3C24-4B24-AC6E-A4499CD74DB1}" type="pres">
      <dgm:prSet presAssocID="{11632007-0193-437C-8A13-2837E0809198}" presName="node" presStyleLbl="node1" presStyleIdx="9" presStyleCnt="11">
        <dgm:presLayoutVars>
          <dgm:bulletEnabled val="1"/>
        </dgm:presLayoutVars>
      </dgm:prSet>
      <dgm:spPr/>
    </dgm:pt>
    <dgm:pt modelId="{C0EE9AF1-7913-405D-9255-4B9684A1DB33}" type="pres">
      <dgm:prSet presAssocID="{3351D8AA-88CB-49A5-95A6-A4B9CE89E7EC}" presName="sibTrans" presStyleLbl="sibTrans2D1" presStyleIdx="9" presStyleCnt="10"/>
      <dgm:spPr/>
    </dgm:pt>
    <dgm:pt modelId="{DFEEDFCC-0850-4132-A103-C4A7BC01971E}" type="pres">
      <dgm:prSet presAssocID="{3351D8AA-88CB-49A5-95A6-A4B9CE89E7EC}" presName="connectorText" presStyleLbl="sibTrans2D1" presStyleIdx="9" presStyleCnt="10"/>
      <dgm:spPr/>
    </dgm:pt>
    <dgm:pt modelId="{D5A2ED24-6865-48EF-899A-10126CC996F3}" type="pres">
      <dgm:prSet presAssocID="{A2EA8745-67B3-479B-B120-BA4EBD4E05CE}" presName="node" presStyleLbl="node1" presStyleIdx="10" presStyleCnt="11">
        <dgm:presLayoutVars>
          <dgm:bulletEnabled val="1"/>
        </dgm:presLayoutVars>
      </dgm:prSet>
      <dgm:spPr/>
    </dgm:pt>
  </dgm:ptLst>
  <dgm:cxnLst>
    <dgm:cxn modelId="{F6237005-4D28-4781-BFC9-772EFFDFDAF2}" type="presOf" srcId="{C93B0CFB-A8EF-4699-B2E6-4078B82F94BC}" destId="{38FE627D-FF32-43E7-8FC0-943D72E381C2}" srcOrd="0" destOrd="0" presId="urn:microsoft.com/office/officeart/2005/8/layout/process5"/>
    <dgm:cxn modelId="{181EAE08-DF92-48B5-AE07-225828429C31}" type="presOf" srcId="{6F961348-2574-4D89-9891-8839FE326303}" destId="{F7C26A1F-4492-42A7-9153-17DC634ED812}" srcOrd="0" destOrd="0" presId="urn:microsoft.com/office/officeart/2005/8/layout/process5"/>
    <dgm:cxn modelId="{FEE9490A-B629-47BF-A6A5-EC35DE56C1F6}" type="presOf" srcId="{BEE002F6-FAF6-42C7-A332-49E65CBA37A8}" destId="{FCF57677-F299-428B-8639-DFD2C04A68D5}" srcOrd="1" destOrd="0" presId="urn:microsoft.com/office/officeart/2005/8/layout/process5"/>
    <dgm:cxn modelId="{DE6BE70B-F7C9-4D1C-98F1-CA685575985A}" type="presOf" srcId="{A2EA8745-67B3-479B-B120-BA4EBD4E05CE}" destId="{D5A2ED24-6865-48EF-899A-10126CC996F3}" srcOrd="0" destOrd="0" presId="urn:microsoft.com/office/officeart/2005/8/layout/process5"/>
    <dgm:cxn modelId="{5870961B-9E23-4047-BCAD-CDFA88B63F0B}" type="presOf" srcId="{DFCEC4EE-608C-4174-9489-9AC371415FF0}" destId="{BBC0AA16-0E0F-40AD-B0A2-9AFE0A038863}" srcOrd="0" destOrd="0" presId="urn:microsoft.com/office/officeart/2005/8/layout/process5"/>
    <dgm:cxn modelId="{6B6A911C-3076-4F46-AD28-01A4621D50E0}" type="presOf" srcId="{0F487022-3616-4778-9B16-7F16870909DE}" destId="{CBFC5443-E7F8-4418-A03B-46F8E2B44F64}" srcOrd="1" destOrd="0" presId="urn:microsoft.com/office/officeart/2005/8/layout/process5"/>
    <dgm:cxn modelId="{AAF38C1F-E826-48D3-A1E2-6213C5D0A590}" type="presOf" srcId="{C799FC48-0305-466C-803A-AE03524E6864}" destId="{14859D47-CFEF-4D1D-AA88-F9690ED84F04}" srcOrd="0" destOrd="0" presId="urn:microsoft.com/office/officeart/2005/8/layout/process5"/>
    <dgm:cxn modelId="{D1592421-BD1C-4802-B497-C3542FF63C26}" type="presOf" srcId="{1AEB780C-2408-47B6-9D16-4ECFC19A7911}" destId="{5E55B4E3-84E5-4090-B8E9-E72013610DFA}" srcOrd="0" destOrd="0" presId="urn:microsoft.com/office/officeart/2005/8/layout/process5"/>
    <dgm:cxn modelId="{B81F1A37-5DB6-4B20-824E-BC18CB093B50}" type="presOf" srcId="{F088CC88-C40B-40F3-8064-D5FBE98A85A5}" destId="{460D8BD4-0516-4F1C-9ABE-FD5601E26B79}" srcOrd="1" destOrd="0" presId="urn:microsoft.com/office/officeart/2005/8/layout/process5"/>
    <dgm:cxn modelId="{1392BE3C-9002-4B0E-9792-C56D36FD1B25}" type="presOf" srcId="{3E0D2381-9302-429C-8B21-046C659F543A}" destId="{13DDABFE-739B-4C8D-BA35-855356A26080}" srcOrd="0" destOrd="0" presId="urn:microsoft.com/office/officeart/2005/8/layout/process5"/>
    <dgm:cxn modelId="{D231C03F-890C-46BB-A622-F340B1BDA3D7}" type="presOf" srcId="{BCD237C9-65E7-4EDE-82D8-C067F8F8A220}" destId="{5A053D83-0C60-4664-BFC0-68639B3C677E}" srcOrd="1" destOrd="0" presId="urn:microsoft.com/office/officeart/2005/8/layout/process5"/>
    <dgm:cxn modelId="{8C2BC23F-D724-4E5C-96E5-7E5DA684C497}" srcId="{4071B1FE-9268-4280-B64A-D1B321E3A4E1}" destId="{E0758234-BC8C-4EB1-9217-0EFED884B073}" srcOrd="3" destOrd="0" parTransId="{DEFE9426-28D4-4967-BB75-3E9749781738}" sibTransId="{23364386-CCBC-424B-AB85-A19A1CA33E9D}"/>
    <dgm:cxn modelId="{21A22C5E-EAA0-490A-A689-41D0DE7BFC06}" type="presOf" srcId="{11632007-0193-437C-8A13-2837E0809198}" destId="{ECCB419A-3C24-4B24-AC6E-A4499CD74DB1}" srcOrd="0" destOrd="0" presId="urn:microsoft.com/office/officeart/2005/8/layout/process5"/>
    <dgm:cxn modelId="{75942667-5732-4EFA-8C7F-7A6F10D9E98F}" type="presOf" srcId="{23364386-CCBC-424B-AB85-A19A1CA33E9D}" destId="{5BBB349F-06FE-43BE-812B-D2638D867C4E}" srcOrd="0" destOrd="0" presId="urn:microsoft.com/office/officeart/2005/8/layout/process5"/>
    <dgm:cxn modelId="{CE9F2849-3E5A-403B-8682-CF8F3C73C76D}" type="presOf" srcId="{7BED0B4B-AFAB-4117-BED6-9665F9EB667C}" destId="{384EAF68-1D25-4530-B121-65104C6C2A2F}" srcOrd="0" destOrd="0" presId="urn:microsoft.com/office/officeart/2005/8/layout/process5"/>
    <dgm:cxn modelId="{3A3E8E4E-AD8C-413D-9299-6CCCE9B27DAD}" srcId="{4071B1FE-9268-4280-B64A-D1B321E3A4E1}" destId="{C7D14688-6657-43A8-9891-3A334B9E8179}" srcOrd="2" destOrd="0" parTransId="{6E608930-A62C-480A-AE0B-89DB4A427590}" sibTransId="{0F487022-3616-4778-9B16-7F16870909DE}"/>
    <dgm:cxn modelId="{59797851-ACEB-44DB-BFFB-F3CD977F4335}" type="presOf" srcId="{BCD237C9-65E7-4EDE-82D8-C067F8F8A220}" destId="{046945F9-6A22-4A1B-B6A8-E46266A9F6F1}" srcOrd="0" destOrd="0" presId="urn:microsoft.com/office/officeart/2005/8/layout/process5"/>
    <dgm:cxn modelId="{73196572-70C2-4C96-83A3-A592EB3DD016}" srcId="{4071B1FE-9268-4280-B64A-D1B321E3A4E1}" destId="{25D2EE21-0D10-44FD-98D1-F03D2E10DE9F}" srcOrd="1" destOrd="0" parTransId="{9EE2C43C-4318-415E-A6B3-CAB92326B183}" sibTransId="{F088CC88-C40B-40F3-8064-D5FBE98A85A5}"/>
    <dgm:cxn modelId="{B3596553-B29F-448A-BC5F-8F07BAC64D10}" type="presOf" srcId="{C7D14688-6657-43A8-9891-3A334B9E8179}" destId="{323F867A-C5BB-49B7-86FE-E5CE6DE2DB84}" srcOrd="0" destOrd="0" presId="urn:microsoft.com/office/officeart/2005/8/layout/process5"/>
    <dgm:cxn modelId="{03B9E873-5751-4AB2-A555-7219174836BE}" type="presOf" srcId="{0F487022-3616-4778-9B16-7F16870909DE}" destId="{CF732B0F-6C31-4ED9-9271-F7EE42469025}" srcOrd="0" destOrd="0" presId="urn:microsoft.com/office/officeart/2005/8/layout/process5"/>
    <dgm:cxn modelId="{05785874-DD7B-4D26-82D4-C53459533F54}" srcId="{4071B1FE-9268-4280-B64A-D1B321E3A4E1}" destId="{3E0D2381-9302-429C-8B21-046C659F543A}" srcOrd="0" destOrd="0" parTransId="{5AC33786-2E61-4B95-AE7F-275F9D65E34D}" sibTransId="{1AEB780C-2408-47B6-9D16-4ECFC19A7911}"/>
    <dgm:cxn modelId="{F4C9535A-BC2B-4FDE-B5E7-B9EF1E9D9333}" type="presOf" srcId="{6F961348-2574-4D89-9891-8839FE326303}" destId="{2C86EB91-1130-4F10-963F-A60C754EF65F}" srcOrd="1" destOrd="0" presId="urn:microsoft.com/office/officeart/2005/8/layout/process5"/>
    <dgm:cxn modelId="{D7CA4C83-6E71-4D9E-A02A-299B16CB4EF8}" type="presOf" srcId="{3351D8AA-88CB-49A5-95A6-A4B9CE89E7EC}" destId="{DFEEDFCC-0850-4132-A103-C4A7BC01971E}" srcOrd="1" destOrd="0" presId="urn:microsoft.com/office/officeart/2005/8/layout/process5"/>
    <dgm:cxn modelId="{E73EE79E-75C5-467B-B00A-C6176F503B88}" type="presOf" srcId="{C799FC48-0305-466C-803A-AE03524E6864}" destId="{BE7B6F14-5E67-4EB7-BA55-C2B9ABB11416}" srcOrd="1" destOrd="0" presId="urn:microsoft.com/office/officeart/2005/8/layout/process5"/>
    <dgm:cxn modelId="{D8F462A2-FBDE-4359-A431-905F80A95373}" srcId="{4071B1FE-9268-4280-B64A-D1B321E3A4E1}" destId="{09175791-1282-4D0E-9DE6-A9F45823C061}" srcOrd="4" destOrd="0" parTransId="{93C2F6EC-9001-4A18-B919-3D8489D7360E}" sibTransId="{BEE002F6-FAF6-42C7-A332-49E65CBA37A8}"/>
    <dgm:cxn modelId="{117554AD-F70F-4C35-9346-B19F96BD1F7D}" type="presOf" srcId="{3351D8AA-88CB-49A5-95A6-A4B9CE89E7EC}" destId="{C0EE9AF1-7913-405D-9255-4B9684A1DB33}" srcOrd="0" destOrd="0" presId="urn:microsoft.com/office/officeart/2005/8/layout/process5"/>
    <dgm:cxn modelId="{859D4FAE-93B6-4A6F-ABD6-FAEE5390EAB0}" srcId="{4071B1FE-9268-4280-B64A-D1B321E3A4E1}" destId="{290B6273-A36C-431B-BF3C-FA42902177E5}" srcOrd="6" destOrd="0" parTransId="{33A4CF1F-49EF-4FF7-90EA-5931A34CF3FA}" sibTransId="{BCD237C9-65E7-4EDE-82D8-C067F8F8A220}"/>
    <dgm:cxn modelId="{E444C5BB-2A26-4BD4-AAB7-243238E39432}" type="presOf" srcId="{290B6273-A36C-431B-BF3C-FA42902177E5}" destId="{D859F742-3AE5-48DA-89EB-195B4E302239}" srcOrd="0" destOrd="0" presId="urn:microsoft.com/office/officeart/2005/8/layout/process5"/>
    <dgm:cxn modelId="{B3B714C0-5EEA-4C4C-86E9-1E56B4BBF3BE}" type="presOf" srcId="{E58404EB-E7CD-46F4-A7A9-81370F8938EC}" destId="{7299614B-5EB2-46D3-9871-E787BBBA7DFD}" srcOrd="0" destOrd="0" presId="urn:microsoft.com/office/officeart/2005/8/layout/process5"/>
    <dgm:cxn modelId="{820652C5-FECF-4491-A558-436F3EC6BCB1}" type="presOf" srcId="{F088CC88-C40B-40F3-8064-D5FBE98A85A5}" destId="{E560CE92-A98B-4B72-A531-EA4B382A0F89}" srcOrd="0" destOrd="0" presId="urn:microsoft.com/office/officeart/2005/8/layout/process5"/>
    <dgm:cxn modelId="{056729CC-A6B0-4F60-8E35-1D960D01B4F1}" type="presOf" srcId="{1AEB780C-2408-47B6-9D16-4ECFC19A7911}" destId="{DECC0DC9-33D6-4B4D-8767-725FE6F2730E}" srcOrd="1" destOrd="0" presId="urn:microsoft.com/office/officeart/2005/8/layout/process5"/>
    <dgm:cxn modelId="{9D4BD3CE-8B6A-4737-B1BF-438DC1DB8C05}" srcId="{4071B1FE-9268-4280-B64A-D1B321E3A4E1}" destId="{E58404EB-E7CD-46F4-A7A9-81370F8938EC}" srcOrd="8" destOrd="0" parTransId="{31174AA2-F88E-4B5B-B367-F939A53E5D10}" sibTransId="{6F961348-2574-4D89-9891-8839FE326303}"/>
    <dgm:cxn modelId="{BF709BD3-1134-493F-A5F7-0C7ABA0C11BA}" type="presOf" srcId="{09175791-1282-4D0E-9DE6-A9F45823C061}" destId="{F12FFE6C-699B-44A7-BCF5-2DCE6E63CFD4}" srcOrd="0" destOrd="0" presId="urn:microsoft.com/office/officeart/2005/8/layout/process5"/>
    <dgm:cxn modelId="{3AD8BED3-1CAE-4ADE-B0BE-5AD23CF005D6}" type="presOf" srcId="{E0758234-BC8C-4EB1-9217-0EFED884B073}" destId="{5FCE63A7-FA91-4271-A8B0-6763C52231CF}" srcOrd="0" destOrd="0" presId="urn:microsoft.com/office/officeart/2005/8/layout/process5"/>
    <dgm:cxn modelId="{6AABCCD5-7561-41BE-A936-A5994ED26D07}" type="presOf" srcId="{7BED0B4B-AFAB-4117-BED6-9665F9EB667C}" destId="{3EBF4E8A-9451-4388-B640-8297520D2065}" srcOrd="1" destOrd="0" presId="urn:microsoft.com/office/officeart/2005/8/layout/process5"/>
    <dgm:cxn modelId="{D50E16D8-2878-4539-986D-F795352FAFFC}" srcId="{4071B1FE-9268-4280-B64A-D1B321E3A4E1}" destId="{A2EA8745-67B3-479B-B120-BA4EBD4E05CE}" srcOrd="10" destOrd="0" parTransId="{5C29A298-20C9-43F0-92D4-7BAC2B420B6A}" sibTransId="{2ECAF904-7ED7-4F41-91B5-7870E5EAF4B1}"/>
    <dgm:cxn modelId="{CD67DADE-CBB1-4C2D-9318-962DFA6F7D9F}" type="presOf" srcId="{25D2EE21-0D10-44FD-98D1-F03D2E10DE9F}" destId="{FA444A36-E01E-4DE6-921B-2E58F6AEDD94}" srcOrd="0" destOrd="0" presId="urn:microsoft.com/office/officeart/2005/8/layout/process5"/>
    <dgm:cxn modelId="{B45169E4-9BC5-4B6A-8AB9-E48466E271B2}" type="presOf" srcId="{23364386-CCBC-424B-AB85-A19A1CA33E9D}" destId="{F7F0FDBC-604F-4ED8-A5C2-A6FFBC2B2A32}" srcOrd="1" destOrd="0" presId="urn:microsoft.com/office/officeart/2005/8/layout/process5"/>
    <dgm:cxn modelId="{8B88C3EF-732F-4030-ADF0-ACC4EE14CAB1}" srcId="{4071B1FE-9268-4280-B64A-D1B321E3A4E1}" destId="{C93B0CFB-A8EF-4699-B2E6-4078B82F94BC}" srcOrd="7" destOrd="0" parTransId="{973FF30E-84E4-47B1-B446-9D50D1D10FCE}" sibTransId="{C799FC48-0305-466C-803A-AE03524E6864}"/>
    <dgm:cxn modelId="{CE5DA2F1-DD8C-44D2-A04F-99D3E036CD97}" srcId="{4071B1FE-9268-4280-B64A-D1B321E3A4E1}" destId="{DFCEC4EE-608C-4174-9489-9AC371415FF0}" srcOrd="5" destOrd="0" parTransId="{95C05D11-64E7-4327-8DB2-ED58ADEFE716}" sibTransId="{7BED0B4B-AFAB-4117-BED6-9665F9EB667C}"/>
    <dgm:cxn modelId="{E4BCFEF6-4EA3-48F8-84FE-F0BB524BFE7A}" srcId="{4071B1FE-9268-4280-B64A-D1B321E3A4E1}" destId="{11632007-0193-437C-8A13-2837E0809198}" srcOrd="9" destOrd="0" parTransId="{078AF1F4-015B-4CBE-A60A-A3D3A7D86144}" sibTransId="{3351D8AA-88CB-49A5-95A6-A4B9CE89E7EC}"/>
    <dgm:cxn modelId="{701263F8-2CB8-4279-B111-3DBD08ACC923}" type="presOf" srcId="{4071B1FE-9268-4280-B64A-D1B321E3A4E1}" destId="{081A3990-61E5-4C43-A9BD-FEA2749753FF}" srcOrd="0" destOrd="0" presId="urn:microsoft.com/office/officeart/2005/8/layout/process5"/>
    <dgm:cxn modelId="{F1E39AFC-40D6-4453-AF0F-414D839828C1}" type="presOf" srcId="{BEE002F6-FAF6-42C7-A332-49E65CBA37A8}" destId="{4346544D-C7C5-4143-93E6-364652B7D7BC}" srcOrd="0" destOrd="0" presId="urn:microsoft.com/office/officeart/2005/8/layout/process5"/>
    <dgm:cxn modelId="{757BBACA-AEBB-48FA-AD8D-02033291935A}" type="presParOf" srcId="{081A3990-61E5-4C43-A9BD-FEA2749753FF}" destId="{13DDABFE-739B-4C8D-BA35-855356A26080}" srcOrd="0" destOrd="0" presId="urn:microsoft.com/office/officeart/2005/8/layout/process5"/>
    <dgm:cxn modelId="{1978954B-15B6-4789-8922-0BACB1B5607D}" type="presParOf" srcId="{081A3990-61E5-4C43-A9BD-FEA2749753FF}" destId="{5E55B4E3-84E5-4090-B8E9-E72013610DFA}" srcOrd="1" destOrd="0" presId="urn:microsoft.com/office/officeart/2005/8/layout/process5"/>
    <dgm:cxn modelId="{F30C898F-D165-4D42-A2B9-013828DE3E18}" type="presParOf" srcId="{5E55B4E3-84E5-4090-B8E9-E72013610DFA}" destId="{DECC0DC9-33D6-4B4D-8767-725FE6F2730E}" srcOrd="0" destOrd="0" presId="urn:microsoft.com/office/officeart/2005/8/layout/process5"/>
    <dgm:cxn modelId="{34335452-D61D-46A4-94B4-94A0A8FBD30B}" type="presParOf" srcId="{081A3990-61E5-4C43-A9BD-FEA2749753FF}" destId="{FA444A36-E01E-4DE6-921B-2E58F6AEDD94}" srcOrd="2" destOrd="0" presId="urn:microsoft.com/office/officeart/2005/8/layout/process5"/>
    <dgm:cxn modelId="{99E300F0-92F9-4AC1-A877-0BC9446C8B40}" type="presParOf" srcId="{081A3990-61E5-4C43-A9BD-FEA2749753FF}" destId="{E560CE92-A98B-4B72-A531-EA4B382A0F89}" srcOrd="3" destOrd="0" presId="urn:microsoft.com/office/officeart/2005/8/layout/process5"/>
    <dgm:cxn modelId="{622DD906-ECF3-4019-9A2F-C2641B1BEC6A}" type="presParOf" srcId="{E560CE92-A98B-4B72-A531-EA4B382A0F89}" destId="{460D8BD4-0516-4F1C-9ABE-FD5601E26B79}" srcOrd="0" destOrd="0" presId="urn:microsoft.com/office/officeart/2005/8/layout/process5"/>
    <dgm:cxn modelId="{A5F48841-C1A2-4BEF-9410-21908E3CEF73}" type="presParOf" srcId="{081A3990-61E5-4C43-A9BD-FEA2749753FF}" destId="{323F867A-C5BB-49B7-86FE-E5CE6DE2DB84}" srcOrd="4" destOrd="0" presId="urn:microsoft.com/office/officeart/2005/8/layout/process5"/>
    <dgm:cxn modelId="{47C8A184-542F-496F-A2D2-9C80C00508F6}" type="presParOf" srcId="{081A3990-61E5-4C43-A9BD-FEA2749753FF}" destId="{CF732B0F-6C31-4ED9-9271-F7EE42469025}" srcOrd="5" destOrd="0" presId="urn:microsoft.com/office/officeart/2005/8/layout/process5"/>
    <dgm:cxn modelId="{D8623EFE-4725-44BB-9BEF-4B4F3C1E7338}" type="presParOf" srcId="{CF732B0F-6C31-4ED9-9271-F7EE42469025}" destId="{CBFC5443-E7F8-4418-A03B-46F8E2B44F64}" srcOrd="0" destOrd="0" presId="urn:microsoft.com/office/officeart/2005/8/layout/process5"/>
    <dgm:cxn modelId="{8B8E3484-8623-46AD-BB2A-15CCBE37FA2D}" type="presParOf" srcId="{081A3990-61E5-4C43-A9BD-FEA2749753FF}" destId="{5FCE63A7-FA91-4271-A8B0-6763C52231CF}" srcOrd="6" destOrd="0" presId="urn:microsoft.com/office/officeart/2005/8/layout/process5"/>
    <dgm:cxn modelId="{B0A7EF8D-71C4-436B-A824-4CC13D3B8CD0}" type="presParOf" srcId="{081A3990-61E5-4C43-A9BD-FEA2749753FF}" destId="{5BBB349F-06FE-43BE-812B-D2638D867C4E}" srcOrd="7" destOrd="0" presId="urn:microsoft.com/office/officeart/2005/8/layout/process5"/>
    <dgm:cxn modelId="{8905D710-EAA0-4B65-9DE7-CDED58594CB6}" type="presParOf" srcId="{5BBB349F-06FE-43BE-812B-D2638D867C4E}" destId="{F7F0FDBC-604F-4ED8-A5C2-A6FFBC2B2A32}" srcOrd="0" destOrd="0" presId="urn:microsoft.com/office/officeart/2005/8/layout/process5"/>
    <dgm:cxn modelId="{FE325F74-282F-4CEA-9F77-5CD5B4177BD3}" type="presParOf" srcId="{081A3990-61E5-4C43-A9BD-FEA2749753FF}" destId="{F12FFE6C-699B-44A7-BCF5-2DCE6E63CFD4}" srcOrd="8" destOrd="0" presId="urn:microsoft.com/office/officeart/2005/8/layout/process5"/>
    <dgm:cxn modelId="{B3D267BA-0C4F-4015-8DE1-A7811CF48152}" type="presParOf" srcId="{081A3990-61E5-4C43-A9BD-FEA2749753FF}" destId="{4346544D-C7C5-4143-93E6-364652B7D7BC}" srcOrd="9" destOrd="0" presId="urn:microsoft.com/office/officeart/2005/8/layout/process5"/>
    <dgm:cxn modelId="{3DF1A247-354E-4CBC-BC0E-66A74EF0D9E3}" type="presParOf" srcId="{4346544D-C7C5-4143-93E6-364652B7D7BC}" destId="{FCF57677-F299-428B-8639-DFD2C04A68D5}" srcOrd="0" destOrd="0" presId="urn:microsoft.com/office/officeart/2005/8/layout/process5"/>
    <dgm:cxn modelId="{BECD9596-C738-437B-A3EB-8C7115244CC1}" type="presParOf" srcId="{081A3990-61E5-4C43-A9BD-FEA2749753FF}" destId="{BBC0AA16-0E0F-40AD-B0A2-9AFE0A038863}" srcOrd="10" destOrd="0" presId="urn:microsoft.com/office/officeart/2005/8/layout/process5"/>
    <dgm:cxn modelId="{A658F519-78E6-43BA-B8BA-9F54C662C97C}" type="presParOf" srcId="{081A3990-61E5-4C43-A9BD-FEA2749753FF}" destId="{384EAF68-1D25-4530-B121-65104C6C2A2F}" srcOrd="11" destOrd="0" presId="urn:microsoft.com/office/officeart/2005/8/layout/process5"/>
    <dgm:cxn modelId="{093FC1EC-2D63-459D-9D66-511A5D834675}" type="presParOf" srcId="{384EAF68-1D25-4530-B121-65104C6C2A2F}" destId="{3EBF4E8A-9451-4388-B640-8297520D2065}" srcOrd="0" destOrd="0" presId="urn:microsoft.com/office/officeart/2005/8/layout/process5"/>
    <dgm:cxn modelId="{877D8177-49AD-43A9-A26A-644F6724F5C1}" type="presParOf" srcId="{081A3990-61E5-4C43-A9BD-FEA2749753FF}" destId="{D859F742-3AE5-48DA-89EB-195B4E302239}" srcOrd="12" destOrd="0" presId="urn:microsoft.com/office/officeart/2005/8/layout/process5"/>
    <dgm:cxn modelId="{AB5AA3C6-5D80-4420-BB9B-8B2AB1441AEF}" type="presParOf" srcId="{081A3990-61E5-4C43-A9BD-FEA2749753FF}" destId="{046945F9-6A22-4A1B-B6A8-E46266A9F6F1}" srcOrd="13" destOrd="0" presId="urn:microsoft.com/office/officeart/2005/8/layout/process5"/>
    <dgm:cxn modelId="{07C18C56-78C5-4A57-9866-4A8921668474}" type="presParOf" srcId="{046945F9-6A22-4A1B-B6A8-E46266A9F6F1}" destId="{5A053D83-0C60-4664-BFC0-68639B3C677E}" srcOrd="0" destOrd="0" presId="urn:microsoft.com/office/officeart/2005/8/layout/process5"/>
    <dgm:cxn modelId="{FACF378D-4D6F-47DC-A827-58A57E59C82B}" type="presParOf" srcId="{081A3990-61E5-4C43-A9BD-FEA2749753FF}" destId="{38FE627D-FF32-43E7-8FC0-943D72E381C2}" srcOrd="14" destOrd="0" presId="urn:microsoft.com/office/officeart/2005/8/layout/process5"/>
    <dgm:cxn modelId="{3A80E776-D41D-4984-9C4D-9D5A4E525B3E}" type="presParOf" srcId="{081A3990-61E5-4C43-A9BD-FEA2749753FF}" destId="{14859D47-CFEF-4D1D-AA88-F9690ED84F04}" srcOrd="15" destOrd="0" presId="urn:microsoft.com/office/officeart/2005/8/layout/process5"/>
    <dgm:cxn modelId="{CBC70FCA-18E4-4976-B5DE-231033332D22}" type="presParOf" srcId="{14859D47-CFEF-4D1D-AA88-F9690ED84F04}" destId="{BE7B6F14-5E67-4EB7-BA55-C2B9ABB11416}" srcOrd="0" destOrd="0" presId="urn:microsoft.com/office/officeart/2005/8/layout/process5"/>
    <dgm:cxn modelId="{03C7F4A1-2EBC-4A40-90EB-5EF84D791754}" type="presParOf" srcId="{081A3990-61E5-4C43-A9BD-FEA2749753FF}" destId="{7299614B-5EB2-46D3-9871-E787BBBA7DFD}" srcOrd="16" destOrd="0" presId="urn:microsoft.com/office/officeart/2005/8/layout/process5"/>
    <dgm:cxn modelId="{98E6EDB3-CDB1-4CC7-AA71-F4E5DD72D17C}" type="presParOf" srcId="{081A3990-61E5-4C43-A9BD-FEA2749753FF}" destId="{F7C26A1F-4492-42A7-9153-17DC634ED812}" srcOrd="17" destOrd="0" presId="urn:microsoft.com/office/officeart/2005/8/layout/process5"/>
    <dgm:cxn modelId="{BC50EB51-FFE0-4C8C-949B-BB974424BA80}" type="presParOf" srcId="{F7C26A1F-4492-42A7-9153-17DC634ED812}" destId="{2C86EB91-1130-4F10-963F-A60C754EF65F}" srcOrd="0" destOrd="0" presId="urn:microsoft.com/office/officeart/2005/8/layout/process5"/>
    <dgm:cxn modelId="{82C6C9EA-BBE5-47C0-A7E1-924B2DBBBBC7}" type="presParOf" srcId="{081A3990-61E5-4C43-A9BD-FEA2749753FF}" destId="{ECCB419A-3C24-4B24-AC6E-A4499CD74DB1}" srcOrd="18" destOrd="0" presId="urn:microsoft.com/office/officeart/2005/8/layout/process5"/>
    <dgm:cxn modelId="{AAFF31F8-A8E7-4B5C-BEF4-FB54BE9E8C26}" type="presParOf" srcId="{081A3990-61E5-4C43-A9BD-FEA2749753FF}" destId="{C0EE9AF1-7913-405D-9255-4B9684A1DB33}" srcOrd="19" destOrd="0" presId="urn:microsoft.com/office/officeart/2005/8/layout/process5"/>
    <dgm:cxn modelId="{F4CDDA06-DF42-4419-A093-17BEBEE2C9AD}" type="presParOf" srcId="{C0EE9AF1-7913-405D-9255-4B9684A1DB33}" destId="{DFEEDFCC-0850-4132-A103-C4A7BC01971E}" srcOrd="0" destOrd="0" presId="urn:microsoft.com/office/officeart/2005/8/layout/process5"/>
    <dgm:cxn modelId="{381216AD-BFDB-4DE9-BA1F-0E71864AC2E1}" type="presParOf" srcId="{081A3990-61E5-4C43-A9BD-FEA2749753FF}" destId="{D5A2ED24-6865-48EF-899A-10126CC996F3}" srcOrd="2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9D92DA7-4469-4349-814D-F923FDFF85FB}" type="doc">
      <dgm:prSet loTypeId="urn:microsoft.com/office/officeart/2005/8/layout/radial3" loCatId="cycle" qsTypeId="urn:microsoft.com/office/officeart/2005/8/quickstyle/simple5" qsCatId="simple" csTypeId="urn:microsoft.com/office/officeart/2005/8/colors/colorful5" csCatId="colorful" phldr="1"/>
      <dgm:spPr/>
      <dgm:t>
        <a:bodyPr/>
        <a:lstStyle/>
        <a:p>
          <a:endParaRPr lang="en-US"/>
        </a:p>
      </dgm:t>
    </dgm:pt>
    <dgm:pt modelId="{68FB5035-743C-458E-8A0E-9EC25D1F2913}">
      <dgm:prSet phldrT="[Text]"/>
      <dgm:spPr/>
      <dgm:t>
        <a:bodyPr/>
        <a:lstStyle/>
        <a:p>
          <a:r>
            <a:rPr lang="en-US" b="0" dirty="0"/>
            <a:t>Bitcoin</a:t>
          </a:r>
        </a:p>
      </dgm:t>
    </dgm:pt>
    <dgm:pt modelId="{818E2856-E4CC-45EA-AA74-7B8E2B999844}" type="parTrans" cxnId="{E8E94A43-235E-4FFB-9BBB-0292CC4D88C2}">
      <dgm:prSet/>
      <dgm:spPr/>
      <dgm:t>
        <a:bodyPr/>
        <a:lstStyle/>
        <a:p>
          <a:endParaRPr lang="en-US" b="0"/>
        </a:p>
      </dgm:t>
    </dgm:pt>
    <dgm:pt modelId="{3559EBC1-20BA-4402-B688-94A5A7775FFC}" type="sibTrans" cxnId="{E8E94A43-235E-4FFB-9BBB-0292CC4D88C2}">
      <dgm:prSet/>
      <dgm:spPr/>
      <dgm:t>
        <a:bodyPr/>
        <a:lstStyle/>
        <a:p>
          <a:endParaRPr lang="en-US" b="0"/>
        </a:p>
      </dgm:t>
    </dgm:pt>
    <dgm:pt modelId="{4AD727FA-3A32-49A3-9882-7D4554211A0F}">
      <dgm:prSet phldrT="[Text]" custT="1"/>
      <dgm:spPr/>
      <dgm:t>
        <a:bodyPr/>
        <a:lstStyle/>
        <a:p>
          <a:r>
            <a:rPr lang="en-US" sz="1800" b="0" dirty="0"/>
            <a:t>Cryptography</a:t>
          </a:r>
        </a:p>
      </dgm:t>
    </dgm:pt>
    <dgm:pt modelId="{868A6CC8-6597-481F-BFFB-9BD64CDECA04}" type="parTrans" cxnId="{8DD70D8F-5ED4-425B-B218-433DD34EC4BE}">
      <dgm:prSet/>
      <dgm:spPr/>
      <dgm:t>
        <a:bodyPr/>
        <a:lstStyle/>
        <a:p>
          <a:endParaRPr lang="en-US" b="0"/>
        </a:p>
      </dgm:t>
    </dgm:pt>
    <dgm:pt modelId="{D5AC27E6-0B8B-4729-8667-0C0D65AE96A9}" type="sibTrans" cxnId="{8DD70D8F-5ED4-425B-B218-433DD34EC4BE}">
      <dgm:prSet/>
      <dgm:spPr/>
      <dgm:t>
        <a:bodyPr/>
        <a:lstStyle/>
        <a:p>
          <a:endParaRPr lang="en-US" b="0"/>
        </a:p>
      </dgm:t>
    </dgm:pt>
    <dgm:pt modelId="{B9E968BC-4AFB-49BD-AE07-C16DB81447ED}">
      <dgm:prSet phldrT="[Text]" custT="1"/>
      <dgm:spPr/>
      <dgm:t>
        <a:bodyPr/>
        <a:lstStyle/>
        <a:p>
          <a:r>
            <a:rPr lang="en-US" sz="1800" b="0" dirty="0"/>
            <a:t>Economics</a:t>
          </a:r>
        </a:p>
      </dgm:t>
    </dgm:pt>
    <dgm:pt modelId="{9A19C989-FBC6-4EB2-A899-7B05A1CDFB05}" type="parTrans" cxnId="{63942EBD-76E1-4C84-8EEE-2ADEC1953018}">
      <dgm:prSet/>
      <dgm:spPr/>
      <dgm:t>
        <a:bodyPr/>
        <a:lstStyle/>
        <a:p>
          <a:endParaRPr lang="en-US" b="0"/>
        </a:p>
      </dgm:t>
    </dgm:pt>
    <dgm:pt modelId="{6284ADF0-6C71-4381-AEB9-9650B015DE3A}" type="sibTrans" cxnId="{63942EBD-76E1-4C84-8EEE-2ADEC1953018}">
      <dgm:prSet/>
      <dgm:spPr/>
      <dgm:t>
        <a:bodyPr/>
        <a:lstStyle/>
        <a:p>
          <a:endParaRPr lang="en-US" b="0"/>
        </a:p>
      </dgm:t>
    </dgm:pt>
    <dgm:pt modelId="{D21B3BC6-5FF5-4A0A-A0B4-8452C34FC13E}">
      <dgm:prSet phldrT="[Text]" custT="1"/>
      <dgm:spPr/>
      <dgm:t>
        <a:bodyPr/>
        <a:lstStyle/>
        <a:p>
          <a:r>
            <a:rPr lang="en-US" sz="1800" b="0" dirty="0"/>
            <a:t>Game Theory</a:t>
          </a:r>
        </a:p>
      </dgm:t>
    </dgm:pt>
    <dgm:pt modelId="{1F40A1BE-D958-419F-A11C-AB9AEFD9B1F1}" type="parTrans" cxnId="{DE5A3BF4-73DF-4189-8ABF-84D7A36322A3}">
      <dgm:prSet/>
      <dgm:spPr/>
      <dgm:t>
        <a:bodyPr/>
        <a:lstStyle/>
        <a:p>
          <a:endParaRPr lang="en-US" b="0"/>
        </a:p>
      </dgm:t>
    </dgm:pt>
    <dgm:pt modelId="{6297CC60-58A7-42BB-B37D-1A722F91F803}" type="sibTrans" cxnId="{DE5A3BF4-73DF-4189-8ABF-84D7A36322A3}">
      <dgm:prSet/>
      <dgm:spPr/>
      <dgm:t>
        <a:bodyPr/>
        <a:lstStyle/>
        <a:p>
          <a:endParaRPr lang="en-US" b="0"/>
        </a:p>
      </dgm:t>
    </dgm:pt>
    <dgm:pt modelId="{FEF6CDD8-2BE4-4D07-92A1-E3FD5CE99677}">
      <dgm:prSet phldrT="[Text]" custT="1"/>
      <dgm:spPr/>
      <dgm:t>
        <a:bodyPr/>
        <a:lstStyle/>
        <a:p>
          <a:r>
            <a:rPr lang="en-US" sz="1800" b="0" dirty="0"/>
            <a:t>Decentralized consensus</a:t>
          </a:r>
        </a:p>
      </dgm:t>
    </dgm:pt>
    <dgm:pt modelId="{38B48431-71AD-4A86-BFB7-6995E52E404E}" type="parTrans" cxnId="{A3A06170-C9CC-4050-AD2F-857419B32C8F}">
      <dgm:prSet/>
      <dgm:spPr/>
      <dgm:t>
        <a:bodyPr/>
        <a:lstStyle/>
        <a:p>
          <a:endParaRPr lang="en-US" b="0"/>
        </a:p>
      </dgm:t>
    </dgm:pt>
    <dgm:pt modelId="{24CA269C-AF08-4EB2-A3E3-45959809B0D9}" type="sibTrans" cxnId="{A3A06170-C9CC-4050-AD2F-857419B32C8F}">
      <dgm:prSet/>
      <dgm:spPr/>
      <dgm:t>
        <a:bodyPr/>
        <a:lstStyle/>
        <a:p>
          <a:endParaRPr lang="en-US" b="0"/>
        </a:p>
      </dgm:t>
    </dgm:pt>
    <dgm:pt modelId="{B604BDAC-02A9-46D5-B244-73B11F389108}">
      <dgm:prSet phldrT="[Text]" custT="1"/>
      <dgm:spPr/>
      <dgm:t>
        <a:bodyPr/>
        <a:lstStyle/>
        <a:p>
          <a:r>
            <a:rPr lang="en-US" sz="1800" b="0" dirty="0"/>
            <a:t>Blockchain</a:t>
          </a:r>
        </a:p>
      </dgm:t>
    </dgm:pt>
    <dgm:pt modelId="{73DC8C4E-93E5-429A-B43C-42AE79CDE291}" type="parTrans" cxnId="{64A42A80-4439-43FF-BED8-D2F1892E3B40}">
      <dgm:prSet/>
      <dgm:spPr/>
      <dgm:t>
        <a:bodyPr/>
        <a:lstStyle/>
        <a:p>
          <a:endParaRPr lang="en-US" b="0"/>
        </a:p>
      </dgm:t>
    </dgm:pt>
    <dgm:pt modelId="{58752D56-0EA2-4A2F-96BB-76FF2B3D0AF9}" type="sibTrans" cxnId="{64A42A80-4439-43FF-BED8-D2F1892E3B40}">
      <dgm:prSet/>
      <dgm:spPr/>
      <dgm:t>
        <a:bodyPr/>
        <a:lstStyle/>
        <a:p>
          <a:endParaRPr lang="en-US" b="0"/>
        </a:p>
      </dgm:t>
    </dgm:pt>
    <dgm:pt modelId="{6E63C1AC-7F3B-4FAC-8778-653C7032B8A6}" type="pres">
      <dgm:prSet presAssocID="{C9D92DA7-4469-4349-814D-F923FDFF85FB}" presName="composite" presStyleCnt="0">
        <dgm:presLayoutVars>
          <dgm:chMax val="1"/>
          <dgm:dir/>
          <dgm:resizeHandles val="exact"/>
        </dgm:presLayoutVars>
      </dgm:prSet>
      <dgm:spPr/>
    </dgm:pt>
    <dgm:pt modelId="{0F07E067-B881-476C-8CF9-DF3E11745309}" type="pres">
      <dgm:prSet presAssocID="{C9D92DA7-4469-4349-814D-F923FDFF85FB}" presName="radial" presStyleCnt="0">
        <dgm:presLayoutVars>
          <dgm:animLvl val="ctr"/>
        </dgm:presLayoutVars>
      </dgm:prSet>
      <dgm:spPr/>
    </dgm:pt>
    <dgm:pt modelId="{C3DA9FD9-9E1D-49F8-8DA0-ECF68E895817}" type="pres">
      <dgm:prSet presAssocID="{68FB5035-743C-458E-8A0E-9EC25D1F2913}" presName="centerShape" presStyleLbl="vennNode1" presStyleIdx="0" presStyleCnt="6"/>
      <dgm:spPr/>
    </dgm:pt>
    <dgm:pt modelId="{3A7180B0-CFDD-422B-88F7-6968322FAB48}" type="pres">
      <dgm:prSet presAssocID="{4AD727FA-3A32-49A3-9882-7D4554211A0F}" presName="node" presStyleLbl="vennNode1" presStyleIdx="1" presStyleCnt="6" custScaleX="135227" custScaleY="135227">
        <dgm:presLayoutVars>
          <dgm:bulletEnabled val="1"/>
        </dgm:presLayoutVars>
      </dgm:prSet>
      <dgm:spPr/>
    </dgm:pt>
    <dgm:pt modelId="{4AF9099B-9E10-43E5-AEFC-B4EA1CA3B34E}" type="pres">
      <dgm:prSet presAssocID="{B9E968BC-4AFB-49BD-AE07-C16DB81447ED}" presName="node" presStyleLbl="vennNode1" presStyleIdx="2" presStyleCnt="6" custScaleX="135227" custScaleY="135227">
        <dgm:presLayoutVars>
          <dgm:bulletEnabled val="1"/>
        </dgm:presLayoutVars>
      </dgm:prSet>
      <dgm:spPr/>
    </dgm:pt>
    <dgm:pt modelId="{224104FD-56C7-4194-BB5E-6C75A4E600D5}" type="pres">
      <dgm:prSet presAssocID="{D21B3BC6-5FF5-4A0A-A0B4-8452C34FC13E}" presName="node" presStyleLbl="vennNode1" presStyleIdx="3" presStyleCnt="6" custScaleX="135227" custScaleY="135227">
        <dgm:presLayoutVars>
          <dgm:bulletEnabled val="1"/>
        </dgm:presLayoutVars>
      </dgm:prSet>
      <dgm:spPr/>
    </dgm:pt>
    <dgm:pt modelId="{C89EC7CA-1B01-499B-878B-03DAB2CFB86B}" type="pres">
      <dgm:prSet presAssocID="{FEF6CDD8-2BE4-4D07-92A1-E3FD5CE99677}" presName="node" presStyleLbl="vennNode1" presStyleIdx="4" presStyleCnt="6" custScaleX="135227" custScaleY="135227">
        <dgm:presLayoutVars>
          <dgm:bulletEnabled val="1"/>
        </dgm:presLayoutVars>
      </dgm:prSet>
      <dgm:spPr/>
    </dgm:pt>
    <dgm:pt modelId="{D1CA2F11-3FBE-4EE8-9610-A819C220AB63}" type="pres">
      <dgm:prSet presAssocID="{B604BDAC-02A9-46D5-B244-73B11F389108}" presName="node" presStyleLbl="vennNode1" presStyleIdx="5" presStyleCnt="6" custScaleX="135227" custScaleY="135227">
        <dgm:presLayoutVars>
          <dgm:bulletEnabled val="1"/>
        </dgm:presLayoutVars>
      </dgm:prSet>
      <dgm:spPr/>
    </dgm:pt>
  </dgm:ptLst>
  <dgm:cxnLst>
    <dgm:cxn modelId="{E8E94A43-235E-4FFB-9BBB-0292CC4D88C2}" srcId="{C9D92DA7-4469-4349-814D-F923FDFF85FB}" destId="{68FB5035-743C-458E-8A0E-9EC25D1F2913}" srcOrd="0" destOrd="0" parTransId="{818E2856-E4CC-45EA-AA74-7B8E2B999844}" sibTransId="{3559EBC1-20BA-4402-B688-94A5A7775FFC}"/>
    <dgm:cxn modelId="{503A2068-492A-4752-B382-89873F5E14C8}" type="presOf" srcId="{4AD727FA-3A32-49A3-9882-7D4554211A0F}" destId="{3A7180B0-CFDD-422B-88F7-6968322FAB48}" srcOrd="0" destOrd="0" presId="urn:microsoft.com/office/officeart/2005/8/layout/radial3"/>
    <dgm:cxn modelId="{D5E34F4A-F236-43EA-BA6A-8821E96A9DC3}" type="presOf" srcId="{FEF6CDD8-2BE4-4D07-92A1-E3FD5CE99677}" destId="{C89EC7CA-1B01-499B-878B-03DAB2CFB86B}" srcOrd="0" destOrd="0" presId="urn:microsoft.com/office/officeart/2005/8/layout/radial3"/>
    <dgm:cxn modelId="{A3A06170-C9CC-4050-AD2F-857419B32C8F}" srcId="{68FB5035-743C-458E-8A0E-9EC25D1F2913}" destId="{FEF6CDD8-2BE4-4D07-92A1-E3FD5CE99677}" srcOrd="3" destOrd="0" parTransId="{38B48431-71AD-4A86-BFB7-6995E52E404E}" sibTransId="{24CA269C-AF08-4EB2-A3E3-45959809B0D9}"/>
    <dgm:cxn modelId="{C77DCA7C-4C5A-4622-893D-0FA2785A703A}" type="presOf" srcId="{B604BDAC-02A9-46D5-B244-73B11F389108}" destId="{D1CA2F11-3FBE-4EE8-9610-A819C220AB63}" srcOrd="0" destOrd="0" presId="urn:microsoft.com/office/officeart/2005/8/layout/radial3"/>
    <dgm:cxn modelId="{64A42A80-4439-43FF-BED8-D2F1892E3B40}" srcId="{68FB5035-743C-458E-8A0E-9EC25D1F2913}" destId="{B604BDAC-02A9-46D5-B244-73B11F389108}" srcOrd="4" destOrd="0" parTransId="{73DC8C4E-93E5-429A-B43C-42AE79CDE291}" sibTransId="{58752D56-0EA2-4A2F-96BB-76FF2B3D0AF9}"/>
    <dgm:cxn modelId="{8DD70D8F-5ED4-425B-B218-433DD34EC4BE}" srcId="{68FB5035-743C-458E-8A0E-9EC25D1F2913}" destId="{4AD727FA-3A32-49A3-9882-7D4554211A0F}" srcOrd="0" destOrd="0" parTransId="{868A6CC8-6597-481F-BFFB-9BD64CDECA04}" sibTransId="{D5AC27E6-0B8B-4729-8667-0C0D65AE96A9}"/>
    <dgm:cxn modelId="{28AE39A1-150C-4658-B234-6A93742903D7}" type="presOf" srcId="{B9E968BC-4AFB-49BD-AE07-C16DB81447ED}" destId="{4AF9099B-9E10-43E5-AEFC-B4EA1CA3B34E}" srcOrd="0" destOrd="0" presId="urn:microsoft.com/office/officeart/2005/8/layout/radial3"/>
    <dgm:cxn modelId="{63942EBD-76E1-4C84-8EEE-2ADEC1953018}" srcId="{68FB5035-743C-458E-8A0E-9EC25D1F2913}" destId="{B9E968BC-4AFB-49BD-AE07-C16DB81447ED}" srcOrd="1" destOrd="0" parTransId="{9A19C989-FBC6-4EB2-A899-7B05A1CDFB05}" sibTransId="{6284ADF0-6C71-4381-AEB9-9650B015DE3A}"/>
    <dgm:cxn modelId="{87A07DC3-9F8E-4C96-8EBC-E56B18558874}" type="presOf" srcId="{C9D92DA7-4469-4349-814D-F923FDFF85FB}" destId="{6E63C1AC-7F3B-4FAC-8778-653C7032B8A6}" srcOrd="0" destOrd="0" presId="urn:microsoft.com/office/officeart/2005/8/layout/radial3"/>
    <dgm:cxn modelId="{CA194EC9-0B72-437C-918A-17079B94687F}" type="presOf" srcId="{68FB5035-743C-458E-8A0E-9EC25D1F2913}" destId="{C3DA9FD9-9E1D-49F8-8DA0-ECF68E895817}" srcOrd="0" destOrd="0" presId="urn:microsoft.com/office/officeart/2005/8/layout/radial3"/>
    <dgm:cxn modelId="{D341CCE9-A089-4BFA-BE8E-F37B90FB10DE}" type="presOf" srcId="{D21B3BC6-5FF5-4A0A-A0B4-8452C34FC13E}" destId="{224104FD-56C7-4194-BB5E-6C75A4E600D5}" srcOrd="0" destOrd="0" presId="urn:microsoft.com/office/officeart/2005/8/layout/radial3"/>
    <dgm:cxn modelId="{DE5A3BF4-73DF-4189-8ABF-84D7A36322A3}" srcId="{68FB5035-743C-458E-8A0E-9EC25D1F2913}" destId="{D21B3BC6-5FF5-4A0A-A0B4-8452C34FC13E}" srcOrd="2" destOrd="0" parTransId="{1F40A1BE-D958-419F-A11C-AB9AEFD9B1F1}" sibTransId="{6297CC60-58A7-42BB-B37D-1A722F91F803}"/>
    <dgm:cxn modelId="{B5F3423A-D5A0-422B-A5A3-B63BD465C076}" type="presParOf" srcId="{6E63C1AC-7F3B-4FAC-8778-653C7032B8A6}" destId="{0F07E067-B881-476C-8CF9-DF3E11745309}" srcOrd="0" destOrd="0" presId="urn:microsoft.com/office/officeart/2005/8/layout/radial3"/>
    <dgm:cxn modelId="{D2A16C01-7FB7-4B90-AC9A-77EBCEBF4303}" type="presParOf" srcId="{0F07E067-B881-476C-8CF9-DF3E11745309}" destId="{C3DA9FD9-9E1D-49F8-8DA0-ECF68E895817}" srcOrd="0" destOrd="0" presId="urn:microsoft.com/office/officeart/2005/8/layout/radial3"/>
    <dgm:cxn modelId="{84D0CE92-56A1-43C7-816C-86B96AE89FB1}" type="presParOf" srcId="{0F07E067-B881-476C-8CF9-DF3E11745309}" destId="{3A7180B0-CFDD-422B-88F7-6968322FAB48}" srcOrd="1" destOrd="0" presId="urn:microsoft.com/office/officeart/2005/8/layout/radial3"/>
    <dgm:cxn modelId="{850AFB4D-58EB-483F-BA0F-C4EC63C57A21}" type="presParOf" srcId="{0F07E067-B881-476C-8CF9-DF3E11745309}" destId="{4AF9099B-9E10-43E5-AEFC-B4EA1CA3B34E}" srcOrd="2" destOrd="0" presId="urn:microsoft.com/office/officeart/2005/8/layout/radial3"/>
    <dgm:cxn modelId="{19ABD653-8159-4E7A-8B5F-7B6085624F6B}" type="presParOf" srcId="{0F07E067-B881-476C-8CF9-DF3E11745309}" destId="{224104FD-56C7-4194-BB5E-6C75A4E600D5}" srcOrd="3" destOrd="0" presId="urn:microsoft.com/office/officeart/2005/8/layout/radial3"/>
    <dgm:cxn modelId="{3D0DA812-19D4-4AF4-BBE8-7610366D2186}" type="presParOf" srcId="{0F07E067-B881-476C-8CF9-DF3E11745309}" destId="{C89EC7CA-1B01-499B-878B-03DAB2CFB86B}" srcOrd="4" destOrd="0" presId="urn:microsoft.com/office/officeart/2005/8/layout/radial3"/>
    <dgm:cxn modelId="{140F29AA-C925-436E-B68B-1AAB471402E3}" type="presParOf" srcId="{0F07E067-B881-476C-8CF9-DF3E11745309}" destId="{D1CA2F11-3FBE-4EE8-9610-A819C220AB63}"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1FBD9F1-403A-410E-B9E3-41346230AA90}" type="doc">
      <dgm:prSet loTypeId="urn:microsoft.com/office/officeart/2005/8/layout/vList6" loCatId="list" qsTypeId="urn:microsoft.com/office/officeart/2005/8/quickstyle/simple5" qsCatId="simple" csTypeId="urn:microsoft.com/office/officeart/2005/8/colors/colorful3" csCatId="colorful" phldr="1"/>
      <dgm:spPr/>
      <dgm:t>
        <a:bodyPr/>
        <a:lstStyle/>
        <a:p>
          <a:endParaRPr lang="en-US"/>
        </a:p>
      </dgm:t>
    </dgm:pt>
    <dgm:pt modelId="{79FC71C7-4A6C-4A03-B300-CE2A3D0D2DAF}">
      <dgm:prSet phldrT="[Text]"/>
      <dgm:spPr/>
      <dgm:t>
        <a:bodyPr/>
        <a:lstStyle/>
        <a:p>
          <a:r>
            <a:rPr lang="en-US" dirty="0"/>
            <a:t>Crypto</a:t>
          </a:r>
        </a:p>
      </dgm:t>
    </dgm:pt>
    <dgm:pt modelId="{0F3B0D19-3660-4286-AD0A-3424CE4FB300}" type="parTrans" cxnId="{0EFA9750-37C5-46E6-9F6C-8D850ADCAF2E}">
      <dgm:prSet/>
      <dgm:spPr/>
      <dgm:t>
        <a:bodyPr/>
        <a:lstStyle/>
        <a:p>
          <a:endParaRPr lang="en-US"/>
        </a:p>
      </dgm:t>
    </dgm:pt>
    <dgm:pt modelId="{CC4D54B5-0470-4ECA-8CF1-55A4F7A39029}" type="sibTrans" cxnId="{0EFA9750-37C5-46E6-9F6C-8D850ADCAF2E}">
      <dgm:prSet/>
      <dgm:spPr/>
      <dgm:t>
        <a:bodyPr/>
        <a:lstStyle/>
        <a:p>
          <a:endParaRPr lang="en-US"/>
        </a:p>
      </dgm:t>
    </dgm:pt>
    <dgm:pt modelId="{C9DDC949-9CCF-475C-9872-77348372164B}">
      <dgm:prSet phldrT="[Text]"/>
      <dgm:spPr/>
      <dgm:t>
        <a:bodyPr/>
        <a:lstStyle/>
        <a:p>
          <a:r>
            <a:rPr lang="en-US" dirty="0"/>
            <a:t>Secures the </a:t>
          </a:r>
          <a:r>
            <a:rPr lang="en-US" b="1" dirty="0">
              <a:solidFill>
                <a:srgbClr val="FF0000"/>
              </a:solidFill>
            </a:rPr>
            <a:t>history</a:t>
          </a:r>
          <a:r>
            <a:rPr lang="en-US" dirty="0"/>
            <a:t> of transactions</a:t>
          </a:r>
        </a:p>
      </dgm:t>
    </dgm:pt>
    <dgm:pt modelId="{FB4E94EA-3DCE-468E-B791-489D75F3A440}" type="parTrans" cxnId="{3BB4E877-3831-466E-B468-0057D8CE589E}">
      <dgm:prSet/>
      <dgm:spPr/>
      <dgm:t>
        <a:bodyPr/>
        <a:lstStyle/>
        <a:p>
          <a:endParaRPr lang="en-US"/>
        </a:p>
      </dgm:t>
    </dgm:pt>
    <dgm:pt modelId="{9829A008-767C-48E1-98DA-B1834469A81C}" type="sibTrans" cxnId="{3BB4E877-3831-466E-B468-0057D8CE589E}">
      <dgm:prSet/>
      <dgm:spPr/>
      <dgm:t>
        <a:bodyPr/>
        <a:lstStyle/>
        <a:p>
          <a:endParaRPr lang="en-US"/>
        </a:p>
      </dgm:t>
    </dgm:pt>
    <dgm:pt modelId="{D30B115C-E1AD-46B8-AF1B-D3E7C2E4ECB5}">
      <dgm:prSet phldrT="[Text]"/>
      <dgm:spPr/>
      <dgm:t>
        <a:bodyPr/>
        <a:lstStyle/>
        <a:p>
          <a:r>
            <a:rPr lang="en-US" dirty="0"/>
            <a:t>Economics</a:t>
          </a:r>
        </a:p>
      </dgm:t>
    </dgm:pt>
    <dgm:pt modelId="{5020E4EF-8498-4E84-9DE1-FF5DFC5D3877}" type="parTrans" cxnId="{43120B26-EC9B-4607-B322-9E3F0C73BA42}">
      <dgm:prSet/>
      <dgm:spPr/>
      <dgm:t>
        <a:bodyPr/>
        <a:lstStyle/>
        <a:p>
          <a:endParaRPr lang="en-US"/>
        </a:p>
      </dgm:t>
    </dgm:pt>
    <dgm:pt modelId="{991C0540-1B7C-4081-8BE0-643FF5FA497C}" type="sibTrans" cxnId="{43120B26-EC9B-4607-B322-9E3F0C73BA42}">
      <dgm:prSet/>
      <dgm:spPr/>
      <dgm:t>
        <a:bodyPr/>
        <a:lstStyle/>
        <a:p>
          <a:endParaRPr lang="en-US"/>
        </a:p>
      </dgm:t>
    </dgm:pt>
    <dgm:pt modelId="{A1368DA8-63D2-4046-8B99-5346B565D490}">
      <dgm:prSet phldrT="[Text]"/>
      <dgm:spPr/>
      <dgm:t>
        <a:bodyPr/>
        <a:lstStyle/>
        <a:p>
          <a:r>
            <a:rPr lang="en-US" dirty="0"/>
            <a:t>Uses economic incentives to progress the blockchain </a:t>
          </a:r>
          <a:r>
            <a:rPr lang="en-US" b="1" dirty="0">
              <a:solidFill>
                <a:srgbClr val="FF0000"/>
              </a:solidFill>
            </a:rPr>
            <a:t>future</a:t>
          </a:r>
          <a:r>
            <a:rPr lang="en-US" dirty="0"/>
            <a:t> even in the presence of adversaries</a:t>
          </a:r>
        </a:p>
      </dgm:t>
    </dgm:pt>
    <dgm:pt modelId="{06B41D3E-CE23-4972-B993-95C14E211C14}" type="parTrans" cxnId="{8B74B0C2-C32A-48C3-B70F-D67646CE2225}">
      <dgm:prSet/>
      <dgm:spPr/>
      <dgm:t>
        <a:bodyPr/>
        <a:lstStyle/>
        <a:p>
          <a:endParaRPr lang="en-US"/>
        </a:p>
      </dgm:t>
    </dgm:pt>
    <dgm:pt modelId="{C9721335-901B-43C9-9AB8-878057DD02E2}" type="sibTrans" cxnId="{8B74B0C2-C32A-48C3-B70F-D67646CE2225}">
      <dgm:prSet/>
      <dgm:spPr/>
      <dgm:t>
        <a:bodyPr/>
        <a:lstStyle/>
        <a:p>
          <a:endParaRPr lang="en-US"/>
        </a:p>
      </dgm:t>
    </dgm:pt>
    <dgm:pt modelId="{263B2622-4D28-45CE-9D04-B77BE396BE60}" type="pres">
      <dgm:prSet presAssocID="{A1FBD9F1-403A-410E-B9E3-41346230AA90}" presName="Name0" presStyleCnt="0">
        <dgm:presLayoutVars>
          <dgm:dir/>
          <dgm:animLvl val="lvl"/>
          <dgm:resizeHandles/>
        </dgm:presLayoutVars>
      </dgm:prSet>
      <dgm:spPr/>
    </dgm:pt>
    <dgm:pt modelId="{1A8A42D5-35F8-4DFB-AB19-FF4DDC8697D1}" type="pres">
      <dgm:prSet presAssocID="{79FC71C7-4A6C-4A03-B300-CE2A3D0D2DAF}" presName="linNode" presStyleCnt="0"/>
      <dgm:spPr/>
    </dgm:pt>
    <dgm:pt modelId="{07800A70-447F-48AE-9ED2-32E8EDF9B233}" type="pres">
      <dgm:prSet presAssocID="{79FC71C7-4A6C-4A03-B300-CE2A3D0D2DAF}" presName="parentShp" presStyleLbl="node1" presStyleIdx="0" presStyleCnt="2">
        <dgm:presLayoutVars>
          <dgm:bulletEnabled val="1"/>
        </dgm:presLayoutVars>
      </dgm:prSet>
      <dgm:spPr/>
    </dgm:pt>
    <dgm:pt modelId="{CD0547AE-F31A-4027-A666-09EDFDDCA9AB}" type="pres">
      <dgm:prSet presAssocID="{79FC71C7-4A6C-4A03-B300-CE2A3D0D2DAF}" presName="childShp" presStyleLbl="bgAccFollowNode1" presStyleIdx="0" presStyleCnt="2">
        <dgm:presLayoutVars>
          <dgm:bulletEnabled val="1"/>
        </dgm:presLayoutVars>
      </dgm:prSet>
      <dgm:spPr/>
    </dgm:pt>
    <dgm:pt modelId="{E92DE766-2A51-452B-8CAA-387B002706B0}" type="pres">
      <dgm:prSet presAssocID="{CC4D54B5-0470-4ECA-8CF1-55A4F7A39029}" presName="spacing" presStyleCnt="0"/>
      <dgm:spPr/>
    </dgm:pt>
    <dgm:pt modelId="{DD98D5B7-ACE4-4DD8-86BA-9D2646F886B4}" type="pres">
      <dgm:prSet presAssocID="{D30B115C-E1AD-46B8-AF1B-D3E7C2E4ECB5}" presName="linNode" presStyleCnt="0"/>
      <dgm:spPr/>
    </dgm:pt>
    <dgm:pt modelId="{85A46366-A3AF-410D-B3B4-1647267D5446}" type="pres">
      <dgm:prSet presAssocID="{D30B115C-E1AD-46B8-AF1B-D3E7C2E4ECB5}" presName="parentShp" presStyleLbl="node1" presStyleIdx="1" presStyleCnt="2">
        <dgm:presLayoutVars>
          <dgm:bulletEnabled val="1"/>
        </dgm:presLayoutVars>
      </dgm:prSet>
      <dgm:spPr/>
    </dgm:pt>
    <dgm:pt modelId="{2B9670E8-5C8D-46D2-AF5D-EBF60C7C6C9C}" type="pres">
      <dgm:prSet presAssocID="{D30B115C-E1AD-46B8-AF1B-D3E7C2E4ECB5}" presName="childShp" presStyleLbl="bgAccFollowNode1" presStyleIdx="1" presStyleCnt="2">
        <dgm:presLayoutVars>
          <dgm:bulletEnabled val="1"/>
        </dgm:presLayoutVars>
      </dgm:prSet>
      <dgm:spPr/>
    </dgm:pt>
  </dgm:ptLst>
  <dgm:cxnLst>
    <dgm:cxn modelId="{6AB4840A-202C-4106-BAF2-95D5E2EC8986}" type="presOf" srcId="{A1368DA8-63D2-4046-8B99-5346B565D490}" destId="{2B9670E8-5C8D-46D2-AF5D-EBF60C7C6C9C}" srcOrd="0" destOrd="0" presId="urn:microsoft.com/office/officeart/2005/8/layout/vList6"/>
    <dgm:cxn modelId="{DB1F101D-5FB7-4CA4-A7AA-B04100B1324E}" type="presOf" srcId="{A1FBD9F1-403A-410E-B9E3-41346230AA90}" destId="{263B2622-4D28-45CE-9D04-B77BE396BE60}" srcOrd="0" destOrd="0" presId="urn:microsoft.com/office/officeart/2005/8/layout/vList6"/>
    <dgm:cxn modelId="{43120B26-EC9B-4607-B322-9E3F0C73BA42}" srcId="{A1FBD9F1-403A-410E-B9E3-41346230AA90}" destId="{D30B115C-E1AD-46B8-AF1B-D3E7C2E4ECB5}" srcOrd="1" destOrd="0" parTransId="{5020E4EF-8498-4E84-9DE1-FF5DFC5D3877}" sibTransId="{991C0540-1B7C-4081-8BE0-643FF5FA497C}"/>
    <dgm:cxn modelId="{213E1167-6250-4121-86D1-1651CEF204A2}" type="presOf" srcId="{C9DDC949-9CCF-475C-9872-77348372164B}" destId="{CD0547AE-F31A-4027-A666-09EDFDDCA9AB}" srcOrd="0" destOrd="0" presId="urn:microsoft.com/office/officeart/2005/8/layout/vList6"/>
    <dgm:cxn modelId="{0EFA9750-37C5-46E6-9F6C-8D850ADCAF2E}" srcId="{A1FBD9F1-403A-410E-B9E3-41346230AA90}" destId="{79FC71C7-4A6C-4A03-B300-CE2A3D0D2DAF}" srcOrd="0" destOrd="0" parTransId="{0F3B0D19-3660-4286-AD0A-3424CE4FB300}" sibTransId="{CC4D54B5-0470-4ECA-8CF1-55A4F7A39029}"/>
    <dgm:cxn modelId="{3BB4E877-3831-466E-B468-0057D8CE589E}" srcId="{79FC71C7-4A6C-4A03-B300-CE2A3D0D2DAF}" destId="{C9DDC949-9CCF-475C-9872-77348372164B}" srcOrd="0" destOrd="0" parTransId="{FB4E94EA-3DCE-468E-B791-489D75F3A440}" sibTransId="{9829A008-767C-48E1-98DA-B1834469A81C}"/>
    <dgm:cxn modelId="{C7C171A5-A63D-4F93-9AEE-BB79EA96F8F3}" type="presOf" srcId="{D30B115C-E1AD-46B8-AF1B-D3E7C2E4ECB5}" destId="{85A46366-A3AF-410D-B3B4-1647267D5446}" srcOrd="0" destOrd="0" presId="urn:microsoft.com/office/officeart/2005/8/layout/vList6"/>
    <dgm:cxn modelId="{8B74B0C2-C32A-48C3-B70F-D67646CE2225}" srcId="{D30B115C-E1AD-46B8-AF1B-D3E7C2E4ECB5}" destId="{A1368DA8-63D2-4046-8B99-5346B565D490}" srcOrd="0" destOrd="0" parTransId="{06B41D3E-CE23-4972-B993-95C14E211C14}" sibTransId="{C9721335-901B-43C9-9AB8-878057DD02E2}"/>
    <dgm:cxn modelId="{498F6BF8-F517-45D6-9149-225A21B0FC7C}" type="presOf" srcId="{79FC71C7-4A6C-4A03-B300-CE2A3D0D2DAF}" destId="{07800A70-447F-48AE-9ED2-32E8EDF9B233}" srcOrd="0" destOrd="0" presId="urn:microsoft.com/office/officeart/2005/8/layout/vList6"/>
    <dgm:cxn modelId="{C02E6DF3-0CDC-4A96-9E0B-D29784CF97D9}" type="presParOf" srcId="{263B2622-4D28-45CE-9D04-B77BE396BE60}" destId="{1A8A42D5-35F8-4DFB-AB19-FF4DDC8697D1}" srcOrd="0" destOrd="0" presId="urn:microsoft.com/office/officeart/2005/8/layout/vList6"/>
    <dgm:cxn modelId="{ED38D2D4-A9D7-42BD-83B9-A63B7C96E87A}" type="presParOf" srcId="{1A8A42D5-35F8-4DFB-AB19-FF4DDC8697D1}" destId="{07800A70-447F-48AE-9ED2-32E8EDF9B233}" srcOrd="0" destOrd="0" presId="urn:microsoft.com/office/officeart/2005/8/layout/vList6"/>
    <dgm:cxn modelId="{CBDD46C0-9817-4DC5-9BF4-3FCCA42F6185}" type="presParOf" srcId="{1A8A42D5-35F8-4DFB-AB19-FF4DDC8697D1}" destId="{CD0547AE-F31A-4027-A666-09EDFDDCA9AB}" srcOrd="1" destOrd="0" presId="urn:microsoft.com/office/officeart/2005/8/layout/vList6"/>
    <dgm:cxn modelId="{3B31C2A2-D05D-4A55-B2E1-39EAD14BDA65}" type="presParOf" srcId="{263B2622-4D28-45CE-9D04-B77BE396BE60}" destId="{E92DE766-2A51-452B-8CAA-387B002706B0}" srcOrd="1" destOrd="0" presId="urn:microsoft.com/office/officeart/2005/8/layout/vList6"/>
    <dgm:cxn modelId="{CC64A42D-71A4-4C23-9238-CDFECDEB23C1}" type="presParOf" srcId="{263B2622-4D28-45CE-9D04-B77BE396BE60}" destId="{DD98D5B7-ACE4-4DD8-86BA-9D2646F886B4}" srcOrd="2" destOrd="0" presId="urn:microsoft.com/office/officeart/2005/8/layout/vList6"/>
    <dgm:cxn modelId="{1030A0EA-6752-4C57-B134-0D9A927A73F2}" type="presParOf" srcId="{DD98D5B7-ACE4-4DD8-86BA-9D2646F886B4}" destId="{85A46366-A3AF-410D-B3B4-1647267D5446}" srcOrd="0" destOrd="0" presId="urn:microsoft.com/office/officeart/2005/8/layout/vList6"/>
    <dgm:cxn modelId="{E528386F-7DC6-4875-B752-091A14EB826E}" type="presParOf" srcId="{DD98D5B7-ACE4-4DD8-86BA-9D2646F886B4}" destId="{2B9670E8-5C8D-46D2-AF5D-EBF60C7C6C9C}"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74C61F-90F2-4E5C-AAB3-DD1AB07E62DF}" type="doc">
      <dgm:prSet loTypeId="urn:microsoft.com/office/officeart/2005/8/layout/process5" loCatId="process" qsTypeId="urn:microsoft.com/office/officeart/2005/8/quickstyle/simple5" qsCatId="simple" csTypeId="urn:microsoft.com/office/officeart/2005/8/colors/colorful5" csCatId="colorful" phldr="1"/>
      <dgm:spPr/>
      <dgm:t>
        <a:bodyPr/>
        <a:lstStyle/>
        <a:p>
          <a:endParaRPr lang="en-US"/>
        </a:p>
      </dgm:t>
    </dgm:pt>
    <dgm:pt modelId="{C268C7CD-2EB6-483E-B17E-DC0EF61FE44A}">
      <dgm:prSet phldrT="[Text]" custT="1"/>
      <dgm:spPr/>
      <dgm:t>
        <a:bodyPr/>
        <a:lstStyle/>
        <a:p>
          <a:r>
            <a:rPr lang="en-US" sz="1800" dirty="0"/>
            <a:t>Barter</a:t>
          </a:r>
        </a:p>
      </dgm:t>
    </dgm:pt>
    <dgm:pt modelId="{DA90EA04-3E1B-4B5A-98D1-84916301C938}" type="parTrans" cxnId="{0C63CEF3-F058-4736-87A3-8F2C233E5660}">
      <dgm:prSet/>
      <dgm:spPr/>
      <dgm:t>
        <a:bodyPr/>
        <a:lstStyle/>
        <a:p>
          <a:endParaRPr lang="en-US" sz="2000"/>
        </a:p>
      </dgm:t>
    </dgm:pt>
    <dgm:pt modelId="{F09D386A-8602-470C-8BB6-1FF828CDCD9F}" type="sibTrans" cxnId="{0C63CEF3-F058-4736-87A3-8F2C233E5660}">
      <dgm:prSet custT="1"/>
      <dgm:spPr/>
      <dgm:t>
        <a:bodyPr/>
        <a:lstStyle/>
        <a:p>
          <a:endParaRPr lang="en-US" sz="1400"/>
        </a:p>
      </dgm:t>
    </dgm:pt>
    <dgm:pt modelId="{10479299-6EF4-4520-A135-555B9260EFB9}">
      <dgm:prSet phldrT="[Text]" custT="1"/>
      <dgm:spPr/>
      <dgm:t>
        <a:bodyPr/>
        <a:lstStyle/>
        <a:p>
          <a:r>
            <a:rPr lang="en-US" sz="1800" dirty="0"/>
            <a:t>Shells</a:t>
          </a:r>
        </a:p>
        <a:p>
          <a:r>
            <a:rPr lang="en-US" sz="1800" dirty="0"/>
            <a:t>Seeds</a:t>
          </a:r>
        </a:p>
        <a:p>
          <a:r>
            <a:rPr lang="en-US" sz="1800" dirty="0"/>
            <a:t>Bulla</a:t>
          </a:r>
        </a:p>
        <a:p>
          <a:r>
            <a:rPr lang="en-US" sz="1800" dirty="0"/>
            <a:t>Salt</a:t>
          </a:r>
        </a:p>
      </dgm:t>
    </dgm:pt>
    <dgm:pt modelId="{FFB9A302-D4BE-4D49-978D-1DA6A99B9DE3}" type="parTrans" cxnId="{EB5FB544-EB03-4CC0-A2C9-F276F08D8916}">
      <dgm:prSet/>
      <dgm:spPr/>
      <dgm:t>
        <a:bodyPr/>
        <a:lstStyle/>
        <a:p>
          <a:endParaRPr lang="en-US" sz="2000"/>
        </a:p>
      </dgm:t>
    </dgm:pt>
    <dgm:pt modelId="{FEC5AB4E-0ACD-4342-B08C-94EAC6894D21}" type="sibTrans" cxnId="{EB5FB544-EB03-4CC0-A2C9-F276F08D8916}">
      <dgm:prSet custT="1"/>
      <dgm:spPr/>
      <dgm:t>
        <a:bodyPr/>
        <a:lstStyle/>
        <a:p>
          <a:endParaRPr lang="en-US" sz="1400"/>
        </a:p>
      </dgm:t>
    </dgm:pt>
    <dgm:pt modelId="{8C6B526E-ACF9-4A55-A2F9-277D90B9E96C}">
      <dgm:prSet phldrT="[Text]" custT="1"/>
      <dgm:spPr/>
      <dgm:t>
        <a:bodyPr/>
        <a:lstStyle/>
        <a:p>
          <a:r>
            <a:rPr lang="en-US" sz="1800" dirty="0"/>
            <a:t>Metal coins</a:t>
          </a:r>
        </a:p>
      </dgm:t>
    </dgm:pt>
    <dgm:pt modelId="{1D19B887-74E6-47CE-9E40-86CC4493C3C2}" type="parTrans" cxnId="{151E8EC7-5196-4BC9-94DD-A02F5F424567}">
      <dgm:prSet/>
      <dgm:spPr/>
      <dgm:t>
        <a:bodyPr/>
        <a:lstStyle/>
        <a:p>
          <a:endParaRPr lang="en-US" sz="2000"/>
        </a:p>
      </dgm:t>
    </dgm:pt>
    <dgm:pt modelId="{C5CF3D09-5CB6-4CE3-825B-C3443A3B31F8}" type="sibTrans" cxnId="{151E8EC7-5196-4BC9-94DD-A02F5F424567}">
      <dgm:prSet custT="1"/>
      <dgm:spPr/>
      <dgm:t>
        <a:bodyPr/>
        <a:lstStyle/>
        <a:p>
          <a:endParaRPr lang="en-US" sz="1400"/>
        </a:p>
      </dgm:t>
    </dgm:pt>
    <dgm:pt modelId="{4F0047B2-7BBB-48C0-90C9-7CE2B637D97D}">
      <dgm:prSet phldrT="[Text]" custT="1"/>
      <dgm:spPr/>
      <dgm:t>
        <a:bodyPr/>
        <a:lstStyle/>
        <a:p>
          <a:r>
            <a:rPr lang="en-US" sz="1800" dirty="0"/>
            <a:t>Paper money</a:t>
          </a:r>
        </a:p>
      </dgm:t>
    </dgm:pt>
    <dgm:pt modelId="{974BC3FE-F853-4392-9B37-A06E87671352}" type="parTrans" cxnId="{4CF8CBEF-4BAF-46CC-8FDC-7EEBE09BC470}">
      <dgm:prSet/>
      <dgm:spPr/>
      <dgm:t>
        <a:bodyPr/>
        <a:lstStyle/>
        <a:p>
          <a:endParaRPr lang="en-US" sz="2000"/>
        </a:p>
      </dgm:t>
    </dgm:pt>
    <dgm:pt modelId="{25E943CE-96B4-4C89-A86E-B8899F9B6B01}" type="sibTrans" cxnId="{4CF8CBEF-4BAF-46CC-8FDC-7EEBE09BC470}">
      <dgm:prSet custT="1"/>
      <dgm:spPr/>
      <dgm:t>
        <a:bodyPr/>
        <a:lstStyle/>
        <a:p>
          <a:endParaRPr lang="en-US" sz="1400"/>
        </a:p>
      </dgm:t>
    </dgm:pt>
    <dgm:pt modelId="{D371BB2F-7383-486C-8E0F-21995E1E2209}">
      <dgm:prSet phldrT="[Text]" custT="1"/>
      <dgm:spPr/>
      <dgm:t>
        <a:bodyPr/>
        <a:lstStyle/>
        <a:p>
          <a:r>
            <a:rPr lang="en-US" sz="1800" dirty="0"/>
            <a:t>Gold standard</a:t>
          </a:r>
        </a:p>
      </dgm:t>
    </dgm:pt>
    <dgm:pt modelId="{69569884-2ED0-493E-A87D-90A7B4A6F25F}" type="parTrans" cxnId="{B9846FA8-A789-4024-8969-FE66250E1029}">
      <dgm:prSet/>
      <dgm:spPr/>
      <dgm:t>
        <a:bodyPr/>
        <a:lstStyle/>
        <a:p>
          <a:endParaRPr lang="en-US" sz="2000"/>
        </a:p>
      </dgm:t>
    </dgm:pt>
    <dgm:pt modelId="{3881B998-5597-4835-975D-55A24CC8400C}" type="sibTrans" cxnId="{B9846FA8-A789-4024-8969-FE66250E1029}">
      <dgm:prSet custT="1"/>
      <dgm:spPr/>
      <dgm:t>
        <a:bodyPr/>
        <a:lstStyle/>
        <a:p>
          <a:endParaRPr lang="en-US" sz="1400"/>
        </a:p>
      </dgm:t>
    </dgm:pt>
    <dgm:pt modelId="{D4008B05-D770-4E49-9743-BA1F16EC6EFB}">
      <dgm:prSet phldrT="[Text]" custT="1"/>
      <dgm:spPr/>
      <dgm:t>
        <a:bodyPr/>
        <a:lstStyle/>
        <a:p>
          <a:r>
            <a:rPr lang="en-US" sz="1800" dirty="0"/>
            <a:t>Plastic</a:t>
          </a:r>
        </a:p>
      </dgm:t>
    </dgm:pt>
    <dgm:pt modelId="{053296D6-3397-45CC-9070-1D3CE5DE8543}" type="parTrans" cxnId="{3F3210F9-65ED-4D4B-85A2-FFFED4FCAB86}">
      <dgm:prSet/>
      <dgm:spPr/>
      <dgm:t>
        <a:bodyPr/>
        <a:lstStyle/>
        <a:p>
          <a:endParaRPr lang="en-US" sz="2000"/>
        </a:p>
      </dgm:t>
    </dgm:pt>
    <dgm:pt modelId="{7418F10E-E3B7-4FAE-970E-2C3BD945BC5E}" type="sibTrans" cxnId="{3F3210F9-65ED-4D4B-85A2-FFFED4FCAB86}">
      <dgm:prSet custT="1"/>
      <dgm:spPr/>
      <dgm:t>
        <a:bodyPr/>
        <a:lstStyle/>
        <a:p>
          <a:endParaRPr lang="en-US" sz="1400"/>
        </a:p>
      </dgm:t>
    </dgm:pt>
    <dgm:pt modelId="{DA54DB29-191C-440D-9657-7BAC2E01D9F6}">
      <dgm:prSet phldrT="[Text]" custT="1"/>
      <dgm:spPr/>
      <dgm:t>
        <a:bodyPr/>
        <a:lstStyle/>
        <a:p>
          <a:r>
            <a:rPr lang="en-US" sz="1800" dirty="0"/>
            <a:t>Electronic</a:t>
          </a:r>
        </a:p>
        <a:p>
          <a:r>
            <a:rPr lang="en-US" sz="1800" dirty="0"/>
            <a:t>Banking</a:t>
          </a:r>
        </a:p>
        <a:p>
          <a:r>
            <a:rPr lang="en-US" sz="1800" dirty="0" err="1"/>
            <a:t>Paypal</a:t>
          </a:r>
          <a:endParaRPr lang="en-US" sz="1800" dirty="0"/>
        </a:p>
      </dgm:t>
    </dgm:pt>
    <dgm:pt modelId="{4FF3231C-F6A6-4539-932C-26633E19E478}" type="parTrans" cxnId="{36D4AEC7-6964-4049-8D6F-51FA9DC7C387}">
      <dgm:prSet/>
      <dgm:spPr/>
      <dgm:t>
        <a:bodyPr/>
        <a:lstStyle/>
        <a:p>
          <a:endParaRPr lang="en-US" sz="2000"/>
        </a:p>
      </dgm:t>
    </dgm:pt>
    <dgm:pt modelId="{F353C7CB-65CB-4AAC-BE26-C77446F6E7BF}" type="sibTrans" cxnId="{36D4AEC7-6964-4049-8D6F-51FA9DC7C387}">
      <dgm:prSet custT="1"/>
      <dgm:spPr/>
      <dgm:t>
        <a:bodyPr/>
        <a:lstStyle/>
        <a:p>
          <a:endParaRPr lang="en-US" sz="1400"/>
        </a:p>
      </dgm:t>
    </dgm:pt>
    <dgm:pt modelId="{E2BE21AD-9627-4B78-B9E3-04F1DADCC4CA}">
      <dgm:prSet phldrT="[Text]" custT="1"/>
      <dgm:spPr/>
      <dgm:t>
        <a:bodyPr/>
        <a:lstStyle/>
        <a:p>
          <a:r>
            <a:rPr lang="en-US" sz="1800" dirty="0"/>
            <a:t>Crypto</a:t>
          </a:r>
        </a:p>
      </dgm:t>
    </dgm:pt>
    <dgm:pt modelId="{D05B6309-E6FC-45C1-9CAF-7CBE9EC874DB}" type="parTrans" cxnId="{F6C3D308-8649-4CF4-A1BC-DE4C86F64B91}">
      <dgm:prSet/>
      <dgm:spPr/>
      <dgm:t>
        <a:bodyPr/>
        <a:lstStyle/>
        <a:p>
          <a:endParaRPr lang="en-US" sz="2000"/>
        </a:p>
      </dgm:t>
    </dgm:pt>
    <dgm:pt modelId="{4E029330-63E6-42C9-9675-90CB1DF54836}" type="sibTrans" cxnId="{F6C3D308-8649-4CF4-A1BC-DE4C86F64B91}">
      <dgm:prSet/>
      <dgm:spPr/>
      <dgm:t>
        <a:bodyPr/>
        <a:lstStyle/>
        <a:p>
          <a:endParaRPr lang="en-US" sz="2000"/>
        </a:p>
      </dgm:t>
    </dgm:pt>
    <dgm:pt modelId="{B96DC62A-DECF-4F38-A9FF-23F16013FE2A}">
      <dgm:prSet phldrT="[Text]" custT="1"/>
      <dgm:spPr/>
      <dgm:t>
        <a:bodyPr/>
        <a:lstStyle/>
        <a:p>
          <a:r>
            <a:rPr lang="en-US" sz="1800" dirty="0"/>
            <a:t>Precious</a:t>
          </a:r>
        </a:p>
      </dgm:t>
    </dgm:pt>
    <dgm:pt modelId="{41AB0EA9-D924-4432-A19C-8931396D9730}" type="parTrans" cxnId="{6646DF5F-14BB-413D-AC87-D61A065A2670}">
      <dgm:prSet/>
      <dgm:spPr/>
      <dgm:t>
        <a:bodyPr/>
        <a:lstStyle/>
        <a:p>
          <a:endParaRPr lang="en-US"/>
        </a:p>
      </dgm:t>
    </dgm:pt>
    <dgm:pt modelId="{8F85B4E5-FEEC-4E39-A2DD-BF91A1198BBC}" type="sibTrans" cxnId="{6646DF5F-14BB-413D-AC87-D61A065A2670}">
      <dgm:prSet/>
      <dgm:spPr/>
      <dgm:t>
        <a:bodyPr/>
        <a:lstStyle/>
        <a:p>
          <a:endParaRPr lang="en-US"/>
        </a:p>
      </dgm:t>
    </dgm:pt>
    <dgm:pt modelId="{A35E67B5-D2A2-46F5-9F75-DC0ABB774306}">
      <dgm:prSet phldrT="[Text]" custT="1"/>
      <dgm:spPr/>
      <dgm:t>
        <a:bodyPr/>
        <a:lstStyle/>
        <a:p>
          <a:r>
            <a:rPr lang="en-US" sz="1800" dirty="0"/>
            <a:t>Non precious</a:t>
          </a:r>
        </a:p>
      </dgm:t>
    </dgm:pt>
    <dgm:pt modelId="{A5563A8B-256F-4908-9595-F4DC26B698C3}" type="parTrans" cxnId="{693A81E2-80C9-4730-ACE4-125FC3EE0A3B}">
      <dgm:prSet/>
      <dgm:spPr/>
      <dgm:t>
        <a:bodyPr/>
        <a:lstStyle/>
        <a:p>
          <a:endParaRPr lang="en-US"/>
        </a:p>
      </dgm:t>
    </dgm:pt>
    <dgm:pt modelId="{87F2BB71-76DC-4F78-83B5-E01078014566}" type="sibTrans" cxnId="{693A81E2-80C9-4730-ACE4-125FC3EE0A3B}">
      <dgm:prSet/>
      <dgm:spPr/>
      <dgm:t>
        <a:bodyPr/>
        <a:lstStyle/>
        <a:p>
          <a:endParaRPr lang="en-US"/>
        </a:p>
      </dgm:t>
    </dgm:pt>
    <dgm:pt modelId="{7D59D9A5-3344-421E-8C2A-5F598608348B}" type="pres">
      <dgm:prSet presAssocID="{DB74C61F-90F2-4E5C-AAB3-DD1AB07E62DF}" presName="diagram" presStyleCnt="0">
        <dgm:presLayoutVars>
          <dgm:dir/>
          <dgm:resizeHandles val="exact"/>
        </dgm:presLayoutVars>
      </dgm:prSet>
      <dgm:spPr/>
    </dgm:pt>
    <dgm:pt modelId="{BA4EB56B-9AE6-498E-A122-ACD55E73D581}" type="pres">
      <dgm:prSet presAssocID="{C268C7CD-2EB6-483E-B17E-DC0EF61FE44A}" presName="node" presStyleLbl="node1" presStyleIdx="0" presStyleCnt="8">
        <dgm:presLayoutVars>
          <dgm:bulletEnabled val="1"/>
        </dgm:presLayoutVars>
      </dgm:prSet>
      <dgm:spPr/>
    </dgm:pt>
    <dgm:pt modelId="{D9317850-EE19-4EF0-8BF9-AEBD46B7E903}" type="pres">
      <dgm:prSet presAssocID="{F09D386A-8602-470C-8BB6-1FF828CDCD9F}" presName="sibTrans" presStyleLbl="sibTrans2D1" presStyleIdx="0" presStyleCnt="7"/>
      <dgm:spPr/>
    </dgm:pt>
    <dgm:pt modelId="{FE266515-EE20-4D4A-B7E9-67196CBC429E}" type="pres">
      <dgm:prSet presAssocID="{F09D386A-8602-470C-8BB6-1FF828CDCD9F}" presName="connectorText" presStyleLbl="sibTrans2D1" presStyleIdx="0" presStyleCnt="7"/>
      <dgm:spPr/>
    </dgm:pt>
    <dgm:pt modelId="{C7D27BE1-2431-4774-8F14-287E10DAC21E}" type="pres">
      <dgm:prSet presAssocID="{10479299-6EF4-4520-A135-555B9260EFB9}" presName="node" presStyleLbl="node1" presStyleIdx="1" presStyleCnt="8">
        <dgm:presLayoutVars>
          <dgm:bulletEnabled val="1"/>
        </dgm:presLayoutVars>
      </dgm:prSet>
      <dgm:spPr/>
    </dgm:pt>
    <dgm:pt modelId="{53A51DE4-3034-4511-9C74-3608AE04CB3F}" type="pres">
      <dgm:prSet presAssocID="{FEC5AB4E-0ACD-4342-B08C-94EAC6894D21}" presName="sibTrans" presStyleLbl="sibTrans2D1" presStyleIdx="1" presStyleCnt="7"/>
      <dgm:spPr/>
    </dgm:pt>
    <dgm:pt modelId="{FA7E4A18-8BC6-4B54-8BF8-B60409172047}" type="pres">
      <dgm:prSet presAssocID="{FEC5AB4E-0ACD-4342-B08C-94EAC6894D21}" presName="connectorText" presStyleLbl="sibTrans2D1" presStyleIdx="1" presStyleCnt="7"/>
      <dgm:spPr/>
    </dgm:pt>
    <dgm:pt modelId="{A89F1B86-3E82-40F6-9406-6AFE7F778BE2}" type="pres">
      <dgm:prSet presAssocID="{8C6B526E-ACF9-4A55-A2F9-277D90B9E96C}" presName="node" presStyleLbl="node1" presStyleIdx="2" presStyleCnt="8">
        <dgm:presLayoutVars>
          <dgm:bulletEnabled val="1"/>
        </dgm:presLayoutVars>
      </dgm:prSet>
      <dgm:spPr/>
    </dgm:pt>
    <dgm:pt modelId="{987025F9-6E3D-493A-8293-33B18AC7EC3A}" type="pres">
      <dgm:prSet presAssocID="{C5CF3D09-5CB6-4CE3-825B-C3443A3B31F8}" presName="sibTrans" presStyleLbl="sibTrans2D1" presStyleIdx="2" presStyleCnt="7"/>
      <dgm:spPr/>
    </dgm:pt>
    <dgm:pt modelId="{C1515BCD-7FA0-4386-AAFD-D1F376FE3F28}" type="pres">
      <dgm:prSet presAssocID="{C5CF3D09-5CB6-4CE3-825B-C3443A3B31F8}" presName="connectorText" presStyleLbl="sibTrans2D1" presStyleIdx="2" presStyleCnt="7"/>
      <dgm:spPr/>
    </dgm:pt>
    <dgm:pt modelId="{F512B6EA-83C4-45F0-A4BC-4F41AC3FD8A7}" type="pres">
      <dgm:prSet presAssocID="{4F0047B2-7BBB-48C0-90C9-7CE2B637D97D}" presName="node" presStyleLbl="node1" presStyleIdx="3" presStyleCnt="8">
        <dgm:presLayoutVars>
          <dgm:bulletEnabled val="1"/>
        </dgm:presLayoutVars>
      </dgm:prSet>
      <dgm:spPr/>
    </dgm:pt>
    <dgm:pt modelId="{8C47B14B-62A9-42EE-962A-B087B5D3A8A3}" type="pres">
      <dgm:prSet presAssocID="{25E943CE-96B4-4C89-A86E-B8899F9B6B01}" presName="sibTrans" presStyleLbl="sibTrans2D1" presStyleIdx="3" presStyleCnt="7" custLinFactNeighborY="23534"/>
      <dgm:spPr/>
    </dgm:pt>
    <dgm:pt modelId="{4C86989F-4336-439C-ABD2-C544E34AE8A4}" type="pres">
      <dgm:prSet presAssocID="{25E943CE-96B4-4C89-A86E-B8899F9B6B01}" presName="connectorText" presStyleLbl="sibTrans2D1" presStyleIdx="3" presStyleCnt="7"/>
      <dgm:spPr/>
    </dgm:pt>
    <dgm:pt modelId="{140C04D3-D480-4ACB-816E-A55FE29D1CDB}" type="pres">
      <dgm:prSet presAssocID="{D371BB2F-7383-486C-8E0F-21995E1E2209}" presName="node" presStyleLbl="node1" presStyleIdx="4" presStyleCnt="8">
        <dgm:presLayoutVars>
          <dgm:bulletEnabled val="1"/>
        </dgm:presLayoutVars>
      </dgm:prSet>
      <dgm:spPr/>
    </dgm:pt>
    <dgm:pt modelId="{BB14833A-86C4-4235-8A8B-4783160C44AD}" type="pres">
      <dgm:prSet presAssocID="{3881B998-5597-4835-975D-55A24CC8400C}" presName="sibTrans" presStyleLbl="sibTrans2D1" presStyleIdx="4" presStyleCnt="7"/>
      <dgm:spPr/>
    </dgm:pt>
    <dgm:pt modelId="{A79B54CB-3297-4C06-8794-188604AF8A72}" type="pres">
      <dgm:prSet presAssocID="{3881B998-5597-4835-975D-55A24CC8400C}" presName="connectorText" presStyleLbl="sibTrans2D1" presStyleIdx="4" presStyleCnt="7"/>
      <dgm:spPr/>
    </dgm:pt>
    <dgm:pt modelId="{A3D499A6-36D5-471B-BDE1-2080E7F6A1D1}" type="pres">
      <dgm:prSet presAssocID="{D4008B05-D770-4E49-9743-BA1F16EC6EFB}" presName="node" presStyleLbl="node1" presStyleIdx="5" presStyleCnt="8">
        <dgm:presLayoutVars>
          <dgm:bulletEnabled val="1"/>
        </dgm:presLayoutVars>
      </dgm:prSet>
      <dgm:spPr/>
    </dgm:pt>
    <dgm:pt modelId="{D6F3C003-E58C-466F-A246-5C8EC2C38067}" type="pres">
      <dgm:prSet presAssocID="{7418F10E-E3B7-4FAE-970E-2C3BD945BC5E}" presName="sibTrans" presStyleLbl="sibTrans2D1" presStyleIdx="5" presStyleCnt="7"/>
      <dgm:spPr/>
    </dgm:pt>
    <dgm:pt modelId="{6EFD2261-5539-4701-A8C8-249BE12B638A}" type="pres">
      <dgm:prSet presAssocID="{7418F10E-E3B7-4FAE-970E-2C3BD945BC5E}" presName="connectorText" presStyleLbl="sibTrans2D1" presStyleIdx="5" presStyleCnt="7"/>
      <dgm:spPr/>
    </dgm:pt>
    <dgm:pt modelId="{40B2B4F0-A222-4FFC-9EFE-FBDB0CB11142}" type="pres">
      <dgm:prSet presAssocID="{DA54DB29-191C-440D-9657-7BAC2E01D9F6}" presName="node" presStyleLbl="node1" presStyleIdx="6" presStyleCnt="8">
        <dgm:presLayoutVars>
          <dgm:bulletEnabled val="1"/>
        </dgm:presLayoutVars>
      </dgm:prSet>
      <dgm:spPr/>
    </dgm:pt>
    <dgm:pt modelId="{ECC04854-5AA0-4576-8448-5792D8E63F31}" type="pres">
      <dgm:prSet presAssocID="{F353C7CB-65CB-4AAC-BE26-C77446F6E7BF}" presName="sibTrans" presStyleLbl="sibTrans2D1" presStyleIdx="6" presStyleCnt="7"/>
      <dgm:spPr/>
    </dgm:pt>
    <dgm:pt modelId="{983A5E33-3C68-48F7-975C-4BBE35080C0C}" type="pres">
      <dgm:prSet presAssocID="{F353C7CB-65CB-4AAC-BE26-C77446F6E7BF}" presName="connectorText" presStyleLbl="sibTrans2D1" presStyleIdx="6" presStyleCnt="7"/>
      <dgm:spPr/>
    </dgm:pt>
    <dgm:pt modelId="{771D2D64-4966-4893-936A-E0F0C9D4C238}" type="pres">
      <dgm:prSet presAssocID="{E2BE21AD-9627-4B78-B9E3-04F1DADCC4CA}" presName="node" presStyleLbl="node1" presStyleIdx="7" presStyleCnt="8">
        <dgm:presLayoutVars>
          <dgm:bulletEnabled val="1"/>
        </dgm:presLayoutVars>
      </dgm:prSet>
      <dgm:spPr/>
    </dgm:pt>
  </dgm:ptLst>
  <dgm:cxnLst>
    <dgm:cxn modelId="{F6C3D308-8649-4CF4-A1BC-DE4C86F64B91}" srcId="{DB74C61F-90F2-4E5C-AAB3-DD1AB07E62DF}" destId="{E2BE21AD-9627-4B78-B9E3-04F1DADCC4CA}" srcOrd="7" destOrd="0" parTransId="{D05B6309-E6FC-45C1-9CAF-7CBE9EC874DB}" sibTransId="{4E029330-63E6-42C9-9675-90CB1DF54836}"/>
    <dgm:cxn modelId="{D17C960A-7B4D-433D-B3B9-A8BBB856700D}" type="presOf" srcId="{FEC5AB4E-0ACD-4342-B08C-94EAC6894D21}" destId="{53A51DE4-3034-4511-9C74-3608AE04CB3F}" srcOrd="0" destOrd="0" presId="urn:microsoft.com/office/officeart/2005/8/layout/process5"/>
    <dgm:cxn modelId="{CA74B40B-C32A-4CA0-BFE0-CEBBEBD53265}" type="presOf" srcId="{FEC5AB4E-0ACD-4342-B08C-94EAC6894D21}" destId="{FA7E4A18-8BC6-4B54-8BF8-B60409172047}" srcOrd="1" destOrd="0" presId="urn:microsoft.com/office/officeart/2005/8/layout/process5"/>
    <dgm:cxn modelId="{4F3C450D-458C-4D3F-A9AD-AB922B5897FC}" type="presOf" srcId="{F353C7CB-65CB-4AAC-BE26-C77446F6E7BF}" destId="{ECC04854-5AA0-4576-8448-5792D8E63F31}" srcOrd="0" destOrd="0" presId="urn:microsoft.com/office/officeart/2005/8/layout/process5"/>
    <dgm:cxn modelId="{650FCF11-E1DF-43C4-B873-5B8DBD4CA39E}" type="presOf" srcId="{3881B998-5597-4835-975D-55A24CC8400C}" destId="{BB14833A-86C4-4235-8A8B-4783160C44AD}" srcOrd="0" destOrd="0" presId="urn:microsoft.com/office/officeart/2005/8/layout/process5"/>
    <dgm:cxn modelId="{65F76221-6A87-454F-A9ED-D99AF72964E2}" type="presOf" srcId="{B96DC62A-DECF-4F38-A9FF-23F16013FE2A}" destId="{A89F1B86-3E82-40F6-9406-6AFE7F778BE2}" srcOrd="0" destOrd="1" presId="urn:microsoft.com/office/officeart/2005/8/layout/process5"/>
    <dgm:cxn modelId="{E02FCD24-B2EA-4E7B-9CA8-0A8A85F1F0C6}" type="presOf" srcId="{F09D386A-8602-470C-8BB6-1FF828CDCD9F}" destId="{D9317850-EE19-4EF0-8BF9-AEBD46B7E903}" srcOrd="0" destOrd="0" presId="urn:microsoft.com/office/officeart/2005/8/layout/process5"/>
    <dgm:cxn modelId="{8A0D8B2F-8B54-416E-B637-8165403CA635}" type="presOf" srcId="{DB74C61F-90F2-4E5C-AAB3-DD1AB07E62DF}" destId="{7D59D9A5-3344-421E-8C2A-5F598608348B}" srcOrd="0" destOrd="0" presId="urn:microsoft.com/office/officeart/2005/8/layout/process5"/>
    <dgm:cxn modelId="{5EE0BC3D-B808-4A35-B3ED-390114F8EEE6}" type="presOf" srcId="{3881B998-5597-4835-975D-55A24CC8400C}" destId="{A79B54CB-3297-4C06-8794-188604AF8A72}" srcOrd="1" destOrd="0" presId="urn:microsoft.com/office/officeart/2005/8/layout/process5"/>
    <dgm:cxn modelId="{6646DF5F-14BB-413D-AC87-D61A065A2670}" srcId="{8C6B526E-ACF9-4A55-A2F9-277D90B9E96C}" destId="{B96DC62A-DECF-4F38-A9FF-23F16013FE2A}" srcOrd="0" destOrd="0" parTransId="{41AB0EA9-D924-4432-A19C-8931396D9730}" sibTransId="{8F85B4E5-FEEC-4E39-A2DD-BF91A1198BBC}"/>
    <dgm:cxn modelId="{EB5FB544-EB03-4CC0-A2C9-F276F08D8916}" srcId="{DB74C61F-90F2-4E5C-AAB3-DD1AB07E62DF}" destId="{10479299-6EF4-4520-A135-555B9260EFB9}" srcOrd="1" destOrd="0" parTransId="{FFB9A302-D4BE-4D49-978D-1DA6A99B9DE3}" sibTransId="{FEC5AB4E-0ACD-4342-B08C-94EAC6894D21}"/>
    <dgm:cxn modelId="{A5DFF945-980E-4728-A1D2-F6957F52839D}" type="presOf" srcId="{A35E67B5-D2A2-46F5-9F75-DC0ABB774306}" destId="{A89F1B86-3E82-40F6-9406-6AFE7F778BE2}" srcOrd="0" destOrd="2" presId="urn:microsoft.com/office/officeart/2005/8/layout/process5"/>
    <dgm:cxn modelId="{901AD26D-1C94-441B-B6F6-D703D078D522}" type="presOf" srcId="{7418F10E-E3B7-4FAE-970E-2C3BD945BC5E}" destId="{D6F3C003-E58C-466F-A246-5C8EC2C38067}" srcOrd="0" destOrd="0" presId="urn:microsoft.com/office/officeart/2005/8/layout/process5"/>
    <dgm:cxn modelId="{52A2F570-CB4D-4153-B5CB-B6560700F1CF}" type="presOf" srcId="{D371BB2F-7383-486C-8E0F-21995E1E2209}" destId="{140C04D3-D480-4ACB-816E-A55FE29D1CDB}" srcOrd="0" destOrd="0" presId="urn:microsoft.com/office/officeart/2005/8/layout/process5"/>
    <dgm:cxn modelId="{B2305053-A4F7-4920-B6F2-E6A6EE51BC87}" type="presOf" srcId="{4F0047B2-7BBB-48C0-90C9-7CE2B637D97D}" destId="{F512B6EA-83C4-45F0-A4BC-4F41AC3FD8A7}" srcOrd="0" destOrd="0" presId="urn:microsoft.com/office/officeart/2005/8/layout/process5"/>
    <dgm:cxn modelId="{48E74875-1F07-4797-A9D1-770A7327556A}" type="presOf" srcId="{C5CF3D09-5CB6-4CE3-825B-C3443A3B31F8}" destId="{987025F9-6E3D-493A-8293-33B18AC7EC3A}" srcOrd="0" destOrd="0" presId="urn:microsoft.com/office/officeart/2005/8/layout/process5"/>
    <dgm:cxn modelId="{F7011479-6F07-4535-8E42-2591553F12D2}" type="presOf" srcId="{DA54DB29-191C-440D-9657-7BAC2E01D9F6}" destId="{40B2B4F0-A222-4FFC-9EFE-FBDB0CB11142}" srcOrd="0" destOrd="0" presId="urn:microsoft.com/office/officeart/2005/8/layout/process5"/>
    <dgm:cxn modelId="{A9CF677F-1128-4E53-8A69-AC2696BFFE1B}" type="presOf" srcId="{E2BE21AD-9627-4B78-B9E3-04F1DADCC4CA}" destId="{771D2D64-4966-4893-936A-E0F0C9D4C238}" srcOrd="0" destOrd="0" presId="urn:microsoft.com/office/officeart/2005/8/layout/process5"/>
    <dgm:cxn modelId="{1DBA978A-7717-45DA-AA6D-31A2E1AC4AF0}" type="presOf" srcId="{8C6B526E-ACF9-4A55-A2F9-277D90B9E96C}" destId="{A89F1B86-3E82-40F6-9406-6AFE7F778BE2}" srcOrd="0" destOrd="0" presId="urn:microsoft.com/office/officeart/2005/8/layout/process5"/>
    <dgm:cxn modelId="{CF9B2B95-9019-4B13-9D14-19B69240AECA}" type="presOf" srcId="{7418F10E-E3B7-4FAE-970E-2C3BD945BC5E}" destId="{6EFD2261-5539-4701-A8C8-249BE12B638A}" srcOrd="1" destOrd="0" presId="urn:microsoft.com/office/officeart/2005/8/layout/process5"/>
    <dgm:cxn modelId="{1155C29C-E93D-4833-A809-7C1CD29B868F}" type="presOf" srcId="{10479299-6EF4-4520-A135-555B9260EFB9}" destId="{C7D27BE1-2431-4774-8F14-287E10DAC21E}" srcOrd="0" destOrd="0" presId="urn:microsoft.com/office/officeart/2005/8/layout/process5"/>
    <dgm:cxn modelId="{66A9C1A4-8909-40A2-8E16-5E1065320555}" type="presOf" srcId="{25E943CE-96B4-4C89-A86E-B8899F9B6B01}" destId="{8C47B14B-62A9-42EE-962A-B087B5D3A8A3}" srcOrd="0" destOrd="0" presId="urn:microsoft.com/office/officeart/2005/8/layout/process5"/>
    <dgm:cxn modelId="{B9846FA8-A789-4024-8969-FE66250E1029}" srcId="{DB74C61F-90F2-4E5C-AAB3-DD1AB07E62DF}" destId="{D371BB2F-7383-486C-8E0F-21995E1E2209}" srcOrd="4" destOrd="0" parTransId="{69569884-2ED0-493E-A87D-90A7B4A6F25F}" sibTransId="{3881B998-5597-4835-975D-55A24CC8400C}"/>
    <dgm:cxn modelId="{15C504AB-861A-44AC-9B3B-17973ADAB7C7}" type="presOf" srcId="{F09D386A-8602-470C-8BB6-1FF828CDCD9F}" destId="{FE266515-EE20-4D4A-B7E9-67196CBC429E}" srcOrd="1" destOrd="0" presId="urn:microsoft.com/office/officeart/2005/8/layout/process5"/>
    <dgm:cxn modelId="{8551B9B4-BD89-4D92-B3A6-27521D7BE113}" type="presOf" srcId="{F353C7CB-65CB-4AAC-BE26-C77446F6E7BF}" destId="{983A5E33-3C68-48F7-975C-4BBE35080C0C}" srcOrd="1" destOrd="0" presId="urn:microsoft.com/office/officeart/2005/8/layout/process5"/>
    <dgm:cxn modelId="{4F83D2C1-4C78-418F-A34C-178DA49693E8}" type="presOf" srcId="{25E943CE-96B4-4C89-A86E-B8899F9B6B01}" destId="{4C86989F-4336-439C-ABD2-C544E34AE8A4}" srcOrd="1" destOrd="0" presId="urn:microsoft.com/office/officeart/2005/8/layout/process5"/>
    <dgm:cxn modelId="{151E8EC7-5196-4BC9-94DD-A02F5F424567}" srcId="{DB74C61F-90F2-4E5C-AAB3-DD1AB07E62DF}" destId="{8C6B526E-ACF9-4A55-A2F9-277D90B9E96C}" srcOrd="2" destOrd="0" parTransId="{1D19B887-74E6-47CE-9E40-86CC4493C3C2}" sibTransId="{C5CF3D09-5CB6-4CE3-825B-C3443A3B31F8}"/>
    <dgm:cxn modelId="{36D4AEC7-6964-4049-8D6F-51FA9DC7C387}" srcId="{DB74C61F-90F2-4E5C-AAB3-DD1AB07E62DF}" destId="{DA54DB29-191C-440D-9657-7BAC2E01D9F6}" srcOrd="6" destOrd="0" parTransId="{4FF3231C-F6A6-4539-932C-26633E19E478}" sibTransId="{F353C7CB-65CB-4AAC-BE26-C77446F6E7BF}"/>
    <dgm:cxn modelId="{2D6E4AE2-5C51-46B0-A9A3-08948523661F}" type="presOf" srcId="{D4008B05-D770-4E49-9743-BA1F16EC6EFB}" destId="{A3D499A6-36D5-471B-BDE1-2080E7F6A1D1}" srcOrd="0" destOrd="0" presId="urn:microsoft.com/office/officeart/2005/8/layout/process5"/>
    <dgm:cxn modelId="{693A81E2-80C9-4730-ACE4-125FC3EE0A3B}" srcId="{8C6B526E-ACF9-4A55-A2F9-277D90B9E96C}" destId="{A35E67B5-D2A2-46F5-9F75-DC0ABB774306}" srcOrd="1" destOrd="0" parTransId="{A5563A8B-256F-4908-9595-F4DC26B698C3}" sibTransId="{87F2BB71-76DC-4F78-83B5-E01078014566}"/>
    <dgm:cxn modelId="{5C7695E5-3942-483B-82C4-677EEC6AC29E}" type="presOf" srcId="{C5CF3D09-5CB6-4CE3-825B-C3443A3B31F8}" destId="{C1515BCD-7FA0-4386-AAFD-D1F376FE3F28}" srcOrd="1" destOrd="0" presId="urn:microsoft.com/office/officeart/2005/8/layout/process5"/>
    <dgm:cxn modelId="{4CF8CBEF-4BAF-46CC-8FDC-7EEBE09BC470}" srcId="{DB74C61F-90F2-4E5C-AAB3-DD1AB07E62DF}" destId="{4F0047B2-7BBB-48C0-90C9-7CE2B637D97D}" srcOrd="3" destOrd="0" parTransId="{974BC3FE-F853-4392-9B37-A06E87671352}" sibTransId="{25E943CE-96B4-4C89-A86E-B8899F9B6B01}"/>
    <dgm:cxn modelId="{0C63CEF3-F058-4736-87A3-8F2C233E5660}" srcId="{DB74C61F-90F2-4E5C-AAB3-DD1AB07E62DF}" destId="{C268C7CD-2EB6-483E-B17E-DC0EF61FE44A}" srcOrd="0" destOrd="0" parTransId="{DA90EA04-3E1B-4B5A-98D1-84916301C938}" sibTransId="{F09D386A-8602-470C-8BB6-1FF828CDCD9F}"/>
    <dgm:cxn modelId="{1EAF75F6-9823-42FB-A1B7-8C61B4E1F6FD}" type="presOf" srcId="{C268C7CD-2EB6-483E-B17E-DC0EF61FE44A}" destId="{BA4EB56B-9AE6-498E-A122-ACD55E73D581}" srcOrd="0" destOrd="0" presId="urn:microsoft.com/office/officeart/2005/8/layout/process5"/>
    <dgm:cxn modelId="{3F3210F9-65ED-4D4B-85A2-FFFED4FCAB86}" srcId="{DB74C61F-90F2-4E5C-AAB3-DD1AB07E62DF}" destId="{D4008B05-D770-4E49-9743-BA1F16EC6EFB}" srcOrd="5" destOrd="0" parTransId="{053296D6-3397-45CC-9070-1D3CE5DE8543}" sibTransId="{7418F10E-E3B7-4FAE-970E-2C3BD945BC5E}"/>
    <dgm:cxn modelId="{E8475F8C-F299-42C7-90C6-40551742843F}" type="presParOf" srcId="{7D59D9A5-3344-421E-8C2A-5F598608348B}" destId="{BA4EB56B-9AE6-498E-A122-ACD55E73D581}" srcOrd="0" destOrd="0" presId="urn:microsoft.com/office/officeart/2005/8/layout/process5"/>
    <dgm:cxn modelId="{FAFBC70B-30DF-4AFD-BCF0-5090ECF27854}" type="presParOf" srcId="{7D59D9A5-3344-421E-8C2A-5F598608348B}" destId="{D9317850-EE19-4EF0-8BF9-AEBD46B7E903}" srcOrd="1" destOrd="0" presId="urn:microsoft.com/office/officeart/2005/8/layout/process5"/>
    <dgm:cxn modelId="{C4FC9A20-AEB7-4E23-A62C-9844D911CC0A}" type="presParOf" srcId="{D9317850-EE19-4EF0-8BF9-AEBD46B7E903}" destId="{FE266515-EE20-4D4A-B7E9-67196CBC429E}" srcOrd="0" destOrd="0" presId="urn:microsoft.com/office/officeart/2005/8/layout/process5"/>
    <dgm:cxn modelId="{827B588B-F46C-4E4B-8D04-02D05781C364}" type="presParOf" srcId="{7D59D9A5-3344-421E-8C2A-5F598608348B}" destId="{C7D27BE1-2431-4774-8F14-287E10DAC21E}" srcOrd="2" destOrd="0" presId="urn:microsoft.com/office/officeart/2005/8/layout/process5"/>
    <dgm:cxn modelId="{B9F253C5-D903-4094-B3A9-35453592E380}" type="presParOf" srcId="{7D59D9A5-3344-421E-8C2A-5F598608348B}" destId="{53A51DE4-3034-4511-9C74-3608AE04CB3F}" srcOrd="3" destOrd="0" presId="urn:microsoft.com/office/officeart/2005/8/layout/process5"/>
    <dgm:cxn modelId="{098CBF8C-7A8F-4971-A7B1-4EC66B92A171}" type="presParOf" srcId="{53A51DE4-3034-4511-9C74-3608AE04CB3F}" destId="{FA7E4A18-8BC6-4B54-8BF8-B60409172047}" srcOrd="0" destOrd="0" presId="urn:microsoft.com/office/officeart/2005/8/layout/process5"/>
    <dgm:cxn modelId="{238A6BC5-F7CF-4606-9EF0-83D602CCD3CB}" type="presParOf" srcId="{7D59D9A5-3344-421E-8C2A-5F598608348B}" destId="{A89F1B86-3E82-40F6-9406-6AFE7F778BE2}" srcOrd="4" destOrd="0" presId="urn:microsoft.com/office/officeart/2005/8/layout/process5"/>
    <dgm:cxn modelId="{14E0B2CB-CD9B-4AB0-8064-0956090BF9E2}" type="presParOf" srcId="{7D59D9A5-3344-421E-8C2A-5F598608348B}" destId="{987025F9-6E3D-493A-8293-33B18AC7EC3A}" srcOrd="5" destOrd="0" presId="urn:microsoft.com/office/officeart/2005/8/layout/process5"/>
    <dgm:cxn modelId="{ED52FD7E-8ED4-4101-B25F-24182428C100}" type="presParOf" srcId="{987025F9-6E3D-493A-8293-33B18AC7EC3A}" destId="{C1515BCD-7FA0-4386-AAFD-D1F376FE3F28}" srcOrd="0" destOrd="0" presId="urn:microsoft.com/office/officeart/2005/8/layout/process5"/>
    <dgm:cxn modelId="{C0E8DAAE-0A1A-4B64-867B-7FB460A95092}" type="presParOf" srcId="{7D59D9A5-3344-421E-8C2A-5F598608348B}" destId="{F512B6EA-83C4-45F0-A4BC-4F41AC3FD8A7}" srcOrd="6" destOrd="0" presId="urn:microsoft.com/office/officeart/2005/8/layout/process5"/>
    <dgm:cxn modelId="{693C59D4-9F7D-45A0-9A21-A6C9687098FF}" type="presParOf" srcId="{7D59D9A5-3344-421E-8C2A-5F598608348B}" destId="{8C47B14B-62A9-42EE-962A-B087B5D3A8A3}" srcOrd="7" destOrd="0" presId="urn:microsoft.com/office/officeart/2005/8/layout/process5"/>
    <dgm:cxn modelId="{ABAD40BB-DB39-4638-8D06-7B37A7D7B600}" type="presParOf" srcId="{8C47B14B-62A9-42EE-962A-B087B5D3A8A3}" destId="{4C86989F-4336-439C-ABD2-C544E34AE8A4}" srcOrd="0" destOrd="0" presId="urn:microsoft.com/office/officeart/2005/8/layout/process5"/>
    <dgm:cxn modelId="{807C664B-B7D3-4566-8E66-C72E117BB826}" type="presParOf" srcId="{7D59D9A5-3344-421E-8C2A-5F598608348B}" destId="{140C04D3-D480-4ACB-816E-A55FE29D1CDB}" srcOrd="8" destOrd="0" presId="urn:microsoft.com/office/officeart/2005/8/layout/process5"/>
    <dgm:cxn modelId="{6C3B7553-AFA2-4119-82C0-FD7657E3D927}" type="presParOf" srcId="{7D59D9A5-3344-421E-8C2A-5F598608348B}" destId="{BB14833A-86C4-4235-8A8B-4783160C44AD}" srcOrd="9" destOrd="0" presId="urn:microsoft.com/office/officeart/2005/8/layout/process5"/>
    <dgm:cxn modelId="{C2BB652E-E24C-4CE7-8E54-0667D59A09CE}" type="presParOf" srcId="{BB14833A-86C4-4235-8A8B-4783160C44AD}" destId="{A79B54CB-3297-4C06-8794-188604AF8A72}" srcOrd="0" destOrd="0" presId="urn:microsoft.com/office/officeart/2005/8/layout/process5"/>
    <dgm:cxn modelId="{2BECE218-3B2E-44E9-9640-19DB35196D5B}" type="presParOf" srcId="{7D59D9A5-3344-421E-8C2A-5F598608348B}" destId="{A3D499A6-36D5-471B-BDE1-2080E7F6A1D1}" srcOrd="10" destOrd="0" presId="urn:microsoft.com/office/officeart/2005/8/layout/process5"/>
    <dgm:cxn modelId="{F0E90CD0-0C56-454D-9EAC-8114D2DE31AE}" type="presParOf" srcId="{7D59D9A5-3344-421E-8C2A-5F598608348B}" destId="{D6F3C003-E58C-466F-A246-5C8EC2C38067}" srcOrd="11" destOrd="0" presId="urn:microsoft.com/office/officeart/2005/8/layout/process5"/>
    <dgm:cxn modelId="{108879B2-0540-4F01-8AA5-32F09D31A088}" type="presParOf" srcId="{D6F3C003-E58C-466F-A246-5C8EC2C38067}" destId="{6EFD2261-5539-4701-A8C8-249BE12B638A}" srcOrd="0" destOrd="0" presId="urn:microsoft.com/office/officeart/2005/8/layout/process5"/>
    <dgm:cxn modelId="{8F2D8BF1-1D2B-4690-A3EB-3D1F6C1DB52C}" type="presParOf" srcId="{7D59D9A5-3344-421E-8C2A-5F598608348B}" destId="{40B2B4F0-A222-4FFC-9EFE-FBDB0CB11142}" srcOrd="12" destOrd="0" presId="urn:microsoft.com/office/officeart/2005/8/layout/process5"/>
    <dgm:cxn modelId="{86BECE35-89CF-4E6D-967B-9A63BA1B2EB6}" type="presParOf" srcId="{7D59D9A5-3344-421E-8C2A-5F598608348B}" destId="{ECC04854-5AA0-4576-8448-5792D8E63F31}" srcOrd="13" destOrd="0" presId="urn:microsoft.com/office/officeart/2005/8/layout/process5"/>
    <dgm:cxn modelId="{68623B42-F7B8-4FAB-A6EF-1E2CE255A452}" type="presParOf" srcId="{ECC04854-5AA0-4576-8448-5792D8E63F31}" destId="{983A5E33-3C68-48F7-975C-4BBE35080C0C}" srcOrd="0" destOrd="0" presId="urn:microsoft.com/office/officeart/2005/8/layout/process5"/>
    <dgm:cxn modelId="{C17A73CE-9867-455D-8DE5-B1F2505B101A}" type="presParOf" srcId="{7D59D9A5-3344-421E-8C2A-5F598608348B}" destId="{771D2D64-4966-4893-936A-E0F0C9D4C238}" srcOrd="14"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0671530-05D0-4B0A-ABE1-9B11862A1BFC}" type="doc">
      <dgm:prSet loTypeId="urn:microsoft.com/office/officeart/2005/8/layout/radial5" loCatId="relationship" qsTypeId="urn:microsoft.com/office/officeart/2005/8/quickstyle/simple4" qsCatId="simple" csTypeId="urn:microsoft.com/office/officeart/2005/8/colors/colorful5" csCatId="colorful" phldr="1"/>
      <dgm:spPr/>
      <dgm:t>
        <a:bodyPr/>
        <a:lstStyle/>
        <a:p>
          <a:endParaRPr lang="en-US"/>
        </a:p>
      </dgm:t>
    </dgm:pt>
    <dgm:pt modelId="{89A416E7-8242-41EF-BD2C-D85AB0DF13E9}">
      <dgm:prSet phldrT="[Text]" custT="1"/>
      <dgm:spPr/>
      <dgm:t>
        <a:bodyPr/>
        <a:lstStyle/>
        <a:p>
          <a:r>
            <a:rPr lang="en-US" sz="1400" b="1" dirty="0">
              <a:latin typeface="Calibri" panose="020F0502020204030204" pitchFamily="34" charset="0"/>
            </a:rPr>
            <a:t>Bitcoin - Cryptocurrency</a:t>
          </a:r>
        </a:p>
      </dgm:t>
    </dgm:pt>
    <dgm:pt modelId="{92238A66-FFC1-4688-B37A-08EC90A088F2}" type="parTrans" cxnId="{EFF1A32B-098A-47CF-82E2-97E799FFB20D}">
      <dgm:prSet/>
      <dgm:spPr/>
      <dgm:t>
        <a:bodyPr/>
        <a:lstStyle/>
        <a:p>
          <a:endParaRPr lang="en-US" sz="1400" b="1">
            <a:latin typeface="Calibri" panose="020F0502020204030204" pitchFamily="34" charset="0"/>
          </a:endParaRPr>
        </a:p>
      </dgm:t>
    </dgm:pt>
    <dgm:pt modelId="{8E04A5AC-BEC2-4FE8-8DE3-94D64177BD4A}" type="sibTrans" cxnId="{EFF1A32B-098A-47CF-82E2-97E799FFB20D}">
      <dgm:prSet/>
      <dgm:spPr/>
      <dgm:t>
        <a:bodyPr/>
        <a:lstStyle/>
        <a:p>
          <a:endParaRPr lang="en-US" sz="1400" b="1">
            <a:latin typeface="Calibri" panose="020F0502020204030204" pitchFamily="34" charset="0"/>
          </a:endParaRPr>
        </a:p>
      </dgm:t>
    </dgm:pt>
    <dgm:pt modelId="{72446CB1-E915-4025-AFF0-E08A8D94A142}">
      <dgm:prSet phldrT="[Text]" custT="1"/>
      <dgm:spPr/>
      <dgm:t>
        <a:bodyPr/>
        <a:lstStyle/>
        <a:p>
          <a:r>
            <a:rPr lang="en-US" sz="1400" b="1" dirty="0">
              <a:latin typeface="Calibri" panose="020F0502020204030204" pitchFamily="34" charset="0"/>
            </a:rPr>
            <a:t>Currency</a:t>
          </a:r>
        </a:p>
      </dgm:t>
    </dgm:pt>
    <dgm:pt modelId="{AE3F9EAF-1AE7-48F6-BAB6-FB6A231641C8}" type="parTrans" cxnId="{5407875B-47A7-47E2-A7AA-67F84D9A9DFC}">
      <dgm:prSet custT="1"/>
      <dgm:spPr/>
      <dgm:t>
        <a:bodyPr/>
        <a:lstStyle/>
        <a:p>
          <a:endParaRPr lang="en-US" sz="1400" b="1">
            <a:latin typeface="Calibri" panose="020F0502020204030204" pitchFamily="34" charset="0"/>
          </a:endParaRPr>
        </a:p>
      </dgm:t>
    </dgm:pt>
    <dgm:pt modelId="{AEE12BF4-E201-41B9-8D16-FB5AE29B7103}" type="sibTrans" cxnId="{5407875B-47A7-47E2-A7AA-67F84D9A9DFC}">
      <dgm:prSet/>
      <dgm:spPr/>
      <dgm:t>
        <a:bodyPr/>
        <a:lstStyle/>
        <a:p>
          <a:endParaRPr lang="en-US" sz="1400" b="1">
            <a:latin typeface="Calibri" panose="020F0502020204030204" pitchFamily="34" charset="0"/>
          </a:endParaRPr>
        </a:p>
      </dgm:t>
    </dgm:pt>
    <dgm:pt modelId="{797BBB37-8560-4A71-ABD4-79C2747CCBFF}">
      <dgm:prSet phldrT="[Text]" custT="1"/>
      <dgm:spPr/>
      <dgm:t>
        <a:bodyPr/>
        <a:lstStyle/>
        <a:p>
          <a:r>
            <a:rPr lang="en-US" sz="1400" b="1" dirty="0">
              <a:latin typeface="Calibri" panose="020F0502020204030204" pitchFamily="34" charset="0"/>
            </a:rPr>
            <a:t>Digital Cash</a:t>
          </a:r>
        </a:p>
      </dgm:t>
    </dgm:pt>
    <dgm:pt modelId="{5D9FC363-33D3-48EC-B397-36D5A4B83AC7}" type="parTrans" cxnId="{349D5394-DBEE-4821-ADBE-E9B4081944D0}">
      <dgm:prSet custT="1"/>
      <dgm:spPr/>
      <dgm:t>
        <a:bodyPr/>
        <a:lstStyle/>
        <a:p>
          <a:endParaRPr lang="en-US" sz="1400" b="1">
            <a:latin typeface="Calibri" panose="020F0502020204030204" pitchFamily="34" charset="0"/>
          </a:endParaRPr>
        </a:p>
      </dgm:t>
    </dgm:pt>
    <dgm:pt modelId="{8677EC9E-7EE1-4696-BCBA-9267D7319FA7}" type="sibTrans" cxnId="{349D5394-DBEE-4821-ADBE-E9B4081944D0}">
      <dgm:prSet/>
      <dgm:spPr/>
      <dgm:t>
        <a:bodyPr/>
        <a:lstStyle/>
        <a:p>
          <a:endParaRPr lang="en-US" sz="1400" b="1">
            <a:latin typeface="Calibri" panose="020F0502020204030204" pitchFamily="34" charset="0"/>
          </a:endParaRPr>
        </a:p>
      </dgm:t>
    </dgm:pt>
    <dgm:pt modelId="{B22B9D8E-A0A0-42B0-8934-63F5081460C1}">
      <dgm:prSet phldrT="[Text]" custT="1"/>
      <dgm:spPr/>
      <dgm:t>
        <a:bodyPr/>
        <a:lstStyle/>
        <a:p>
          <a:r>
            <a:rPr lang="en-US" sz="1400" b="1" dirty="0">
              <a:latin typeface="Calibri" panose="020F0502020204030204" pitchFamily="34" charset="0"/>
            </a:rPr>
            <a:t>Digital Asset</a:t>
          </a:r>
        </a:p>
      </dgm:t>
    </dgm:pt>
    <dgm:pt modelId="{19CD96F3-F9BE-43BC-95FF-11E42BD57DE7}" type="parTrans" cxnId="{29C91C18-891A-4A09-9792-5CCC6CC413EE}">
      <dgm:prSet custT="1"/>
      <dgm:spPr/>
      <dgm:t>
        <a:bodyPr/>
        <a:lstStyle/>
        <a:p>
          <a:endParaRPr lang="en-US" sz="1400" b="1">
            <a:latin typeface="Calibri" panose="020F0502020204030204" pitchFamily="34" charset="0"/>
          </a:endParaRPr>
        </a:p>
      </dgm:t>
    </dgm:pt>
    <dgm:pt modelId="{74B2D4FF-DCB1-4B7B-B533-4B11875CADDA}" type="sibTrans" cxnId="{29C91C18-891A-4A09-9792-5CCC6CC413EE}">
      <dgm:prSet/>
      <dgm:spPr/>
      <dgm:t>
        <a:bodyPr/>
        <a:lstStyle/>
        <a:p>
          <a:endParaRPr lang="en-US" sz="1400" b="1">
            <a:latin typeface="Calibri" panose="020F0502020204030204" pitchFamily="34" charset="0"/>
          </a:endParaRPr>
        </a:p>
      </dgm:t>
    </dgm:pt>
    <dgm:pt modelId="{DA19C8DC-837E-46E3-9331-4A10331D7941}">
      <dgm:prSet phldrT="[Text]" custT="1"/>
      <dgm:spPr/>
      <dgm:t>
        <a:bodyPr/>
        <a:lstStyle/>
        <a:p>
          <a:r>
            <a:rPr lang="en-US" sz="1400" b="1" dirty="0">
              <a:latin typeface="Calibri" panose="020F0502020204030204" pitchFamily="34" charset="0"/>
            </a:rPr>
            <a:t>Investment</a:t>
          </a:r>
        </a:p>
      </dgm:t>
    </dgm:pt>
    <dgm:pt modelId="{CADBCD33-C3C0-4503-8001-5DCD13FB9006}" type="parTrans" cxnId="{0B66E691-967D-43B8-993C-F16B2E95B0A1}">
      <dgm:prSet custT="1"/>
      <dgm:spPr/>
      <dgm:t>
        <a:bodyPr/>
        <a:lstStyle/>
        <a:p>
          <a:endParaRPr lang="en-US" sz="1400" b="1">
            <a:latin typeface="Calibri" panose="020F0502020204030204" pitchFamily="34" charset="0"/>
          </a:endParaRPr>
        </a:p>
      </dgm:t>
    </dgm:pt>
    <dgm:pt modelId="{9EE2F399-1894-4D34-B63B-946C747ECBC6}" type="sibTrans" cxnId="{0B66E691-967D-43B8-993C-F16B2E95B0A1}">
      <dgm:prSet/>
      <dgm:spPr/>
      <dgm:t>
        <a:bodyPr/>
        <a:lstStyle/>
        <a:p>
          <a:endParaRPr lang="en-US" sz="1400" b="1">
            <a:latin typeface="Calibri" panose="020F0502020204030204" pitchFamily="34" charset="0"/>
          </a:endParaRPr>
        </a:p>
      </dgm:t>
    </dgm:pt>
    <dgm:pt modelId="{D24E68A4-94E9-4311-B02D-D70F1916DDF3}">
      <dgm:prSet phldrT="[Text]" custT="1"/>
      <dgm:spPr/>
      <dgm:t>
        <a:bodyPr/>
        <a:lstStyle/>
        <a:p>
          <a:r>
            <a:rPr lang="en-US" sz="1400" b="1" dirty="0">
              <a:latin typeface="Calibri" panose="020F0502020204030204" pitchFamily="34" charset="0"/>
            </a:rPr>
            <a:t>Security</a:t>
          </a:r>
        </a:p>
      </dgm:t>
    </dgm:pt>
    <dgm:pt modelId="{E7BBEC47-ED4F-4846-9675-9AD82B472F76}" type="parTrans" cxnId="{24087879-F91E-4302-8FBF-D590DEBE0C9C}">
      <dgm:prSet custT="1"/>
      <dgm:spPr/>
      <dgm:t>
        <a:bodyPr/>
        <a:lstStyle/>
        <a:p>
          <a:endParaRPr lang="en-US" sz="1400" b="1">
            <a:latin typeface="Calibri" panose="020F0502020204030204" pitchFamily="34" charset="0"/>
          </a:endParaRPr>
        </a:p>
      </dgm:t>
    </dgm:pt>
    <dgm:pt modelId="{582FB20D-3295-46E7-B1C2-08067F2FD33C}" type="sibTrans" cxnId="{24087879-F91E-4302-8FBF-D590DEBE0C9C}">
      <dgm:prSet/>
      <dgm:spPr/>
      <dgm:t>
        <a:bodyPr/>
        <a:lstStyle/>
        <a:p>
          <a:endParaRPr lang="en-US" sz="1400" b="1">
            <a:latin typeface="Calibri" panose="020F0502020204030204" pitchFamily="34" charset="0"/>
          </a:endParaRPr>
        </a:p>
      </dgm:t>
    </dgm:pt>
    <dgm:pt modelId="{D29D817F-4179-4341-8EC5-98C059DDDDF5}">
      <dgm:prSet phldrT="[Text]" custT="1"/>
      <dgm:spPr/>
      <dgm:t>
        <a:bodyPr/>
        <a:lstStyle/>
        <a:p>
          <a:r>
            <a:rPr lang="en-US" sz="1400" b="1" dirty="0">
              <a:latin typeface="Calibri" panose="020F0502020204030204" pitchFamily="34" charset="0"/>
            </a:rPr>
            <a:t>Commodity</a:t>
          </a:r>
        </a:p>
      </dgm:t>
    </dgm:pt>
    <dgm:pt modelId="{D2017F14-DA33-4566-A73C-E5282789B75D}" type="parTrans" cxnId="{56B7082D-51B5-4D51-9FB4-05D838354DFD}">
      <dgm:prSet custT="1"/>
      <dgm:spPr/>
      <dgm:t>
        <a:bodyPr/>
        <a:lstStyle/>
        <a:p>
          <a:endParaRPr lang="en-US" sz="1400" b="1">
            <a:latin typeface="Calibri" panose="020F0502020204030204" pitchFamily="34" charset="0"/>
          </a:endParaRPr>
        </a:p>
      </dgm:t>
    </dgm:pt>
    <dgm:pt modelId="{0918A26E-557A-4261-A35E-4D0ACD4EF717}" type="sibTrans" cxnId="{56B7082D-51B5-4D51-9FB4-05D838354DFD}">
      <dgm:prSet/>
      <dgm:spPr/>
      <dgm:t>
        <a:bodyPr/>
        <a:lstStyle/>
        <a:p>
          <a:endParaRPr lang="en-US" sz="1400" b="1">
            <a:latin typeface="Calibri" panose="020F0502020204030204" pitchFamily="34" charset="0"/>
          </a:endParaRPr>
        </a:p>
      </dgm:t>
    </dgm:pt>
    <dgm:pt modelId="{5CF1F6B5-2A4F-4143-8278-374C045085F0}">
      <dgm:prSet phldrT="[Text]" custT="1"/>
      <dgm:spPr/>
      <dgm:t>
        <a:bodyPr/>
        <a:lstStyle/>
        <a:p>
          <a:r>
            <a:rPr lang="en-US" sz="1400" b="1" dirty="0">
              <a:latin typeface="Calibri" panose="020F0502020204030204" pitchFamily="34" charset="0"/>
            </a:rPr>
            <a:t>Property</a:t>
          </a:r>
        </a:p>
      </dgm:t>
    </dgm:pt>
    <dgm:pt modelId="{00190EF0-BE0A-46F7-B42B-6675EE3AE2D5}" type="parTrans" cxnId="{393E1825-FF4B-44D3-B5DD-D5412546B8F2}">
      <dgm:prSet custT="1"/>
      <dgm:spPr/>
      <dgm:t>
        <a:bodyPr/>
        <a:lstStyle/>
        <a:p>
          <a:endParaRPr lang="en-US" sz="1400" b="1">
            <a:latin typeface="Calibri" panose="020F0502020204030204" pitchFamily="34" charset="0"/>
          </a:endParaRPr>
        </a:p>
      </dgm:t>
    </dgm:pt>
    <dgm:pt modelId="{BE59DFF7-40BA-4DB5-A8C2-CA13893CD7DC}" type="sibTrans" cxnId="{393E1825-FF4B-44D3-B5DD-D5412546B8F2}">
      <dgm:prSet/>
      <dgm:spPr/>
      <dgm:t>
        <a:bodyPr/>
        <a:lstStyle/>
        <a:p>
          <a:endParaRPr lang="en-US" sz="1400" b="1">
            <a:latin typeface="Calibri" panose="020F0502020204030204" pitchFamily="34" charset="0"/>
          </a:endParaRPr>
        </a:p>
      </dgm:t>
    </dgm:pt>
    <dgm:pt modelId="{6C8025B1-77FC-4504-9836-C9FF1983EF12}">
      <dgm:prSet phldrT="[Text]" custT="1"/>
      <dgm:spPr/>
      <dgm:t>
        <a:bodyPr/>
        <a:lstStyle/>
        <a:p>
          <a:r>
            <a:rPr lang="en-US" sz="1400" b="1" dirty="0">
              <a:latin typeface="Calibri" panose="020F0502020204030204" pitchFamily="34" charset="0"/>
            </a:rPr>
            <a:t>Digital Currency</a:t>
          </a:r>
        </a:p>
      </dgm:t>
    </dgm:pt>
    <dgm:pt modelId="{15F95595-81DA-4622-8BA3-87A3A99DCDAD}" type="parTrans" cxnId="{C8FFF6CF-DAA8-42BD-8FE0-CF79181091BD}">
      <dgm:prSet custT="1"/>
      <dgm:spPr/>
      <dgm:t>
        <a:bodyPr/>
        <a:lstStyle/>
        <a:p>
          <a:endParaRPr lang="en-US" sz="1400" b="1">
            <a:latin typeface="Calibri" panose="020F0502020204030204" pitchFamily="34" charset="0"/>
          </a:endParaRPr>
        </a:p>
      </dgm:t>
    </dgm:pt>
    <dgm:pt modelId="{06B9F6AC-4AAA-4661-99DD-C2171BEFB700}" type="sibTrans" cxnId="{C8FFF6CF-DAA8-42BD-8FE0-CF79181091BD}">
      <dgm:prSet/>
      <dgm:spPr/>
      <dgm:t>
        <a:bodyPr/>
        <a:lstStyle/>
        <a:p>
          <a:endParaRPr lang="en-US" sz="1400" b="1">
            <a:latin typeface="Calibri" panose="020F0502020204030204" pitchFamily="34" charset="0"/>
          </a:endParaRPr>
        </a:p>
      </dgm:t>
    </dgm:pt>
    <dgm:pt modelId="{CB068A56-99DB-479D-8FA2-507B4722FE18}">
      <dgm:prSet phldrT="[Text]" custT="1"/>
      <dgm:spPr/>
      <dgm:t>
        <a:bodyPr/>
        <a:lstStyle/>
        <a:p>
          <a:r>
            <a:rPr lang="en-US" sz="1400" b="1" dirty="0">
              <a:latin typeface="Calibri" panose="020F0502020204030204" pitchFamily="34" charset="0"/>
            </a:rPr>
            <a:t>Hobby</a:t>
          </a:r>
        </a:p>
      </dgm:t>
    </dgm:pt>
    <dgm:pt modelId="{3309E33B-0BBF-41C6-AB35-FCB84E2E77C2}" type="parTrans" cxnId="{4AA7D231-9B60-40BD-B835-21B1D6DB8D39}">
      <dgm:prSet custT="1"/>
      <dgm:spPr/>
      <dgm:t>
        <a:bodyPr/>
        <a:lstStyle/>
        <a:p>
          <a:endParaRPr lang="en-US" sz="2800"/>
        </a:p>
      </dgm:t>
    </dgm:pt>
    <dgm:pt modelId="{4773F2C6-4859-44E9-8751-2E437110DAA3}" type="sibTrans" cxnId="{4AA7D231-9B60-40BD-B835-21B1D6DB8D39}">
      <dgm:prSet/>
      <dgm:spPr/>
      <dgm:t>
        <a:bodyPr/>
        <a:lstStyle/>
        <a:p>
          <a:endParaRPr lang="en-US" sz="1800"/>
        </a:p>
      </dgm:t>
    </dgm:pt>
    <dgm:pt modelId="{9CAD6C3F-B9FB-4114-8F44-532A4E9BCB66}">
      <dgm:prSet phldrT="[Text]" custT="1"/>
      <dgm:spPr/>
      <dgm:t>
        <a:bodyPr/>
        <a:lstStyle/>
        <a:p>
          <a:r>
            <a:rPr lang="en-US" sz="1400" b="1" dirty="0">
              <a:latin typeface="Calibri" panose="020F0502020204030204" pitchFamily="34" charset="0"/>
            </a:rPr>
            <a:t>Famous use of </a:t>
          </a:r>
          <a:r>
            <a:rPr lang="en-US" sz="1400" b="1" dirty="0" err="1">
              <a:latin typeface="Calibri" panose="020F0502020204030204" pitchFamily="34" charset="0"/>
            </a:rPr>
            <a:t>blockchain</a:t>
          </a:r>
          <a:endParaRPr lang="en-US" sz="1400" b="1" dirty="0">
            <a:latin typeface="Calibri" panose="020F0502020204030204" pitchFamily="34" charset="0"/>
          </a:endParaRPr>
        </a:p>
      </dgm:t>
    </dgm:pt>
    <dgm:pt modelId="{1AC36CBE-BC04-49A1-9FB3-18896AA7C919}" type="parTrans" cxnId="{BE8EE010-1ECC-4D80-BEB5-1214C34EBB3F}">
      <dgm:prSet custT="1"/>
      <dgm:spPr/>
      <dgm:t>
        <a:bodyPr/>
        <a:lstStyle/>
        <a:p>
          <a:endParaRPr lang="en-US" sz="2800"/>
        </a:p>
      </dgm:t>
    </dgm:pt>
    <dgm:pt modelId="{459820A6-7B50-4746-8CBF-B12A03726112}" type="sibTrans" cxnId="{BE8EE010-1ECC-4D80-BEB5-1214C34EBB3F}">
      <dgm:prSet/>
      <dgm:spPr/>
      <dgm:t>
        <a:bodyPr/>
        <a:lstStyle/>
        <a:p>
          <a:endParaRPr lang="en-US" sz="1800"/>
        </a:p>
      </dgm:t>
    </dgm:pt>
    <dgm:pt modelId="{53838E7A-20CF-494C-A966-3A954CD59548}">
      <dgm:prSet phldrT="[Text]" custT="1"/>
      <dgm:spPr/>
      <dgm:t>
        <a:bodyPr/>
        <a:lstStyle/>
        <a:p>
          <a:r>
            <a:rPr lang="en-US" sz="1400" b="1" dirty="0">
              <a:latin typeface="Calibri" panose="020F0502020204030204" pitchFamily="34" charset="0"/>
            </a:rPr>
            <a:t>Protocol</a:t>
          </a:r>
        </a:p>
      </dgm:t>
    </dgm:pt>
    <dgm:pt modelId="{EC177332-F6E4-4F5A-B7DF-23FE1805D610}" type="parTrans" cxnId="{C6AFA2B7-3F4A-4E4E-8739-762CFD2E5496}">
      <dgm:prSet custT="1"/>
      <dgm:spPr/>
      <dgm:t>
        <a:bodyPr/>
        <a:lstStyle/>
        <a:p>
          <a:endParaRPr lang="en-US" sz="2000"/>
        </a:p>
      </dgm:t>
    </dgm:pt>
    <dgm:pt modelId="{76EA5A4E-9EC5-4964-89DB-027EA4BFC60A}" type="sibTrans" cxnId="{C6AFA2B7-3F4A-4E4E-8739-762CFD2E5496}">
      <dgm:prSet/>
      <dgm:spPr/>
      <dgm:t>
        <a:bodyPr/>
        <a:lstStyle/>
        <a:p>
          <a:endParaRPr lang="en-US" sz="1800"/>
        </a:p>
      </dgm:t>
    </dgm:pt>
    <dgm:pt modelId="{6A0E01A7-BE53-4AC1-B82B-699880593C96}">
      <dgm:prSet phldrT="[Text]" custT="1"/>
      <dgm:spPr/>
      <dgm:t>
        <a:bodyPr/>
        <a:lstStyle/>
        <a:p>
          <a:r>
            <a:rPr lang="en-US" sz="1400" b="1" dirty="0">
              <a:latin typeface="Calibri" panose="020F0502020204030204" pitchFamily="34" charset="0"/>
            </a:rPr>
            <a:t>Network</a:t>
          </a:r>
        </a:p>
      </dgm:t>
    </dgm:pt>
    <dgm:pt modelId="{4D2D540B-6734-4194-841F-0474B43D0FBD}" type="parTrans" cxnId="{EADFE720-84DC-4300-8539-FE5652EA5F72}">
      <dgm:prSet custT="1"/>
      <dgm:spPr/>
      <dgm:t>
        <a:bodyPr/>
        <a:lstStyle/>
        <a:p>
          <a:endParaRPr lang="en-US" sz="2000"/>
        </a:p>
      </dgm:t>
    </dgm:pt>
    <dgm:pt modelId="{BF8E060C-1D15-429F-A59F-B022982B88F5}" type="sibTrans" cxnId="{EADFE720-84DC-4300-8539-FE5652EA5F72}">
      <dgm:prSet/>
      <dgm:spPr/>
      <dgm:t>
        <a:bodyPr/>
        <a:lstStyle/>
        <a:p>
          <a:endParaRPr lang="en-US" sz="1800"/>
        </a:p>
      </dgm:t>
    </dgm:pt>
    <dgm:pt modelId="{67AE2DAE-550A-4845-AA9B-B44533D6401A}" type="pres">
      <dgm:prSet presAssocID="{A0671530-05D0-4B0A-ABE1-9B11862A1BFC}" presName="Name0" presStyleCnt="0">
        <dgm:presLayoutVars>
          <dgm:chMax val="1"/>
          <dgm:dir/>
          <dgm:animLvl val="ctr"/>
          <dgm:resizeHandles val="exact"/>
        </dgm:presLayoutVars>
      </dgm:prSet>
      <dgm:spPr/>
    </dgm:pt>
    <dgm:pt modelId="{3583D372-30CC-43D2-BC52-CB93CF9645E8}" type="pres">
      <dgm:prSet presAssocID="{89A416E7-8242-41EF-BD2C-D85AB0DF13E9}" presName="centerShape" presStyleLbl="node0" presStyleIdx="0" presStyleCnt="1" custScaleX="186569" custScaleY="192760"/>
      <dgm:spPr/>
    </dgm:pt>
    <dgm:pt modelId="{DD3D0358-1293-46C5-891D-18B2CC9CC8E0}" type="pres">
      <dgm:prSet presAssocID="{AE3F9EAF-1AE7-48F6-BAB6-FB6A231641C8}" presName="parTrans" presStyleLbl="sibTrans2D1" presStyleIdx="0" presStyleCnt="12" custScaleX="132282" custScaleY="123360"/>
      <dgm:spPr/>
    </dgm:pt>
    <dgm:pt modelId="{F78DEA2C-5768-444D-AB7B-EFD4EBDBB011}" type="pres">
      <dgm:prSet presAssocID="{AE3F9EAF-1AE7-48F6-BAB6-FB6A231641C8}" presName="connectorText" presStyleLbl="sibTrans2D1" presStyleIdx="0" presStyleCnt="12"/>
      <dgm:spPr/>
    </dgm:pt>
    <dgm:pt modelId="{A426699B-ADF5-4066-85DE-CB944486EC4F}" type="pres">
      <dgm:prSet presAssocID="{72446CB1-E915-4025-AFF0-E08A8D94A142}" presName="node" presStyleLbl="node1" presStyleIdx="0" presStyleCnt="12" custScaleX="132282" custScaleY="123360">
        <dgm:presLayoutVars>
          <dgm:bulletEnabled val="1"/>
        </dgm:presLayoutVars>
      </dgm:prSet>
      <dgm:spPr/>
    </dgm:pt>
    <dgm:pt modelId="{3F5E5C1E-F323-4ACB-8F14-46D1965F15F7}" type="pres">
      <dgm:prSet presAssocID="{5D9FC363-33D3-48EC-B397-36D5A4B83AC7}" presName="parTrans" presStyleLbl="sibTrans2D1" presStyleIdx="1" presStyleCnt="12" custScaleX="132282" custScaleY="123360"/>
      <dgm:spPr/>
    </dgm:pt>
    <dgm:pt modelId="{1A97C096-41F6-409F-8EB8-2A252236F5E8}" type="pres">
      <dgm:prSet presAssocID="{5D9FC363-33D3-48EC-B397-36D5A4B83AC7}" presName="connectorText" presStyleLbl="sibTrans2D1" presStyleIdx="1" presStyleCnt="12"/>
      <dgm:spPr/>
    </dgm:pt>
    <dgm:pt modelId="{91FF300D-1889-4E63-947B-4FA763FA9770}" type="pres">
      <dgm:prSet presAssocID="{797BBB37-8560-4A71-ABD4-79C2747CCBFF}" presName="node" presStyleLbl="node1" presStyleIdx="1" presStyleCnt="12" custScaleX="132282" custScaleY="123360">
        <dgm:presLayoutVars>
          <dgm:bulletEnabled val="1"/>
        </dgm:presLayoutVars>
      </dgm:prSet>
      <dgm:spPr/>
    </dgm:pt>
    <dgm:pt modelId="{2B01D8B1-EEF0-4B98-B93E-794E8C7FB56D}" type="pres">
      <dgm:prSet presAssocID="{19CD96F3-F9BE-43BC-95FF-11E42BD57DE7}" presName="parTrans" presStyleLbl="sibTrans2D1" presStyleIdx="2" presStyleCnt="12" custScaleX="132282" custScaleY="123360"/>
      <dgm:spPr/>
    </dgm:pt>
    <dgm:pt modelId="{ABDBF3C5-F9CE-412E-BBF7-1753FFC1ACDA}" type="pres">
      <dgm:prSet presAssocID="{19CD96F3-F9BE-43BC-95FF-11E42BD57DE7}" presName="connectorText" presStyleLbl="sibTrans2D1" presStyleIdx="2" presStyleCnt="12"/>
      <dgm:spPr/>
    </dgm:pt>
    <dgm:pt modelId="{D688AA2D-FC0F-4915-B3BA-ACF104CA6417}" type="pres">
      <dgm:prSet presAssocID="{B22B9D8E-A0A0-42B0-8934-63F5081460C1}" presName="node" presStyleLbl="node1" presStyleIdx="2" presStyleCnt="12" custScaleX="132282" custScaleY="123360">
        <dgm:presLayoutVars>
          <dgm:bulletEnabled val="1"/>
        </dgm:presLayoutVars>
      </dgm:prSet>
      <dgm:spPr/>
    </dgm:pt>
    <dgm:pt modelId="{25FE0500-914D-4D39-AD23-5ED91CD4A0CD}" type="pres">
      <dgm:prSet presAssocID="{CADBCD33-C3C0-4503-8001-5DCD13FB9006}" presName="parTrans" presStyleLbl="sibTrans2D1" presStyleIdx="3" presStyleCnt="12" custScaleX="132282" custScaleY="123360"/>
      <dgm:spPr/>
    </dgm:pt>
    <dgm:pt modelId="{9366D32C-2224-48FC-970A-F0DF3451B380}" type="pres">
      <dgm:prSet presAssocID="{CADBCD33-C3C0-4503-8001-5DCD13FB9006}" presName="connectorText" presStyleLbl="sibTrans2D1" presStyleIdx="3" presStyleCnt="12"/>
      <dgm:spPr/>
    </dgm:pt>
    <dgm:pt modelId="{64A581B0-05AB-48C2-BB3B-8B11A23F31B5}" type="pres">
      <dgm:prSet presAssocID="{DA19C8DC-837E-46E3-9331-4A10331D7941}" presName="node" presStyleLbl="node1" presStyleIdx="3" presStyleCnt="12" custScaleX="132282" custScaleY="123360">
        <dgm:presLayoutVars>
          <dgm:bulletEnabled val="1"/>
        </dgm:presLayoutVars>
      </dgm:prSet>
      <dgm:spPr/>
    </dgm:pt>
    <dgm:pt modelId="{F8D41C97-644F-4E70-82C0-043424C0D784}" type="pres">
      <dgm:prSet presAssocID="{E7BBEC47-ED4F-4846-9675-9AD82B472F76}" presName="parTrans" presStyleLbl="sibTrans2D1" presStyleIdx="4" presStyleCnt="12" custScaleX="132282" custScaleY="123360"/>
      <dgm:spPr/>
    </dgm:pt>
    <dgm:pt modelId="{C788E0E4-4E45-45E1-A23D-CB24F6C884C1}" type="pres">
      <dgm:prSet presAssocID="{E7BBEC47-ED4F-4846-9675-9AD82B472F76}" presName="connectorText" presStyleLbl="sibTrans2D1" presStyleIdx="4" presStyleCnt="12"/>
      <dgm:spPr/>
    </dgm:pt>
    <dgm:pt modelId="{97310E23-07B1-4197-86D8-E57DD601BEAC}" type="pres">
      <dgm:prSet presAssocID="{D24E68A4-94E9-4311-B02D-D70F1916DDF3}" presName="node" presStyleLbl="node1" presStyleIdx="4" presStyleCnt="12" custScaleX="132282" custScaleY="123360">
        <dgm:presLayoutVars>
          <dgm:bulletEnabled val="1"/>
        </dgm:presLayoutVars>
      </dgm:prSet>
      <dgm:spPr/>
    </dgm:pt>
    <dgm:pt modelId="{3AF7A5DB-AEFF-4456-8BA2-D37581A13EB9}" type="pres">
      <dgm:prSet presAssocID="{D2017F14-DA33-4566-A73C-E5282789B75D}" presName="parTrans" presStyleLbl="sibTrans2D1" presStyleIdx="5" presStyleCnt="12" custScaleX="132282" custScaleY="123360"/>
      <dgm:spPr/>
    </dgm:pt>
    <dgm:pt modelId="{AD9E95AD-347F-40A4-AC59-DD0793E31808}" type="pres">
      <dgm:prSet presAssocID="{D2017F14-DA33-4566-A73C-E5282789B75D}" presName="connectorText" presStyleLbl="sibTrans2D1" presStyleIdx="5" presStyleCnt="12"/>
      <dgm:spPr/>
    </dgm:pt>
    <dgm:pt modelId="{8A0A5109-871B-4D26-8705-7B76034F1255}" type="pres">
      <dgm:prSet presAssocID="{D29D817F-4179-4341-8EC5-98C059DDDDF5}" presName="node" presStyleLbl="node1" presStyleIdx="5" presStyleCnt="12" custScaleX="132282" custScaleY="123360">
        <dgm:presLayoutVars>
          <dgm:bulletEnabled val="1"/>
        </dgm:presLayoutVars>
      </dgm:prSet>
      <dgm:spPr/>
    </dgm:pt>
    <dgm:pt modelId="{3EA27E8B-A167-4E9E-93F5-5AF867B7514C}" type="pres">
      <dgm:prSet presAssocID="{00190EF0-BE0A-46F7-B42B-6675EE3AE2D5}" presName="parTrans" presStyleLbl="sibTrans2D1" presStyleIdx="6" presStyleCnt="12" custScaleX="132282" custScaleY="123360"/>
      <dgm:spPr/>
    </dgm:pt>
    <dgm:pt modelId="{DF91A5C3-6D55-4A5A-BA2F-2959179A44C5}" type="pres">
      <dgm:prSet presAssocID="{00190EF0-BE0A-46F7-B42B-6675EE3AE2D5}" presName="connectorText" presStyleLbl="sibTrans2D1" presStyleIdx="6" presStyleCnt="12"/>
      <dgm:spPr/>
    </dgm:pt>
    <dgm:pt modelId="{1249A97D-1E7E-4697-ACF2-2454E1BE6D80}" type="pres">
      <dgm:prSet presAssocID="{5CF1F6B5-2A4F-4143-8278-374C045085F0}" presName="node" presStyleLbl="node1" presStyleIdx="6" presStyleCnt="12" custScaleX="132282" custScaleY="123360">
        <dgm:presLayoutVars>
          <dgm:bulletEnabled val="1"/>
        </dgm:presLayoutVars>
      </dgm:prSet>
      <dgm:spPr/>
    </dgm:pt>
    <dgm:pt modelId="{D51CECD3-5FA5-40FE-9AA1-0DE2CF7AC2B5}" type="pres">
      <dgm:prSet presAssocID="{15F95595-81DA-4622-8BA3-87A3A99DCDAD}" presName="parTrans" presStyleLbl="sibTrans2D1" presStyleIdx="7" presStyleCnt="12" custScaleX="132282" custScaleY="123360"/>
      <dgm:spPr/>
    </dgm:pt>
    <dgm:pt modelId="{51C9ABC9-F61A-499C-B0EC-D9B2BB63FA4F}" type="pres">
      <dgm:prSet presAssocID="{15F95595-81DA-4622-8BA3-87A3A99DCDAD}" presName="connectorText" presStyleLbl="sibTrans2D1" presStyleIdx="7" presStyleCnt="12"/>
      <dgm:spPr/>
    </dgm:pt>
    <dgm:pt modelId="{C18D5D2D-8BAB-4FD7-8642-69E153A679C0}" type="pres">
      <dgm:prSet presAssocID="{6C8025B1-77FC-4504-9836-C9FF1983EF12}" presName="node" presStyleLbl="node1" presStyleIdx="7" presStyleCnt="12" custScaleX="132282" custScaleY="123360">
        <dgm:presLayoutVars>
          <dgm:bulletEnabled val="1"/>
        </dgm:presLayoutVars>
      </dgm:prSet>
      <dgm:spPr/>
    </dgm:pt>
    <dgm:pt modelId="{AD285C86-99EF-4EE0-8A3D-A4E6DBC0D694}" type="pres">
      <dgm:prSet presAssocID="{3309E33B-0BBF-41C6-AB35-FCB84E2E77C2}" presName="parTrans" presStyleLbl="sibTrans2D1" presStyleIdx="8" presStyleCnt="12" custScaleX="132282" custScaleY="123360"/>
      <dgm:spPr/>
    </dgm:pt>
    <dgm:pt modelId="{364474A8-58FF-49F2-91E1-D313A84FA68F}" type="pres">
      <dgm:prSet presAssocID="{3309E33B-0BBF-41C6-AB35-FCB84E2E77C2}" presName="connectorText" presStyleLbl="sibTrans2D1" presStyleIdx="8" presStyleCnt="12"/>
      <dgm:spPr/>
    </dgm:pt>
    <dgm:pt modelId="{4A46AD7A-02D7-4646-8781-023F6EAB0198}" type="pres">
      <dgm:prSet presAssocID="{CB068A56-99DB-479D-8FA2-507B4722FE18}" presName="node" presStyleLbl="node1" presStyleIdx="8" presStyleCnt="12" custScaleX="132282" custScaleY="123360">
        <dgm:presLayoutVars>
          <dgm:bulletEnabled val="1"/>
        </dgm:presLayoutVars>
      </dgm:prSet>
      <dgm:spPr/>
    </dgm:pt>
    <dgm:pt modelId="{DCF5213E-A2FE-4272-A4D2-4DB13EB4CC5E}" type="pres">
      <dgm:prSet presAssocID="{1AC36CBE-BC04-49A1-9FB3-18896AA7C919}" presName="parTrans" presStyleLbl="sibTrans2D1" presStyleIdx="9" presStyleCnt="12" custScaleX="132282" custScaleY="123360"/>
      <dgm:spPr/>
    </dgm:pt>
    <dgm:pt modelId="{770F4081-44CE-4AA9-A72C-2F5574F2241D}" type="pres">
      <dgm:prSet presAssocID="{1AC36CBE-BC04-49A1-9FB3-18896AA7C919}" presName="connectorText" presStyleLbl="sibTrans2D1" presStyleIdx="9" presStyleCnt="12"/>
      <dgm:spPr/>
    </dgm:pt>
    <dgm:pt modelId="{3AFBC3A6-EDF9-4A27-AD82-9739EE337C38}" type="pres">
      <dgm:prSet presAssocID="{9CAD6C3F-B9FB-4114-8F44-532A4E9BCB66}" presName="node" presStyleLbl="node1" presStyleIdx="9" presStyleCnt="12" custScaleX="132282" custScaleY="123360">
        <dgm:presLayoutVars>
          <dgm:bulletEnabled val="1"/>
        </dgm:presLayoutVars>
      </dgm:prSet>
      <dgm:spPr/>
    </dgm:pt>
    <dgm:pt modelId="{58FDE759-4D53-43AE-B42D-8BB0EBAD8914}" type="pres">
      <dgm:prSet presAssocID="{EC177332-F6E4-4F5A-B7DF-23FE1805D610}" presName="parTrans" presStyleLbl="sibTrans2D1" presStyleIdx="10" presStyleCnt="12"/>
      <dgm:spPr/>
    </dgm:pt>
    <dgm:pt modelId="{FC923175-9520-4830-B726-C87A32B47ECE}" type="pres">
      <dgm:prSet presAssocID="{EC177332-F6E4-4F5A-B7DF-23FE1805D610}" presName="connectorText" presStyleLbl="sibTrans2D1" presStyleIdx="10" presStyleCnt="12"/>
      <dgm:spPr/>
    </dgm:pt>
    <dgm:pt modelId="{4E72A130-DD15-48C6-B4A3-7EF2061DD2D7}" type="pres">
      <dgm:prSet presAssocID="{53838E7A-20CF-494C-A966-3A954CD59548}" presName="node" presStyleLbl="node1" presStyleIdx="10" presStyleCnt="12">
        <dgm:presLayoutVars>
          <dgm:bulletEnabled val="1"/>
        </dgm:presLayoutVars>
      </dgm:prSet>
      <dgm:spPr/>
    </dgm:pt>
    <dgm:pt modelId="{0A08BE8D-CA11-40BC-9938-E1054833D514}" type="pres">
      <dgm:prSet presAssocID="{4D2D540B-6734-4194-841F-0474B43D0FBD}" presName="parTrans" presStyleLbl="sibTrans2D1" presStyleIdx="11" presStyleCnt="12"/>
      <dgm:spPr/>
    </dgm:pt>
    <dgm:pt modelId="{1EA20540-2098-4544-BE1D-87F4FF6F0429}" type="pres">
      <dgm:prSet presAssocID="{4D2D540B-6734-4194-841F-0474B43D0FBD}" presName="connectorText" presStyleLbl="sibTrans2D1" presStyleIdx="11" presStyleCnt="12"/>
      <dgm:spPr/>
    </dgm:pt>
    <dgm:pt modelId="{4A735271-A3BC-45B7-AADC-A9CC02BC33D2}" type="pres">
      <dgm:prSet presAssocID="{6A0E01A7-BE53-4AC1-B82B-699880593C96}" presName="node" presStyleLbl="node1" presStyleIdx="11" presStyleCnt="12">
        <dgm:presLayoutVars>
          <dgm:bulletEnabled val="1"/>
        </dgm:presLayoutVars>
      </dgm:prSet>
      <dgm:spPr/>
    </dgm:pt>
  </dgm:ptLst>
  <dgm:cxnLst>
    <dgm:cxn modelId="{330CFC0A-A77E-4D8D-8EE6-E310E9DA3391}" type="presOf" srcId="{EC177332-F6E4-4F5A-B7DF-23FE1805D610}" destId="{58FDE759-4D53-43AE-B42D-8BB0EBAD8914}" srcOrd="0" destOrd="0" presId="urn:microsoft.com/office/officeart/2005/8/layout/radial5"/>
    <dgm:cxn modelId="{BE8EE010-1ECC-4D80-BEB5-1214C34EBB3F}" srcId="{89A416E7-8242-41EF-BD2C-D85AB0DF13E9}" destId="{9CAD6C3F-B9FB-4114-8F44-532A4E9BCB66}" srcOrd="9" destOrd="0" parTransId="{1AC36CBE-BC04-49A1-9FB3-18896AA7C919}" sibTransId="{459820A6-7B50-4746-8CBF-B12A03726112}"/>
    <dgm:cxn modelId="{29C91C18-891A-4A09-9792-5CCC6CC413EE}" srcId="{89A416E7-8242-41EF-BD2C-D85AB0DF13E9}" destId="{B22B9D8E-A0A0-42B0-8934-63F5081460C1}" srcOrd="2" destOrd="0" parTransId="{19CD96F3-F9BE-43BC-95FF-11E42BD57DE7}" sibTransId="{74B2D4FF-DCB1-4B7B-B533-4B11875CADDA}"/>
    <dgm:cxn modelId="{469C151B-2460-48C6-ADEF-29EFEF6012CC}" type="presOf" srcId="{1AC36CBE-BC04-49A1-9FB3-18896AA7C919}" destId="{DCF5213E-A2FE-4272-A4D2-4DB13EB4CC5E}" srcOrd="0" destOrd="0" presId="urn:microsoft.com/office/officeart/2005/8/layout/radial5"/>
    <dgm:cxn modelId="{DD78521F-B1BC-4F16-AEFA-366D3B8F9526}" type="presOf" srcId="{72446CB1-E915-4025-AFF0-E08A8D94A142}" destId="{A426699B-ADF5-4066-85DE-CB944486EC4F}" srcOrd="0" destOrd="0" presId="urn:microsoft.com/office/officeart/2005/8/layout/radial5"/>
    <dgm:cxn modelId="{EADFE720-84DC-4300-8539-FE5652EA5F72}" srcId="{89A416E7-8242-41EF-BD2C-D85AB0DF13E9}" destId="{6A0E01A7-BE53-4AC1-B82B-699880593C96}" srcOrd="11" destOrd="0" parTransId="{4D2D540B-6734-4194-841F-0474B43D0FBD}" sibTransId="{BF8E060C-1D15-429F-A59F-B022982B88F5}"/>
    <dgm:cxn modelId="{7A5F3D23-CEB6-49E8-A6FF-FB86B8375F4E}" type="presOf" srcId="{4D2D540B-6734-4194-841F-0474B43D0FBD}" destId="{1EA20540-2098-4544-BE1D-87F4FF6F0429}" srcOrd="1" destOrd="0" presId="urn:microsoft.com/office/officeart/2005/8/layout/radial5"/>
    <dgm:cxn modelId="{1057AA24-17F4-46CB-A7DA-89B8FB52C8E6}" type="presOf" srcId="{15F95595-81DA-4622-8BA3-87A3A99DCDAD}" destId="{D51CECD3-5FA5-40FE-9AA1-0DE2CF7AC2B5}" srcOrd="0" destOrd="0" presId="urn:microsoft.com/office/officeart/2005/8/layout/radial5"/>
    <dgm:cxn modelId="{393E1825-FF4B-44D3-B5DD-D5412546B8F2}" srcId="{89A416E7-8242-41EF-BD2C-D85AB0DF13E9}" destId="{5CF1F6B5-2A4F-4143-8278-374C045085F0}" srcOrd="6" destOrd="0" parTransId="{00190EF0-BE0A-46F7-B42B-6675EE3AE2D5}" sibTransId="{BE59DFF7-40BA-4DB5-A8C2-CA13893CD7DC}"/>
    <dgm:cxn modelId="{F1DE7425-68FD-4B5F-B17E-21FAA11FD372}" type="presOf" srcId="{D29D817F-4179-4341-8EC5-98C059DDDDF5}" destId="{8A0A5109-871B-4D26-8705-7B76034F1255}" srcOrd="0" destOrd="0" presId="urn:microsoft.com/office/officeart/2005/8/layout/radial5"/>
    <dgm:cxn modelId="{67B23926-4702-4DC9-A95C-62B4ECF50501}" type="presOf" srcId="{D24E68A4-94E9-4311-B02D-D70F1916DDF3}" destId="{97310E23-07B1-4197-86D8-E57DD601BEAC}" srcOrd="0" destOrd="0" presId="urn:microsoft.com/office/officeart/2005/8/layout/radial5"/>
    <dgm:cxn modelId="{EAEBFC26-CD5F-45ED-BA67-5F0285C95A6B}" type="presOf" srcId="{A0671530-05D0-4B0A-ABE1-9B11862A1BFC}" destId="{67AE2DAE-550A-4845-AA9B-B44533D6401A}" srcOrd="0" destOrd="0" presId="urn:microsoft.com/office/officeart/2005/8/layout/radial5"/>
    <dgm:cxn modelId="{EFF1A32B-098A-47CF-82E2-97E799FFB20D}" srcId="{A0671530-05D0-4B0A-ABE1-9B11862A1BFC}" destId="{89A416E7-8242-41EF-BD2C-D85AB0DF13E9}" srcOrd="0" destOrd="0" parTransId="{92238A66-FFC1-4688-B37A-08EC90A088F2}" sibTransId="{8E04A5AC-BEC2-4FE8-8DE3-94D64177BD4A}"/>
    <dgm:cxn modelId="{56B7082D-51B5-4D51-9FB4-05D838354DFD}" srcId="{89A416E7-8242-41EF-BD2C-D85AB0DF13E9}" destId="{D29D817F-4179-4341-8EC5-98C059DDDDF5}" srcOrd="5" destOrd="0" parTransId="{D2017F14-DA33-4566-A73C-E5282789B75D}" sibTransId="{0918A26E-557A-4261-A35E-4D0ACD4EF717}"/>
    <dgm:cxn modelId="{0E125C2D-BDA5-4324-9AA6-B81CB60A248D}" type="presOf" srcId="{3309E33B-0BBF-41C6-AB35-FCB84E2E77C2}" destId="{364474A8-58FF-49F2-91E1-D313A84FA68F}" srcOrd="1" destOrd="0" presId="urn:microsoft.com/office/officeart/2005/8/layout/radial5"/>
    <dgm:cxn modelId="{4AA7D231-9B60-40BD-B835-21B1D6DB8D39}" srcId="{89A416E7-8242-41EF-BD2C-D85AB0DF13E9}" destId="{CB068A56-99DB-479D-8FA2-507B4722FE18}" srcOrd="8" destOrd="0" parTransId="{3309E33B-0BBF-41C6-AB35-FCB84E2E77C2}" sibTransId="{4773F2C6-4859-44E9-8751-2E437110DAA3}"/>
    <dgm:cxn modelId="{6DC87137-3C74-4736-A715-4D196A679405}" type="presOf" srcId="{89A416E7-8242-41EF-BD2C-D85AB0DF13E9}" destId="{3583D372-30CC-43D2-BC52-CB93CF9645E8}" srcOrd="0" destOrd="0" presId="urn:microsoft.com/office/officeart/2005/8/layout/radial5"/>
    <dgm:cxn modelId="{3ADAC23F-2276-4627-AC79-21BD695C865C}" type="presOf" srcId="{53838E7A-20CF-494C-A966-3A954CD59548}" destId="{4E72A130-DD15-48C6-B4A3-7EF2061DD2D7}" srcOrd="0" destOrd="0" presId="urn:microsoft.com/office/officeart/2005/8/layout/radial5"/>
    <dgm:cxn modelId="{5407875B-47A7-47E2-A7AA-67F84D9A9DFC}" srcId="{89A416E7-8242-41EF-BD2C-D85AB0DF13E9}" destId="{72446CB1-E915-4025-AFF0-E08A8D94A142}" srcOrd="0" destOrd="0" parTransId="{AE3F9EAF-1AE7-48F6-BAB6-FB6A231641C8}" sibTransId="{AEE12BF4-E201-41B9-8D16-FB5AE29B7103}"/>
    <dgm:cxn modelId="{A003555F-0BDD-4410-87F6-D8BDB28F500C}" type="presOf" srcId="{D2017F14-DA33-4566-A73C-E5282789B75D}" destId="{AD9E95AD-347F-40A4-AC59-DD0793E31808}" srcOrd="1" destOrd="0" presId="urn:microsoft.com/office/officeart/2005/8/layout/radial5"/>
    <dgm:cxn modelId="{7C8DAE61-53F8-41EC-BDAA-A1E69A6DCC98}" type="presOf" srcId="{4D2D540B-6734-4194-841F-0474B43D0FBD}" destId="{0A08BE8D-CA11-40BC-9938-E1054833D514}" srcOrd="0" destOrd="0" presId="urn:microsoft.com/office/officeart/2005/8/layout/radial5"/>
    <dgm:cxn modelId="{76B16F42-3FCC-46FC-A7CB-AE9308993263}" type="presOf" srcId="{5D9FC363-33D3-48EC-B397-36D5A4B83AC7}" destId="{3F5E5C1E-F323-4ACB-8F14-46D1965F15F7}" srcOrd="0" destOrd="0" presId="urn:microsoft.com/office/officeart/2005/8/layout/radial5"/>
    <dgm:cxn modelId="{1FB38465-8FF3-4B78-9AB2-23D094C03961}" type="presOf" srcId="{DA19C8DC-837E-46E3-9331-4A10331D7941}" destId="{64A581B0-05AB-48C2-BB3B-8B11A23F31B5}" srcOrd="0" destOrd="0" presId="urn:microsoft.com/office/officeart/2005/8/layout/radial5"/>
    <dgm:cxn modelId="{53590867-8C59-4F89-891D-3BB993A3A6B7}" type="presOf" srcId="{E7BBEC47-ED4F-4846-9675-9AD82B472F76}" destId="{F8D41C97-644F-4E70-82C0-043424C0D784}" srcOrd="0" destOrd="0" presId="urn:microsoft.com/office/officeart/2005/8/layout/radial5"/>
    <dgm:cxn modelId="{FC48966C-C7BA-4604-A615-0383A8320BF0}" type="presOf" srcId="{00190EF0-BE0A-46F7-B42B-6675EE3AE2D5}" destId="{DF91A5C3-6D55-4A5A-BA2F-2959179A44C5}" srcOrd="1" destOrd="0" presId="urn:microsoft.com/office/officeart/2005/8/layout/radial5"/>
    <dgm:cxn modelId="{91EA486D-177A-4320-89A4-D544E40565D9}" type="presOf" srcId="{797BBB37-8560-4A71-ABD4-79C2747CCBFF}" destId="{91FF300D-1889-4E63-947B-4FA763FA9770}" srcOrd="0" destOrd="0" presId="urn:microsoft.com/office/officeart/2005/8/layout/radial5"/>
    <dgm:cxn modelId="{BDED3C6E-0B06-4777-8D5C-C8E37DC9C58F}" type="presOf" srcId="{19CD96F3-F9BE-43BC-95FF-11E42BD57DE7}" destId="{ABDBF3C5-F9CE-412E-BBF7-1753FFC1ACDA}" srcOrd="1" destOrd="0" presId="urn:microsoft.com/office/officeart/2005/8/layout/radial5"/>
    <dgm:cxn modelId="{24292E58-74F8-4662-818E-4D491677B202}" type="presOf" srcId="{AE3F9EAF-1AE7-48F6-BAB6-FB6A231641C8}" destId="{F78DEA2C-5768-444D-AB7B-EFD4EBDBB011}" srcOrd="1" destOrd="0" presId="urn:microsoft.com/office/officeart/2005/8/layout/radial5"/>
    <dgm:cxn modelId="{24087879-F91E-4302-8FBF-D590DEBE0C9C}" srcId="{89A416E7-8242-41EF-BD2C-D85AB0DF13E9}" destId="{D24E68A4-94E9-4311-B02D-D70F1916DDF3}" srcOrd="4" destOrd="0" parTransId="{E7BBEC47-ED4F-4846-9675-9AD82B472F76}" sibTransId="{582FB20D-3295-46E7-B1C2-08067F2FD33C}"/>
    <dgm:cxn modelId="{E561427B-0DFD-449B-82F3-08922C4916C3}" type="presOf" srcId="{B22B9D8E-A0A0-42B0-8934-63F5081460C1}" destId="{D688AA2D-FC0F-4915-B3BA-ACF104CA6417}" srcOrd="0" destOrd="0" presId="urn:microsoft.com/office/officeart/2005/8/layout/radial5"/>
    <dgm:cxn modelId="{047A4D7D-10CE-4202-B534-6D8BADC62F12}" type="presOf" srcId="{6A0E01A7-BE53-4AC1-B82B-699880593C96}" destId="{4A735271-A3BC-45B7-AADC-A9CC02BC33D2}" srcOrd="0" destOrd="0" presId="urn:microsoft.com/office/officeart/2005/8/layout/radial5"/>
    <dgm:cxn modelId="{CB2B7080-471E-4B35-974B-4ED53CE0004C}" type="presOf" srcId="{AE3F9EAF-1AE7-48F6-BAB6-FB6A231641C8}" destId="{DD3D0358-1293-46C5-891D-18B2CC9CC8E0}" srcOrd="0" destOrd="0" presId="urn:microsoft.com/office/officeart/2005/8/layout/radial5"/>
    <dgm:cxn modelId="{F75CE287-D66B-4F9C-973C-B6631D420922}" type="presOf" srcId="{9CAD6C3F-B9FB-4114-8F44-532A4E9BCB66}" destId="{3AFBC3A6-EDF9-4A27-AD82-9739EE337C38}" srcOrd="0" destOrd="0" presId="urn:microsoft.com/office/officeart/2005/8/layout/radial5"/>
    <dgm:cxn modelId="{9DC09089-3B4D-4CF1-8486-FA50FE16662E}" type="presOf" srcId="{00190EF0-BE0A-46F7-B42B-6675EE3AE2D5}" destId="{3EA27E8B-A167-4E9E-93F5-5AF867B7514C}" srcOrd="0" destOrd="0" presId="urn:microsoft.com/office/officeart/2005/8/layout/radial5"/>
    <dgm:cxn modelId="{0B66E691-967D-43B8-993C-F16B2E95B0A1}" srcId="{89A416E7-8242-41EF-BD2C-D85AB0DF13E9}" destId="{DA19C8DC-837E-46E3-9331-4A10331D7941}" srcOrd="3" destOrd="0" parTransId="{CADBCD33-C3C0-4503-8001-5DCD13FB9006}" sibTransId="{9EE2F399-1894-4D34-B63B-946C747ECBC6}"/>
    <dgm:cxn modelId="{349D5394-DBEE-4821-ADBE-E9B4081944D0}" srcId="{89A416E7-8242-41EF-BD2C-D85AB0DF13E9}" destId="{797BBB37-8560-4A71-ABD4-79C2747CCBFF}" srcOrd="1" destOrd="0" parTransId="{5D9FC363-33D3-48EC-B397-36D5A4B83AC7}" sibTransId="{8677EC9E-7EE1-4696-BCBA-9267D7319FA7}"/>
    <dgm:cxn modelId="{DEA50395-A23D-4708-8D21-483477A955E7}" type="presOf" srcId="{5CF1F6B5-2A4F-4143-8278-374C045085F0}" destId="{1249A97D-1E7E-4697-ACF2-2454E1BE6D80}" srcOrd="0" destOrd="0" presId="urn:microsoft.com/office/officeart/2005/8/layout/radial5"/>
    <dgm:cxn modelId="{9336F799-0CF2-4B60-A457-59989A46AE96}" type="presOf" srcId="{19CD96F3-F9BE-43BC-95FF-11E42BD57DE7}" destId="{2B01D8B1-EEF0-4B98-B93E-794E8C7FB56D}" srcOrd="0" destOrd="0" presId="urn:microsoft.com/office/officeart/2005/8/layout/radial5"/>
    <dgm:cxn modelId="{C6AFA2B7-3F4A-4E4E-8739-762CFD2E5496}" srcId="{89A416E7-8242-41EF-BD2C-D85AB0DF13E9}" destId="{53838E7A-20CF-494C-A966-3A954CD59548}" srcOrd="10" destOrd="0" parTransId="{EC177332-F6E4-4F5A-B7DF-23FE1805D610}" sibTransId="{76EA5A4E-9EC5-4964-89DB-027EA4BFC60A}"/>
    <dgm:cxn modelId="{705BBDBF-C3D0-49DC-AB14-3D0B25E13804}" type="presOf" srcId="{EC177332-F6E4-4F5A-B7DF-23FE1805D610}" destId="{FC923175-9520-4830-B726-C87A32B47ECE}" srcOrd="1" destOrd="0" presId="urn:microsoft.com/office/officeart/2005/8/layout/radial5"/>
    <dgm:cxn modelId="{8D261BC1-7C9F-4056-9491-EC7D3E0F3DBD}" type="presOf" srcId="{3309E33B-0BBF-41C6-AB35-FCB84E2E77C2}" destId="{AD285C86-99EF-4EE0-8A3D-A4E6DBC0D694}" srcOrd="0" destOrd="0" presId="urn:microsoft.com/office/officeart/2005/8/layout/radial5"/>
    <dgm:cxn modelId="{1CD831C3-4E26-4F3B-A97B-DF8881528807}" type="presOf" srcId="{E7BBEC47-ED4F-4846-9675-9AD82B472F76}" destId="{C788E0E4-4E45-45E1-A23D-CB24F6C884C1}" srcOrd="1" destOrd="0" presId="urn:microsoft.com/office/officeart/2005/8/layout/radial5"/>
    <dgm:cxn modelId="{CEFFE0C8-C9C4-449D-BEA0-09C227641CC4}" type="presOf" srcId="{CADBCD33-C3C0-4503-8001-5DCD13FB9006}" destId="{25FE0500-914D-4D39-AD23-5ED91CD4A0CD}" srcOrd="0" destOrd="0" presId="urn:microsoft.com/office/officeart/2005/8/layout/radial5"/>
    <dgm:cxn modelId="{2E3761CA-EC75-49C9-8263-B272C69FEE17}" type="presOf" srcId="{6C8025B1-77FC-4504-9836-C9FF1983EF12}" destId="{C18D5D2D-8BAB-4FD7-8642-69E153A679C0}" srcOrd="0" destOrd="0" presId="urn:microsoft.com/office/officeart/2005/8/layout/radial5"/>
    <dgm:cxn modelId="{7799F2CE-5A28-49C5-A8A0-5C5B37F4C838}" type="presOf" srcId="{15F95595-81DA-4622-8BA3-87A3A99DCDAD}" destId="{51C9ABC9-F61A-499C-B0EC-D9B2BB63FA4F}" srcOrd="1" destOrd="0" presId="urn:microsoft.com/office/officeart/2005/8/layout/radial5"/>
    <dgm:cxn modelId="{C8FFF6CF-DAA8-42BD-8FE0-CF79181091BD}" srcId="{89A416E7-8242-41EF-BD2C-D85AB0DF13E9}" destId="{6C8025B1-77FC-4504-9836-C9FF1983EF12}" srcOrd="7" destOrd="0" parTransId="{15F95595-81DA-4622-8BA3-87A3A99DCDAD}" sibTransId="{06B9F6AC-4AAA-4661-99DD-C2171BEFB700}"/>
    <dgm:cxn modelId="{E1C62FDF-10A9-47A9-82FC-D62AD3F43E25}" type="presOf" srcId="{1AC36CBE-BC04-49A1-9FB3-18896AA7C919}" destId="{770F4081-44CE-4AA9-A72C-2F5574F2241D}" srcOrd="1" destOrd="0" presId="urn:microsoft.com/office/officeart/2005/8/layout/radial5"/>
    <dgm:cxn modelId="{078BF1E0-191E-4E80-A718-43E916F7935D}" type="presOf" srcId="{5D9FC363-33D3-48EC-B397-36D5A4B83AC7}" destId="{1A97C096-41F6-409F-8EB8-2A252236F5E8}" srcOrd="1" destOrd="0" presId="urn:microsoft.com/office/officeart/2005/8/layout/radial5"/>
    <dgm:cxn modelId="{440F88F8-6542-4B16-BA8B-A53D23EE7EA5}" type="presOf" srcId="{D2017F14-DA33-4566-A73C-E5282789B75D}" destId="{3AF7A5DB-AEFF-4456-8BA2-D37581A13EB9}" srcOrd="0" destOrd="0" presId="urn:microsoft.com/office/officeart/2005/8/layout/radial5"/>
    <dgm:cxn modelId="{380619FA-3CD1-4102-ACA9-6E9501EB8759}" type="presOf" srcId="{CADBCD33-C3C0-4503-8001-5DCD13FB9006}" destId="{9366D32C-2224-48FC-970A-F0DF3451B380}" srcOrd="1" destOrd="0" presId="urn:microsoft.com/office/officeart/2005/8/layout/radial5"/>
    <dgm:cxn modelId="{5C98CEFC-B351-48A8-B242-685CF91FEA34}" type="presOf" srcId="{CB068A56-99DB-479D-8FA2-507B4722FE18}" destId="{4A46AD7A-02D7-4646-8781-023F6EAB0198}" srcOrd="0" destOrd="0" presId="urn:microsoft.com/office/officeart/2005/8/layout/radial5"/>
    <dgm:cxn modelId="{B72C0469-98EB-4C6E-B170-9CAE017537EC}" type="presParOf" srcId="{67AE2DAE-550A-4845-AA9B-B44533D6401A}" destId="{3583D372-30CC-43D2-BC52-CB93CF9645E8}" srcOrd="0" destOrd="0" presId="urn:microsoft.com/office/officeart/2005/8/layout/radial5"/>
    <dgm:cxn modelId="{8F324750-0AEB-4DEF-BBC0-7A02BC03E882}" type="presParOf" srcId="{67AE2DAE-550A-4845-AA9B-B44533D6401A}" destId="{DD3D0358-1293-46C5-891D-18B2CC9CC8E0}" srcOrd="1" destOrd="0" presId="urn:microsoft.com/office/officeart/2005/8/layout/radial5"/>
    <dgm:cxn modelId="{9BA66B74-04A0-4B28-861A-24452F77CEDA}" type="presParOf" srcId="{DD3D0358-1293-46C5-891D-18B2CC9CC8E0}" destId="{F78DEA2C-5768-444D-AB7B-EFD4EBDBB011}" srcOrd="0" destOrd="0" presId="urn:microsoft.com/office/officeart/2005/8/layout/radial5"/>
    <dgm:cxn modelId="{7F707BB3-C327-47B0-86FA-FB5F7D5DA5E4}" type="presParOf" srcId="{67AE2DAE-550A-4845-AA9B-B44533D6401A}" destId="{A426699B-ADF5-4066-85DE-CB944486EC4F}" srcOrd="2" destOrd="0" presId="urn:microsoft.com/office/officeart/2005/8/layout/radial5"/>
    <dgm:cxn modelId="{0588D7D2-84F5-4A14-AFBA-612A41EA4BC1}" type="presParOf" srcId="{67AE2DAE-550A-4845-AA9B-B44533D6401A}" destId="{3F5E5C1E-F323-4ACB-8F14-46D1965F15F7}" srcOrd="3" destOrd="0" presId="urn:microsoft.com/office/officeart/2005/8/layout/radial5"/>
    <dgm:cxn modelId="{88703116-CFD0-4547-B67E-D4B0B8416AF5}" type="presParOf" srcId="{3F5E5C1E-F323-4ACB-8F14-46D1965F15F7}" destId="{1A97C096-41F6-409F-8EB8-2A252236F5E8}" srcOrd="0" destOrd="0" presId="urn:microsoft.com/office/officeart/2005/8/layout/radial5"/>
    <dgm:cxn modelId="{FC497171-F646-466A-A450-63BB79EB01EB}" type="presParOf" srcId="{67AE2DAE-550A-4845-AA9B-B44533D6401A}" destId="{91FF300D-1889-4E63-947B-4FA763FA9770}" srcOrd="4" destOrd="0" presId="urn:microsoft.com/office/officeart/2005/8/layout/radial5"/>
    <dgm:cxn modelId="{A0A573F3-2595-42F9-A925-1DDC76E9F4A3}" type="presParOf" srcId="{67AE2DAE-550A-4845-AA9B-B44533D6401A}" destId="{2B01D8B1-EEF0-4B98-B93E-794E8C7FB56D}" srcOrd="5" destOrd="0" presId="urn:microsoft.com/office/officeart/2005/8/layout/radial5"/>
    <dgm:cxn modelId="{A0969CDA-E0B2-47D0-8A31-250E978385C0}" type="presParOf" srcId="{2B01D8B1-EEF0-4B98-B93E-794E8C7FB56D}" destId="{ABDBF3C5-F9CE-412E-BBF7-1753FFC1ACDA}" srcOrd="0" destOrd="0" presId="urn:microsoft.com/office/officeart/2005/8/layout/radial5"/>
    <dgm:cxn modelId="{933C48D9-10E4-46AC-A778-6159530ECA31}" type="presParOf" srcId="{67AE2DAE-550A-4845-AA9B-B44533D6401A}" destId="{D688AA2D-FC0F-4915-B3BA-ACF104CA6417}" srcOrd="6" destOrd="0" presId="urn:microsoft.com/office/officeart/2005/8/layout/radial5"/>
    <dgm:cxn modelId="{57A5519A-25A2-4868-9712-C3B6E3340E5E}" type="presParOf" srcId="{67AE2DAE-550A-4845-AA9B-B44533D6401A}" destId="{25FE0500-914D-4D39-AD23-5ED91CD4A0CD}" srcOrd="7" destOrd="0" presId="urn:microsoft.com/office/officeart/2005/8/layout/radial5"/>
    <dgm:cxn modelId="{3306DA8A-D45B-4CD6-A332-CF45BEB04BD4}" type="presParOf" srcId="{25FE0500-914D-4D39-AD23-5ED91CD4A0CD}" destId="{9366D32C-2224-48FC-970A-F0DF3451B380}" srcOrd="0" destOrd="0" presId="urn:microsoft.com/office/officeart/2005/8/layout/radial5"/>
    <dgm:cxn modelId="{07A33850-1A8F-4FC8-BE51-87F3D22CE2DA}" type="presParOf" srcId="{67AE2DAE-550A-4845-AA9B-B44533D6401A}" destId="{64A581B0-05AB-48C2-BB3B-8B11A23F31B5}" srcOrd="8" destOrd="0" presId="urn:microsoft.com/office/officeart/2005/8/layout/radial5"/>
    <dgm:cxn modelId="{54634A76-077F-4757-ACBC-F30D40259E02}" type="presParOf" srcId="{67AE2DAE-550A-4845-AA9B-B44533D6401A}" destId="{F8D41C97-644F-4E70-82C0-043424C0D784}" srcOrd="9" destOrd="0" presId="urn:microsoft.com/office/officeart/2005/8/layout/radial5"/>
    <dgm:cxn modelId="{EC0CD54B-523A-4312-86B8-19AB8BB0A287}" type="presParOf" srcId="{F8D41C97-644F-4E70-82C0-043424C0D784}" destId="{C788E0E4-4E45-45E1-A23D-CB24F6C884C1}" srcOrd="0" destOrd="0" presId="urn:microsoft.com/office/officeart/2005/8/layout/radial5"/>
    <dgm:cxn modelId="{72ADF1F3-30F0-45CB-9634-A92BE22A859D}" type="presParOf" srcId="{67AE2DAE-550A-4845-AA9B-B44533D6401A}" destId="{97310E23-07B1-4197-86D8-E57DD601BEAC}" srcOrd="10" destOrd="0" presId="urn:microsoft.com/office/officeart/2005/8/layout/radial5"/>
    <dgm:cxn modelId="{A704D02D-24D0-47AA-914F-1F5709650409}" type="presParOf" srcId="{67AE2DAE-550A-4845-AA9B-B44533D6401A}" destId="{3AF7A5DB-AEFF-4456-8BA2-D37581A13EB9}" srcOrd="11" destOrd="0" presId="urn:microsoft.com/office/officeart/2005/8/layout/radial5"/>
    <dgm:cxn modelId="{737BD3A1-3005-4858-A1E5-E4264A38B474}" type="presParOf" srcId="{3AF7A5DB-AEFF-4456-8BA2-D37581A13EB9}" destId="{AD9E95AD-347F-40A4-AC59-DD0793E31808}" srcOrd="0" destOrd="0" presId="urn:microsoft.com/office/officeart/2005/8/layout/radial5"/>
    <dgm:cxn modelId="{916CE6E0-193B-474B-98A2-E35382E03455}" type="presParOf" srcId="{67AE2DAE-550A-4845-AA9B-B44533D6401A}" destId="{8A0A5109-871B-4D26-8705-7B76034F1255}" srcOrd="12" destOrd="0" presId="urn:microsoft.com/office/officeart/2005/8/layout/radial5"/>
    <dgm:cxn modelId="{1D5FBF97-AAF2-41DB-BFDC-82AD11978951}" type="presParOf" srcId="{67AE2DAE-550A-4845-AA9B-B44533D6401A}" destId="{3EA27E8B-A167-4E9E-93F5-5AF867B7514C}" srcOrd="13" destOrd="0" presId="urn:microsoft.com/office/officeart/2005/8/layout/radial5"/>
    <dgm:cxn modelId="{E4E2ACA1-719F-4F07-B176-5D8F598DAEF6}" type="presParOf" srcId="{3EA27E8B-A167-4E9E-93F5-5AF867B7514C}" destId="{DF91A5C3-6D55-4A5A-BA2F-2959179A44C5}" srcOrd="0" destOrd="0" presId="urn:microsoft.com/office/officeart/2005/8/layout/radial5"/>
    <dgm:cxn modelId="{ED14FBBC-EEC3-486B-A606-1916AE162BDF}" type="presParOf" srcId="{67AE2DAE-550A-4845-AA9B-B44533D6401A}" destId="{1249A97D-1E7E-4697-ACF2-2454E1BE6D80}" srcOrd="14" destOrd="0" presId="urn:microsoft.com/office/officeart/2005/8/layout/radial5"/>
    <dgm:cxn modelId="{494ABB67-A856-48AF-8B79-E2D825BEC7A7}" type="presParOf" srcId="{67AE2DAE-550A-4845-AA9B-B44533D6401A}" destId="{D51CECD3-5FA5-40FE-9AA1-0DE2CF7AC2B5}" srcOrd="15" destOrd="0" presId="urn:microsoft.com/office/officeart/2005/8/layout/radial5"/>
    <dgm:cxn modelId="{8A5FEAED-6032-443F-AF5B-B24546A6D4A6}" type="presParOf" srcId="{D51CECD3-5FA5-40FE-9AA1-0DE2CF7AC2B5}" destId="{51C9ABC9-F61A-499C-B0EC-D9B2BB63FA4F}" srcOrd="0" destOrd="0" presId="urn:microsoft.com/office/officeart/2005/8/layout/radial5"/>
    <dgm:cxn modelId="{5A26D42C-8A13-4C68-A4E9-3B7AF7B3A246}" type="presParOf" srcId="{67AE2DAE-550A-4845-AA9B-B44533D6401A}" destId="{C18D5D2D-8BAB-4FD7-8642-69E153A679C0}" srcOrd="16" destOrd="0" presId="urn:microsoft.com/office/officeart/2005/8/layout/radial5"/>
    <dgm:cxn modelId="{A092EA07-A4EA-4639-9FF2-F7641577A38C}" type="presParOf" srcId="{67AE2DAE-550A-4845-AA9B-B44533D6401A}" destId="{AD285C86-99EF-4EE0-8A3D-A4E6DBC0D694}" srcOrd="17" destOrd="0" presId="urn:microsoft.com/office/officeart/2005/8/layout/radial5"/>
    <dgm:cxn modelId="{7C5C6128-1631-4A08-8846-D88B90045D19}" type="presParOf" srcId="{AD285C86-99EF-4EE0-8A3D-A4E6DBC0D694}" destId="{364474A8-58FF-49F2-91E1-D313A84FA68F}" srcOrd="0" destOrd="0" presId="urn:microsoft.com/office/officeart/2005/8/layout/radial5"/>
    <dgm:cxn modelId="{D2FC2BF0-9A22-4320-BA7E-EE2B2BD20CB9}" type="presParOf" srcId="{67AE2DAE-550A-4845-AA9B-B44533D6401A}" destId="{4A46AD7A-02D7-4646-8781-023F6EAB0198}" srcOrd="18" destOrd="0" presId="urn:microsoft.com/office/officeart/2005/8/layout/radial5"/>
    <dgm:cxn modelId="{294B0025-3C16-4E4D-A43F-290DDF13D60D}" type="presParOf" srcId="{67AE2DAE-550A-4845-AA9B-B44533D6401A}" destId="{DCF5213E-A2FE-4272-A4D2-4DB13EB4CC5E}" srcOrd="19" destOrd="0" presId="urn:microsoft.com/office/officeart/2005/8/layout/radial5"/>
    <dgm:cxn modelId="{8A72FBF0-EC94-4780-A61C-2579ED34631C}" type="presParOf" srcId="{DCF5213E-A2FE-4272-A4D2-4DB13EB4CC5E}" destId="{770F4081-44CE-4AA9-A72C-2F5574F2241D}" srcOrd="0" destOrd="0" presId="urn:microsoft.com/office/officeart/2005/8/layout/radial5"/>
    <dgm:cxn modelId="{D287F763-F56F-486D-894B-BE4FF7259EA2}" type="presParOf" srcId="{67AE2DAE-550A-4845-AA9B-B44533D6401A}" destId="{3AFBC3A6-EDF9-4A27-AD82-9739EE337C38}" srcOrd="20" destOrd="0" presId="urn:microsoft.com/office/officeart/2005/8/layout/radial5"/>
    <dgm:cxn modelId="{54D94129-5148-4443-8CCC-5994DA145937}" type="presParOf" srcId="{67AE2DAE-550A-4845-AA9B-B44533D6401A}" destId="{58FDE759-4D53-43AE-B42D-8BB0EBAD8914}" srcOrd="21" destOrd="0" presId="urn:microsoft.com/office/officeart/2005/8/layout/radial5"/>
    <dgm:cxn modelId="{B97C0C78-5836-4AF7-962B-BC763AD5D8A7}" type="presParOf" srcId="{58FDE759-4D53-43AE-B42D-8BB0EBAD8914}" destId="{FC923175-9520-4830-B726-C87A32B47ECE}" srcOrd="0" destOrd="0" presId="urn:microsoft.com/office/officeart/2005/8/layout/radial5"/>
    <dgm:cxn modelId="{07503D26-702E-4DF4-B20B-C3B69C7568A2}" type="presParOf" srcId="{67AE2DAE-550A-4845-AA9B-B44533D6401A}" destId="{4E72A130-DD15-48C6-B4A3-7EF2061DD2D7}" srcOrd="22" destOrd="0" presId="urn:microsoft.com/office/officeart/2005/8/layout/radial5"/>
    <dgm:cxn modelId="{80A99D5C-522A-41DC-BDF0-9F951A25650B}" type="presParOf" srcId="{67AE2DAE-550A-4845-AA9B-B44533D6401A}" destId="{0A08BE8D-CA11-40BC-9938-E1054833D514}" srcOrd="23" destOrd="0" presId="urn:microsoft.com/office/officeart/2005/8/layout/radial5"/>
    <dgm:cxn modelId="{2FDF0B65-F2AC-4DFA-A373-C2F3799E5FA6}" type="presParOf" srcId="{0A08BE8D-CA11-40BC-9938-E1054833D514}" destId="{1EA20540-2098-4544-BE1D-87F4FF6F0429}" srcOrd="0" destOrd="0" presId="urn:microsoft.com/office/officeart/2005/8/layout/radial5"/>
    <dgm:cxn modelId="{5505AF81-9E06-478F-A889-7A041BF4F4D7}" type="presParOf" srcId="{67AE2DAE-550A-4845-AA9B-B44533D6401A}" destId="{4A735271-A3BC-45B7-AADC-A9CC02BC33D2}" srcOrd="24"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AFE2DE7-7D5C-4A8B-8E2D-97DE1A0527BE}" type="doc">
      <dgm:prSet loTypeId="urn:microsoft.com/office/officeart/2005/8/layout/default" loCatId="list" qsTypeId="urn:microsoft.com/office/officeart/2005/8/quickstyle/simple3" qsCatId="simple" csTypeId="urn:microsoft.com/office/officeart/2005/8/colors/colorful5" csCatId="colorful" phldr="1"/>
      <dgm:spPr/>
      <dgm:t>
        <a:bodyPr/>
        <a:lstStyle/>
        <a:p>
          <a:endParaRPr lang="en-US"/>
        </a:p>
      </dgm:t>
    </dgm:pt>
    <dgm:pt modelId="{6070A501-6078-48F0-8E1E-41724C4606D4}">
      <dgm:prSet phldrT="[Text]"/>
      <dgm:spPr/>
      <dgm:t>
        <a:bodyPr/>
        <a:lstStyle/>
        <a:p>
          <a:r>
            <a:rPr lang="en-US" dirty="0">
              <a:solidFill>
                <a:srgbClr val="FFFFFF"/>
              </a:solidFill>
            </a:rPr>
            <a:t>Open</a:t>
          </a:r>
        </a:p>
      </dgm:t>
    </dgm:pt>
    <dgm:pt modelId="{9955713A-C082-428C-9907-8A2ACABBE068}" type="parTrans" cxnId="{54834B33-FA7D-4538-85C9-D86BAB820C61}">
      <dgm:prSet/>
      <dgm:spPr/>
      <dgm:t>
        <a:bodyPr/>
        <a:lstStyle/>
        <a:p>
          <a:endParaRPr lang="en-US">
            <a:solidFill>
              <a:srgbClr val="FFFFFF"/>
            </a:solidFill>
          </a:endParaRPr>
        </a:p>
      </dgm:t>
    </dgm:pt>
    <dgm:pt modelId="{98709EB1-A52F-4A3F-94F0-CAA495C84039}" type="sibTrans" cxnId="{54834B33-FA7D-4538-85C9-D86BAB820C61}">
      <dgm:prSet/>
      <dgm:spPr/>
      <dgm:t>
        <a:bodyPr/>
        <a:lstStyle/>
        <a:p>
          <a:endParaRPr lang="en-US">
            <a:solidFill>
              <a:srgbClr val="FFFFFF"/>
            </a:solidFill>
          </a:endParaRPr>
        </a:p>
      </dgm:t>
    </dgm:pt>
    <dgm:pt modelId="{2E3A122A-80F2-4BD5-91C9-DA12FC08A60A}">
      <dgm:prSet phldrT="[Text]"/>
      <dgm:spPr/>
      <dgm:t>
        <a:bodyPr/>
        <a:lstStyle/>
        <a:p>
          <a:r>
            <a:rPr lang="en-US" dirty="0">
              <a:solidFill>
                <a:srgbClr val="FFFFFF"/>
              </a:solidFill>
            </a:rPr>
            <a:t>Fast</a:t>
          </a:r>
        </a:p>
      </dgm:t>
    </dgm:pt>
    <dgm:pt modelId="{73959242-76B3-4057-AB37-6F7666F0F5A0}" type="parTrans" cxnId="{CEFC3A39-6849-497D-8F66-5341F0082CD1}">
      <dgm:prSet/>
      <dgm:spPr/>
      <dgm:t>
        <a:bodyPr/>
        <a:lstStyle/>
        <a:p>
          <a:endParaRPr lang="en-US">
            <a:solidFill>
              <a:srgbClr val="FFFFFF"/>
            </a:solidFill>
          </a:endParaRPr>
        </a:p>
      </dgm:t>
    </dgm:pt>
    <dgm:pt modelId="{25056DE9-2A2A-4940-B160-875BB8BE57E0}" type="sibTrans" cxnId="{CEFC3A39-6849-497D-8F66-5341F0082CD1}">
      <dgm:prSet/>
      <dgm:spPr/>
      <dgm:t>
        <a:bodyPr/>
        <a:lstStyle/>
        <a:p>
          <a:endParaRPr lang="en-US">
            <a:solidFill>
              <a:srgbClr val="FFFFFF"/>
            </a:solidFill>
          </a:endParaRPr>
        </a:p>
      </dgm:t>
    </dgm:pt>
    <dgm:pt modelId="{5DE15F62-DB26-4103-A911-1FEA1238B73F}">
      <dgm:prSet phldrT="[Text]"/>
      <dgm:spPr/>
      <dgm:t>
        <a:bodyPr/>
        <a:lstStyle/>
        <a:p>
          <a:r>
            <a:rPr lang="en-US" dirty="0">
              <a:solidFill>
                <a:srgbClr val="FFFFFF"/>
              </a:solidFill>
            </a:rPr>
            <a:t>Secured by cryptography</a:t>
          </a:r>
        </a:p>
      </dgm:t>
    </dgm:pt>
    <dgm:pt modelId="{26A9E516-8775-49E7-8C81-33A1A007746C}" type="parTrans" cxnId="{19C391A0-6A2F-4368-8B4E-2D83CB0A5A17}">
      <dgm:prSet/>
      <dgm:spPr/>
      <dgm:t>
        <a:bodyPr/>
        <a:lstStyle/>
        <a:p>
          <a:endParaRPr lang="en-US">
            <a:solidFill>
              <a:srgbClr val="FFFFFF"/>
            </a:solidFill>
          </a:endParaRPr>
        </a:p>
      </dgm:t>
    </dgm:pt>
    <dgm:pt modelId="{2C99998B-15A2-4574-8A9C-C366EBB83D47}" type="sibTrans" cxnId="{19C391A0-6A2F-4368-8B4E-2D83CB0A5A17}">
      <dgm:prSet/>
      <dgm:spPr/>
      <dgm:t>
        <a:bodyPr/>
        <a:lstStyle/>
        <a:p>
          <a:endParaRPr lang="en-US">
            <a:solidFill>
              <a:srgbClr val="FFFFFF"/>
            </a:solidFill>
          </a:endParaRPr>
        </a:p>
      </dgm:t>
    </dgm:pt>
    <dgm:pt modelId="{D740B3A3-9A2A-41E9-A7E7-A9D065403CA6}">
      <dgm:prSet phldrT="[Text]"/>
      <dgm:spPr/>
      <dgm:t>
        <a:bodyPr/>
        <a:lstStyle/>
        <a:p>
          <a:r>
            <a:rPr lang="en-US" dirty="0">
              <a:solidFill>
                <a:srgbClr val="FFFFFF"/>
              </a:solidFill>
            </a:rPr>
            <a:t>Recorded on the public </a:t>
          </a:r>
          <a:r>
            <a:rPr lang="en-US" dirty="0" err="1">
              <a:solidFill>
                <a:srgbClr val="FFFFFF"/>
              </a:solidFill>
            </a:rPr>
            <a:t>blockchain</a:t>
          </a:r>
          <a:r>
            <a:rPr lang="en-US" dirty="0">
              <a:solidFill>
                <a:srgbClr val="FFFFFF"/>
              </a:solidFill>
            </a:rPr>
            <a:t>, </a:t>
          </a:r>
          <a:r>
            <a:rPr lang="en-US" dirty="0" err="1">
              <a:solidFill>
                <a:srgbClr val="FFFFFF"/>
              </a:solidFill>
            </a:rPr>
            <a:t>tracebility</a:t>
          </a:r>
          <a:endParaRPr lang="en-US" dirty="0">
            <a:solidFill>
              <a:srgbClr val="FFFFFF"/>
            </a:solidFill>
          </a:endParaRPr>
        </a:p>
      </dgm:t>
    </dgm:pt>
    <dgm:pt modelId="{8258EDD9-EAF0-4E55-B001-92D5382671C4}" type="parTrans" cxnId="{71903AA4-7474-4B5E-9B71-AA3C1AB45355}">
      <dgm:prSet/>
      <dgm:spPr/>
      <dgm:t>
        <a:bodyPr/>
        <a:lstStyle/>
        <a:p>
          <a:endParaRPr lang="en-US">
            <a:solidFill>
              <a:srgbClr val="FFFFFF"/>
            </a:solidFill>
          </a:endParaRPr>
        </a:p>
      </dgm:t>
    </dgm:pt>
    <dgm:pt modelId="{0C6FD5BD-865A-414F-BDE9-E2FD1FAEE7EB}" type="sibTrans" cxnId="{71903AA4-7474-4B5E-9B71-AA3C1AB45355}">
      <dgm:prSet/>
      <dgm:spPr/>
      <dgm:t>
        <a:bodyPr/>
        <a:lstStyle/>
        <a:p>
          <a:endParaRPr lang="en-US">
            <a:solidFill>
              <a:srgbClr val="FFFFFF"/>
            </a:solidFill>
          </a:endParaRPr>
        </a:p>
      </dgm:t>
    </dgm:pt>
    <dgm:pt modelId="{E79075EE-462C-4376-B2CB-7C87B08EF235}">
      <dgm:prSet phldrT="[Text]"/>
      <dgm:spPr/>
      <dgm:t>
        <a:bodyPr/>
        <a:lstStyle/>
        <a:p>
          <a:r>
            <a:rPr lang="en-US" dirty="0" err="1">
              <a:solidFill>
                <a:srgbClr val="FFFFFF"/>
              </a:solidFill>
            </a:rPr>
            <a:t>Fungibile</a:t>
          </a:r>
          <a:r>
            <a:rPr lang="en-US" dirty="0">
              <a:solidFill>
                <a:srgbClr val="FFFFFF"/>
              </a:solidFill>
            </a:rPr>
            <a:t> (?)</a:t>
          </a:r>
        </a:p>
      </dgm:t>
    </dgm:pt>
    <dgm:pt modelId="{E5E01EBB-B509-4BD7-BB38-82DD3F135D27}" type="parTrans" cxnId="{862E1E11-C133-42E3-A952-EA0621BC0206}">
      <dgm:prSet/>
      <dgm:spPr/>
      <dgm:t>
        <a:bodyPr/>
        <a:lstStyle/>
        <a:p>
          <a:endParaRPr lang="en-US">
            <a:solidFill>
              <a:srgbClr val="FFFFFF"/>
            </a:solidFill>
          </a:endParaRPr>
        </a:p>
      </dgm:t>
    </dgm:pt>
    <dgm:pt modelId="{313043CA-BFE5-4C53-BA39-9252621D8DD3}" type="sibTrans" cxnId="{862E1E11-C133-42E3-A952-EA0621BC0206}">
      <dgm:prSet/>
      <dgm:spPr/>
      <dgm:t>
        <a:bodyPr/>
        <a:lstStyle/>
        <a:p>
          <a:endParaRPr lang="en-US">
            <a:solidFill>
              <a:srgbClr val="FFFFFF"/>
            </a:solidFill>
          </a:endParaRPr>
        </a:p>
      </dgm:t>
    </dgm:pt>
    <dgm:pt modelId="{8F3C1471-01E2-41C2-A837-E3363AF76198}">
      <dgm:prSet phldrT="[Text]"/>
      <dgm:spPr/>
      <dgm:t>
        <a:bodyPr/>
        <a:lstStyle/>
        <a:p>
          <a:r>
            <a:rPr lang="en-US" dirty="0">
              <a:solidFill>
                <a:srgbClr val="FFFFFF"/>
              </a:solidFill>
            </a:rPr>
            <a:t>Global</a:t>
          </a:r>
        </a:p>
      </dgm:t>
    </dgm:pt>
    <dgm:pt modelId="{7E09A82D-0820-4163-9DF5-AA06A1AD59B5}" type="parTrans" cxnId="{8EC0B144-2EDC-47A6-BEC1-F92B4493564D}">
      <dgm:prSet/>
      <dgm:spPr/>
      <dgm:t>
        <a:bodyPr/>
        <a:lstStyle/>
        <a:p>
          <a:endParaRPr lang="en-US">
            <a:solidFill>
              <a:srgbClr val="FFFFFF"/>
            </a:solidFill>
          </a:endParaRPr>
        </a:p>
      </dgm:t>
    </dgm:pt>
    <dgm:pt modelId="{DBA3D82A-99F4-4808-A47A-AD314D6C01D1}" type="sibTrans" cxnId="{8EC0B144-2EDC-47A6-BEC1-F92B4493564D}">
      <dgm:prSet/>
      <dgm:spPr/>
      <dgm:t>
        <a:bodyPr/>
        <a:lstStyle/>
        <a:p>
          <a:endParaRPr lang="en-US">
            <a:solidFill>
              <a:srgbClr val="FFFFFF"/>
            </a:solidFill>
          </a:endParaRPr>
        </a:p>
      </dgm:t>
    </dgm:pt>
    <dgm:pt modelId="{E2F15919-230B-4DD0-BC12-EF393357FDA4}">
      <dgm:prSet phldrT="[Text]"/>
      <dgm:spPr/>
      <dgm:t>
        <a:bodyPr/>
        <a:lstStyle/>
        <a:p>
          <a:r>
            <a:rPr lang="en-US" dirty="0">
              <a:solidFill>
                <a:srgbClr val="FFFFFF"/>
              </a:solidFill>
            </a:rPr>
            <a:t>Decentralized</a:t>
          </a:r>
        </a:p>
      </dgm:t>
    </dgm:pt>
    <dgm:pt modelId="{AD1231C9-26AB-4F62-ADBB-80C31C6F1D0B}" type="parTrans" cxnId="{29CADF61-C208-41B0-BD2B-E35888BA8256}">
      <dgm:prSet/>
      <dgm:spPr/>
      <dgm:t>
        <a:bodyPr/>
        <a:lstStyle/>
        <a:p>
          <a:endParaRPr lang="en-US">
            <a:solidFill>
              <a:srgbClr val="FFFFFF"/>
            </a:solidFill>
          </a:endParaRPr>
        </a:p>
      </dgm:t>
    </dgm:pt>
    <dgm:pt modelId="{0E1D3DBE-DC3B-4D65-8EDA-2335A18EBB05}" type="sibTrans" cxnId="{29CADF61-C208-41B0-BD2B-E35888BA8256}">
      <dgm:prSet/>
      <dgm:spPr/>
      <dgm:t>
        <a:bodyPr/>
        <a:lstStyle/>
        <a:p>
          <a:endParaRPr lang="en-US">
            <a:solidFill>
              <a:srgbClr val="FFFFFF"/>
            </a:solidFill>
          </a:endParaRPr>
        </a:p>
      </dgm:t>
    </dgm:pt>
    <dgm:pt modelId="{35AA51CC-E834-448F-A9E2-FE899BAA6A7C}">
      <dgm:prSet phldrT="[Text]"/>
      <dgm:spPr/>
      <dgm:t>
        <a:bodyPr/>
        <a:lstStyle/>
        <a:p>
          <a:r>
            <a:rPr lang="en-US" dirty="0">
              <a:solidFill>
                <a:srgbClr val="FFFFFF"/>
              </a:solidFill>
            </a:rPr>
            <a:t>Peer-to-peer</a:t>
          </a:r>
        </a:p>
      </dgm:t>
    </dgm:pt>
    <dgm:pt modelId="{711BC980-04D4-4347-98BB-0693A62A4AAD}" type="parTrans" cxnId="{DA519123-89E1-41E4-BC4D-BBC982A29ADB}">
      <dgm:prSet/>
      <dgm:spPr/>
      <dgm:t>
        <a:bodyPr/>
        <a:lstStyle/>
        <a:p>
          <a:endParaRPr lang="en-US">
            <a:solidFill>
              <a:srgbClr val="FFFFFF"/>
            </a:solidFill>
          </a:endParaRPr>
        </a:p>
      </dgm:t>
    </dgm:pt>
    <dgm:pt modelId="{3AB6ECFB-1281-4761-9F2B-8087686F2642}" type="sibTrans" cxnId="{DA519123-89E1-41E4-BC4D-BBC982A29ADB}">
      <dgm:prSet/>
      <dgm:spPr/>
      <dgm:t>
        <a:bodyPr/>
        <a:lstStyle/>
        <a:p>
          <a:endParaRPr lang="en-US">
            <a:solidFill>
              <a:srgbClr val="FFFFFF"/>
            </a:solidFill>
          </a:endParaRPr>
        </a:p>
      </dgm:t>
    </dgm:pt>
    <dgm:pt modelId="{B3DA4F10-BBBC-4AA2-A6BD-D909FF307FEC}">
      <dgm:prSet phldrT="[Text]"/>
      <dgm:spPr/>
      <dgm:t>
        <a:bodyPr/>
        <a:lstStyle/>
        <a:p>
          <a:r>
            <a:rPr lang="en-US" dirty="0">
              <a:solidFill>
                <a:srgbClr val="FFFFFF"/>
              </a:solidFill>
            </a:rPr>
            <a:t>Permissionless</a:t>
          </a:r>
        </a:p>
      </dgm:t>
    </dgm:pt>
    <dgm:pt modelId="{9937D6B5-2070-4B2E-8912-16C90F972ADC}" type="parTrans" cxnId="{ECF7144D-F2ED-41C3-851D-E2DE43622DFC}">
      <dgm:prSet/>
      <dgm:spPr/>
      <dgm:t>
        <a:bodyPr/>
        <a:lstStyle/>
        <a:p>
          <a:endParaRPr lang="en-US">
            <a:solidFill>
              <a:srgbClr val="FFFFFF"/>
            </a:solidFill>
          </a:endParaRPr>
        </a:p>
      </dgm:t>
    </dgm:pt>
    <dgm:pt modelId="{52B486C9-26E0-4D65-95A3-68FA5F51A07E}" type="sibTrans" cxnId="{ECF7144D-F2ED-41C3-851D-E2DE43622DFC}">
      <dgm:prSet/>
      <dgm:spPr/>
      <dgm:t>
        <a:bodyPr/>
        <a:lstStyle/>
        <a:p>
          <a:endParaRPr lang="en-US">
            <a:solidFill>
              <a:srgbClr val="FFFFFF"/>
            </a:solidFill>
          </a:endParaRPr>
        </a:p>
      </dgm:t>
    </dgm:pt>
    <dgm:pt modelId="{6FD02CD6-B60F-4674-9EA8-559058A0710B}">
      <dgm:prSet phldrT="[Text]"/>
      <dgm:spPr/>
      <dgm:t>
        <a:bodyPr/>
        <a:lstStyle/>
        <a:p>
          <a:r>
            <a:rPr lang="en-US" dirty="0">
              <a:solidFill>
                <a:srgbClr val="FFFFFF"/>
              </a:solidFill>
            </a:rPr>
            <a:t>Pseudonymous</a:t>
          </a:r>
        </a:p>
      </dgm:t>
    </dgm:pt>
    <dgm:pt modelId="{8199A5F7-C89E-4F5B-9A58-1DCAE50036B8}" type="parTrans" cxnId="{D766DDD7-F8DC-45B6-82B1-4FCFE542E9C4}">
      <dgm:prSet/>
      <dgm:spPr/>
      <dgm:t>
        <a:bodyPr/>
        <a:lstStyle/>
        <a:p>
          <a:endParaRPr lang="en-US">
            <a:solidFill>
              <a:srgbClr val="FFFFFF"/>
            </a:solidFill>
          </a:endParaRPr>
        </a:p>
      </dgm:t>
    </dgm:pt>
    <dgm:pt modelId="{A081CBA3-4B8F-41A0-A98D-16F2B556C1DA}" type="sibTrans" cxnId="{D766DDD7-F8DC-45B6-82B1-4FCFE542E9C4}">
      <dgm:prSet/>
      <dgm:spPr/>
      <dgm:t>
        <a:bodyPr/>
        <a:lstStyle/>
        <a:p>
          <a:endParaRPr lang="en-US">
            <a:solidFill>
              <a:srgbClr val="FFFFFF"/>
            </a:solidFill>
          </a:endParaRPr>
        </a:p>
      </dgm:t>
    </dgm:pt>
    <dgm:pt modelId="{30725C20-D6AF-488E-B2CE-AB94AE296EC7}">
      <dgm:prSet phldrT="[Text]"/>
      <dgm:spPr/>
      <dgm:t>
        <a:bodyPr/>
        <a:lstStyle/>
        <a:p>
          <a:r>
            <a:rPr lang="en-US" dirty="0">
              <a:solidFill>
                <a:srgbClr val="FFFFFF"/>
              </a:solidFill>
            </a:rPr>
            <a:t>Volatile (fiat)</a:t>
          </a:r>
        </a:p>
      </dgm:t>
    </dgm:pt>
    <dgm:pt modelId="{72365DCE-0130-43EA-91D6-8B57AA79611A}" type="parTrans" cxnId="{6FD1C01E-EAA8-4AD8-B90F-04F6E3E9ED2B}">
      <dgm:prSet/>
      <dgm:spPr/>
      <dgm:t>
        <a:bodyPr/>
        <a:lstStyle/>
        <a:p>
          <a:endParaRPr lang="en-US">
            <a:solidFill>
              <a:srgbClr val="FFFFFF"/>
            </a:solidFill>
          </a:endParaRPr>
        </a:p>
      </dgm:t>
    </dgm:pt>
    <dgm:pt modelId="{F6799AC4-4D7C-4D30-AD13-03740EEB74B3}" type="sibTrans" cxnId="{6FD1C01E-EAA8-4AD8-B90F-04F6E3E9ED2B}">
      <dgm:prSet/>
      <dgm:spPr/>
      <dgm:t>
        <a:bodyPr/>
        <a:lstStyle/>
        <a:p>
          <a:endParaRPr lang="en-US">
            <a:solidFill>
              <a:srgbClr val="FFFFFF"/>
            </a:solidFill>
          </a:endParaRPr>
        </a:p>
      </dgm:t>
    </dgm:pt>
    <dgm:pt modelId="{5AF44593-ED35-4E1C-B560-03193C82D5C0}">
      <dgm:prSet phldrT="[Text]"/>
      <dgm:spPr/>
      <dgm:t>
        <a:bodyPr/>
        <a:lstStyle/>
        <a:p>
          <a:r>
            <a:rPr lang="en-US" dirty="0">
              <a:solidFill>
                <a:srgbClr val="FFFFFF"/>
              </a:solidFill>
            </a:rPr>
            <a:t>Divisible</a:t>
          </a:r>
        </a:p>
      </dgm:t>
    </dgm:pt>
    <dgm:pt modelId="{5A99D2BD-9FF8-401B-8012-317E532969DE}" type="parTrans" cxnId="{62567DB5-4E38-4D19-AAE5-91A37AC79BDA}">
      <dgm:prSet/>
      <dgm:spPr/>
      <dgm:t>
        <a:bodyPr/>
        <a:lstStyle/>
        <a:p>
          <a:endParaRPr lang="en-US">
            <a:solidFill>
              <a:srgbClr val="FFFFFF"/>
            </a:solidFill>
          </a:endParaRPr>
        </a:p>
      </dgm:t>
    </dgm:pt>
    <dgm:pt modelId="{015DF42C-8E90-4991-B46D-A7EDD6F372E6}" type="sibTrans" cxnId="{62567DB5-4E38-4D19-AAE5-91A37AC79BDA}">
      <dgm:prSet/>
      <dgm:spPr/>
      <dgm:t>
        <a:bodyPr/>
        <a:lstStyle/>
        <a:p>
          <a:endParaRPr lang="en-US">
            <a:solidFill>
              <a:srgbClr val="FFFFFF"/>
            </a:solidFill>
          </a:endParaRPr>
        </a:p>
      </dgm:t>
    </dgm:pt>
    <dgm:pt modelId="{25FC01D0-BE02-48E5-B35C-362A2AB8B94E}">
      <dgm:prSet phldrT="[Text]"/>
      <dgm:spPr/>
      <dgm:t>
        <a:bodyPr/>
        <a:lstStyle/>
        <a:p>
          <a:r>
            <a:rPr lang="en-US" dirty="0">
              <a:solidFill>
                <a:srgbClr val="FFFFFF"/>
              </a:solidFill>
            </a:rPr>
            <a:t>Trustless</a:t>
          </a:r>
        </a:p>
      </dgm:t>
    </dgm:pt>
    <dgm:pt modelId="{B80B7F7F-E6AD-4843-99CC-F02C71CC5F50}" type="parTrans" cxnId="{58D978F5-FA95-419D-B715-E99C6A5213F0}">
      <dgm:prSet/>
      <dgm:spPr/>
      <dgm:t>
        <a:bodyPr/>
        <a:lstStyle/>
        <a:p>
          <a:endParaRPr lang="en-US"/>
        </a:p>
      </dgm:t>
    </dgm:pt>
    <dgm:pt modelId="{4B709677-B344-4CC5-863F-AC728B3534B7}" type="sibTrans" cxnId="{58D978F5-FA95-419D-B715-E99C6A5213F0}">
      <dgm:prSet/>
      <dgm:spPr/>
      <dgm:t>
        <a:bodyPr/>
        <a:lstStyle/>
        <a:p>
          <a:endParaRPr lang="en-US"/>
        </a:p>
      </dgm:t>
    </dgm:pt>
    <dgm:pt modelId="{524A4F89-2C4D-4526-923B-9A1EBC2FD300}">
      <dgm:prSet phldrT="[Text]"/>
      <dgm:spPr/>
      <dgm:t>
        <a:bodyPr/>
        <a:lstStyle/>
        <a:p>
          <a:r>
            <a:rPr lang="en-US" dirty="0">
              <a:solidFill>
                <a:srgbClr val="FFFFFF"/>
              </a:solidFill>
            </a:rPr>
            <a:t>No intermediary</a:t>
          </a:r>
        </a:p>
      </dgm:t>
    </dgm:pt>
    <dgm:pt modelId="{8A70D128-7C9D-4255-A6C1-5A39D066C97F}" type="parTrans" cxnId="{D40D56A1-66F7-400F-B512-EBDCC802F2F7}">
      <dgm:prSet/>
      <dgm:spPr/>
      <dgm:t>
        <a:bodyPr/>
        <a:lstStyle/>
        <a:p>
          <a:endParaRPr lang="en-US"/>
        </a:p>
      </dgm:t>
    </dgm:pt>
    <dgm:pt modelId="{C5E5CC99-F06B-416B-BC15-65BE68AD445B}" type="sibTrans" cxnId="{D40D56A1-66F7-400F-B512-EBDCC802F2F7}">
      <dgm:prSet/>
      <dgm:spPr/>
      <dgm:t>
        <a:bodyPr/>
        <a:lstStyle/>
        <a:p>
          <a:endParaRPr lang="en-US"/>
        </a:p>
      </dgm:t>
    </dgm:pt>
    <dgm:pt modelId="{084C0298-9C76-4EA2-B358-33317B9A5CAF}">
      <dgm:prSet phldrT="[Text]"/>
      <dgm:spPr/>
      <dgm:t>
        <a:bodyPr/>
        <a:lstStyle/>
        <a:p>
          <a:r>
            <a:rPr lang="en-US" dirty="0">
              <a:solidFill>
                <a:srgbClr val="FFFFFF"/>
              </a:solidFill>
            </a:rPr>
            <a:t>Limited supply</a:t>
          </a:r>
        </a:p>
      </dgm:t>
    </dgm:pt>
    <dgm:pt modelId="{781149C3-3CBD-49BE-8586-40FCD8A4DA4E}" type="parTrans" cxnId="{600447CE-4B5B-47AB-86E6-02655135200F}">
      <dgm:prSet/>
      <dgm:spPr/>
      <dgm:t>
        <a:bodyPr/>
        <a:lstStyle/>
        <a:p>
          <a:endParaRPr lang="en-US"/>
        </a:p>
      </dgm:t>
    </dgm:pt>
    <dgm:pt modelId="{D17AA95A-4CEE-401B-B9E4-CE1AF52F5C97}" type="sibTrans" cxnId="{600447CE-4B5B-47AB-86E6-02655135200F}">
      <dgm:prSet/>
      <dgm:spPr/>
      <dgm:t>
        <a:bodyPr/>
        <a:lstStyle/>
        <a:p>
          <a:endParaRPr lang="en-US"/>
        </a:p>
      </dgm:t>
    </dgm:pt>
    <dgm:pt modelId="{6F5D089B-077D-4C47-90C2-0B5916880D2A}" type="pres">
      <dgm:prSet presAssocID="{2AFE2DE7-7D5C-4A8B-8E2D-97DE1A0527BE}" presName="diagram" presStyleCnt="0">
        <dgm:presLayoutVars>
          <dgm:dir/>
          <dgm:resizeHandles val="exact"/>
        </dgm:presLayoutVars>
      </dgm:prSet>
      <dgm:spPr/>
    </dgm:pt>
    <dgm:pt modelId="{097DCCAB-3536-4DCF-80AE-5B6A3A3BD7B2}" type="pres">
      <dgm:prSet presAssocID="{6070A501-6078-48F0-8E1E-41724C4606D4}" presName="node" presStyleLbl="node1" presStyleIdx="0" presStyleCnt="15">
        <dgm:presLayoutVars>
          <dgm:bulletEnabled val="1"/>
        </dgm:presLayoutVars>
      </dgm:prSet>
      <dgm:spPr/>
    </dgm:pt>
    <dgm:pt modelId="{A9677BAC-A031-4249-B78A-D81A9831BB74}" type="pres">
      <dgm:prSet presAssocID="{98709EB1-A52F-4A3F-94F0-CAA495C84039}" presName="sibTrans" presStyleCnt="0"/>
      <dgm:spPr/>
    </dgm:pt>
    <dgm:pt modelId="{2A203B84-8677-434F-8547-3237664EA48F}" type="pres">
      <dgm:prSet presAssocID="{2E3A122A-80F2-4BD5-91C9-DA12FC08A60A}" presName="node" presStyleLbl="node1" presStyleIdx="1" presStyleCnt="15">
        <dgm:presLayoutVars>
          <dgm:bulletEnabled val="1"/>
        </dgm:presLayoutVars>
      </dgm:prSet>
      <dgm:spPr/>
    </dgm:pt>
    <dgm:pt modelId="{9701F3CA-3E7B-4C75-849B-7FCC4DCEA4C9}" type="pres">
      <dgm:prSet presAssocID="{25056DE9-2A2A-4940-B160-875BB8BE57E0}" presName="sibTrans" presStyleCnt="0"/>
      <dgm:spPr/>
    </dgm:pt>
    <dgm:pt modelId="{751B289A-F6C6-490C-AD7E-D6F0676A4BD9}" type="pres">
      <dgm:prSet presAssocID="{B3DA4F10-BBBC-4AA2-A6BD-D909FF307FEC}" presName="node" presStyleLbl="node1" presStyleIdx="2" presStyleCnt="15">
        <dgm:presLayoutVars>
          <dgm:bulletEnabled val="1"/>
        </dgm:presLayoutVars>
      </dgm:prSet>
      <dgm:spPr/>
    </dgm:pt>
    <dgm:pt modelId="{A0BC0093-B1CA-4958-97CA-39057BC3DC32}" type="pres">
      <dgm:prSet presAssocID="{52B486C9-26E0-4D65-95A3-68FA5F51A07E}" presName="sibTrans" presStyleCnt="0"/>
      <dgm:spPr/>
    </dgm:pt>
    <dgm:pt modelId="{CC4D85AC-AD6C-4F23-BB0B-82C581A0CD06}" type="pres">
      <dgm:prSet presAssocID="{6FD02CD6-B60F-4674-9EA8-559058A0710B}" presName="node" presStyleLbl="node1" presStyleIdx="3" presStyleCnt="15">
        <dgm:presLayoutVars>
          <dgm:bulletEnabled val="1"/>
        </dgm:presLayoutVars>
      </dgm:prSet>
      <dgm:spPr/>
    </dgm:pt>
    <dgm:pt modelId="{8295D5D6-7B77-4322-ACFA-655E6EC03F3E}" type="pres">
      <dgm:prSet presAssocID="{A081CBA3-4B8F-41A0-A98D-16F2B556C1DA}" presName="sibTrans" presStyleCnt="0"/>
      <dgm:spPr/>
    </dgm:pt>
    <dgm:pt modelId="{4ACCA183-4D45-43CA-B97E-0372EE2AEE3A}" type="pres">
      <dgm:prSet presAssocID="{5DE15F62-DB26-4103-A911-1FEA1238B73F}" presName="node" presStyleLbl="node1" presStyleIdx="4" presStyleCnt="15">
        <dgm:presLayoutVars>
          <dgm:bulletEnabled val="1"/>
        </dgm:presLayoutVars>
      </dgm:prSet>
      <dgm:spPr/>
    </dgm:pt>
    <dgm:pt modelId="{8E3AA599-D4F5-44D4-8586-D4ED6C2B22A5}" type="pres">
      <dgm:prSet presAssocID="{2C99998B-15A2-4574-8A9C-C366EBB83D47}" presName="sibTrans" presStyleCnt="0"/>
      <dgm:spPr/>
    </dgm:pt>
    <dgm:pt modelId="{9E410226-092C-4CC5-8B42-7E05BEF52265}" type="pres">
      <dgm:prSet presAssocID="{D740B3A3-9A2A-41E9-A7E7-A9D065403CA6}" presName="node" presStyleLbl="node1" presStyleIdx="5" presStyleCnt="15">
        <dgm:presLayoutVars>
          <dgm:bulletEnabled val="1"/>
        </dgm:presLayoutVars>
      </dgm:prSet>
      <dgm:spPr/>
    </dgm:pt>
    <dgm:pt modelId="{D62DF416-0DAF-4181-9BB1-7FC5F8545C3B}" type="pres">
      <dgm:prSet presAssocID="{0C6FD5BD-865A-414F-BDE9-E2FD1FAEE7EB}" presName="sibTrans" presStyleCnt="0"/>
      <dgm:spPr/>
    </dgm:pt>
    <dgm:pt modelId="{D49EC2BA-DE2C-4481-A4B8-2D3250ADBEA8}" type="pres">
      <dgm:prSet presAssocID="{E79075EE-462C-4376-B2CB-7C87B08EF235}" presName="node" presStyleLbl="node1" presStyleIdx="6" presStyleCnt="15">
        <dgm:presLayoutVars>
          <dgm:bulletEnabled val="1"/>
        </dgm:presLayoutVars>
      </dgm:prSet>
      <dgm:spPr/>
    </dgm:pt>
    <dgm:pt modelId="{D9A66A5A-D8EB-4659-9219-4AB7062689E5}" type="pres">
      <dgm:prSet presAssocID="{313043CA-BFE5-4C53-BA39-9252621D8DD3}" presName="sibTrans" presStyleCnt="0"/>
      <dgm:spPr/>
    </dgm:pt>
    <dgm:pt modelId="{4D23E3CC-9D68-4BE7-A84D-8D06E43D1ACF}" type="pres">
      <dgm:prSet presAssocID="{8F3C1471-01E2-41C2-A837-E3363AF76198}" presName="node" presStyleLbl="node1" presStyleIdx="7" presStyleCnt="15">
        <dgm:presLayoutVars>
          <dgm:bulletEnabled val="1"/>
        </dgm:presLayoutVars>
      </dgm:prSet>
      <dgm:spPr/>
    </dgm:pt>
    <dgm:pt modelId="{25C328F5-E524-4B41-9D1F-6C567EA886AC}" type="pres">
      <dgm:prSet presAssocID="{DBA3D82A-99F4-4808-A47A-AD314D6C01D1}" presName="sibTrans" presStyleCnt="0"/>
      <dgm:spPr/>
    </dgm:pt>
    <dgm:pt modelId="{47C986D9-7F24-475A-B74C-3472315A6BD8}" type="pres">
      <dgm:prSet presAssocID="{E2F15919-230B-4DD0-BC12-EF393357FDA4}" presName="node" presStyleLbl="node1" presStyleIdx="8" presStyleCnt="15">
        <dgm:presLayoutVars>
          <dgm:bulletEnabled val="1"/>
        </dgm:presLayoutVars>
      </dgm:prSet>
      <dgm:spPr/>
    </dgm:pt>
    <dgm:pt modelId="{976B208E-1E1D-4AC8-A747-B0EACDAE7DA2}" type="pres">
      <dgm:prSet presAssocID="{0E1D3DBE-DC3B-4D65-8EDA-2335A18EBB05}" presName="sibTrans" presStyleCnt="0"/>
      <dgm:spPr/>
    </dgm:pt>
    <dgm:pt modelId="{8AB7713E-9C89-4398-9B05-34ECD0842BD6}" type="pres">
      <dgm:prSet presAssocID="{35AA51CC-E834-448F-A9E2-FE899BAA6A7C}" presName="node" presStyleLbl="node1" presStyleIdx="9" presStyleCnt="15">
        <dgm:presLayoutVars>
          <dgm:bulletEnabled val="1"/>
        </dgm:presLayoutVars>
      </dgm:prSet>
      <dgm:spPr/>
    </dgm:pt>
    <dgm:pt modelId="{436A126B-4FA0-4B85-915C-624198D60F39}" type="pres">
      <dgm:prSet presAssocID="{3AB6ECFB-1281-4761-9F2B-8087686F2642}" presName="sibTrans" presStyleCnt="0"/>
      <dgm:spPr/>
    </dgm:pt>
    <dgm:pt modelId="{E251E7F3-060C-49F6-9D69-AF65467D76CA}" type="pres">
      <dgm:prSet presAssocID="{30725C20-D6AF-488E-B2CE-AB94AE296EC7}" presName="node" presStyleLbl="node1" presStyleIdx="10" presStyleCnt="15">
        <dgm:presLayoutVars>
          <dgm:bulletEnabled val="1"/>
        </dgm:presLayoutVars>
      </dgm:prSet>
      <dgm:spPr/>
    </dgm:pt>
    <dgm:pt modelId="{CAD24E7C-B01C-4F4F-81D6-9A892164853D}" type="pres">
      <dgm:prSet presAssocID="{F6799AC4-4D7C-4D30-AD13-03740EEB74B3}" presName="sibTrans" presStyleCnt="0"/>
      <dgm:spPr/>
    </dgm:pt>
    <dgm:pt modelId="{185A0A9F-F193-4283-9B8F-2420AF0083C4}" type="pres">
      <dgm:prSet presAssocID="{5AF44593-ED35-4E1C-B560-03193C82D5C0}" presName="node" presStyleLbl="node1" presStyleIdx="11" presStyleCnt="15">
        <dgm:presLayoutVars>
          <dgm:bulletEnabled val="1"/>
        </dgm:presLayoutVars>
      </dgm:prSet>
      <dgm:spPr/>
    </dgm:pt>
    <dgm:pt modelId="{DBDD0AA3-89AF-4804-B376-30E35C7BBC3D}" type="pres">
      <dgm:prSet presAssocID="{015DF42C-8E90-4991-B46D-A7EDD6F372E6}" presName="sibTrans" presStyleCnt="0"/>
      <dgm:spPr/>
    </dgm:pt>
    <dgm:pt modelId="{80580FEB-301B-473A-B84A-6CFE128393D4}" type="pres">
      <dgm:prSet presAssocID="{25FC01D0-BE02-48E5-B35C-362A2AB8B94E}" presName="node" presStyleLbl="node1" presStyleIdx="12" presStyleCnt="15">
        <dgm:presLayoutVars>
          <dgm:bulletEnabled val="1"/>
        </dgm:presLayoutVars>
      </dgm:prSet>
      <dgm:spPr/>
    </dgm:pt>
    <dgm:pt modelId="{740FBB30-5249-4CF2-8308-EAD08EB0A0A4}" type="pres">
      <dgm:prSet presAssocID="{4B709677-B344-4CC5-863F-AC728B3534B7}" presName="sibTrans" presStyleCnt="0"/>
      <dgm:spPr/>
    </dgm:pt>
    <dgm:pt modelId="{E03F517D-E31E-4817-BC35-66F5609C8AC6}" type="pres">
      <dgm:prSet presAssocID="{524A4F89-2C4D-4526-923B-9A1EBC2FD300}" presName="node" presStyleLbl="node1" presStyleIdx="13" presStyleCnt="15">
        <dgm:presLayoutVars>
          <dgm:bulletEnabled val="1"/>
        </dgm:presLayoutVars>
      </dgm:prSet>
      <dgm:spPr/>
    </dgm:pt>
    <dgm:pt modelId="{0997D43A-4150-4140-9232-C029B2D9BE01}" type="pres">
      <dgm:prSet presAssocID="{C5E5CC99-F06B-416B-BC15-65BE68AD445B}" presName="sibTrans" presStyleCnt="0"/>
      <dgm:spPr/>
    </dgm:pt>
    <dgm:pt modelId="{A3C6C64E-50E9-4A04-8515-8EBB908AA254}" type="pres">
      <dgm:prSet presAssocID="{084C0298-9C76-4EA2-B358-33317B9A5CAF}" presName="node" presStyleLbl="node1" presStyleIdx="14" presStyleCnt="15">
        <dgm:presLayoutVars>
          <dgm:bulletEnabled val="1"/>
        </dgm:presLayoutVars>
      </dgm:prSet>
      <dgm:spPr/>
    </dgm:pt>
  </dgm:ptLst>
  <dgm:cxnLst>
    <dgm:cxn modelId="{862E1E11-C133-42E3-A952-EA0621BC0206}" srcId="{2AFE2DE7-7D5C-4A8B-8E2D-97DE1A0527BE}" destId="{E79075EE-462C-4376-B2CB-7C87B08EF235}" srcOrd="6" destOrd="0" parTransId="{E5E01EBB-B509-4BD7-BB38-82DD3F135D27}" sibTransId="{313043CA-BFE5-4C53-BA39-9252621D8DD3}"/>
    <dgm:cxn modelId="{6A136A12-B443-4A57-B395-A0A1ECD2EB48}" type="presOf" srcId="{35AA51CC-E834-448F-A9E2-FE899BAA6A7C}" destId="{8AB7713E-9C89-4398-9B05-34ECD0842BD6}" srcOrd="0" destOrd="0" presId="urn:microsoft.com/office/officeart/2005/8/layout/default"/>
    <dgm:cxn modelId="{50356C1B-459A-456A-8216-35F653F0475E}" type="presOf" srcId="{25FC01D0-BE02-48E5-B35C-362A2AB8B94E}" destId="{80580FEB-301B-473A-B84A-6CFE128393D4}" srcOrd="0" destOrd="0" presId="urn:microsoft.com/office/officeart/2005/8/layout/default"/>
    <dgm:cxn modelId="{F160AA1D-246E-4A10-ACBC-A6BE408A8300}" type="presOf" srcId="{5DE15F62-DB26-4103-A911-1FEA1238B73F}" destId="{4ACCA183-4D45-43CA-B97E-0372EE2AEE3A}" srcOrd="0" destOrd="0" presId="urn:microsoft.com/office/officeart/2005/8/layout/default"/>
    <dgm:cxn modelId="{6FD1C01E-EAA8-4AD8-B90F-04F6E3E9ED2B}" srcId="{2AFE2DE7-7D5C-4A8B-8E2D-97DE1A0527BE}" destId="{30725C20-D6AF-488E-B2CE-AB94AE296EC7}" srcOrd="10" destOrd="0" parTransId="{72365DCE-0130-43EA-91D6-8B57AA79611A}" sibTransId="{F6799AC4-4D7C-4D30-AD13-03740EEB74B3}"/>
    <dgm:cxn modelId="{DA519123-89E1-41E4-BC4D-BBC982A29ADB}" srcId="{2AFE2DE7-7D5C-4A8B-8E2D-97DE1A0527BE}" destId="{35AA51CC-E834-448F-A9E2-FE899BAA6A7C}" srcOrd="9" destOrd="0" parTransId="{711BC980-04D4-4347-98BB-0693A62A4AAD}" sibTransId="{3AB6ECFB-1281-4761-9F2B-8087686F2642}"/>
    <dgm:cxn modelId="{8A953032-17FD-4CED-8EF7-90832ADC7973}" type="presOf" srcId="{E2F15919-230B-4DD0-BC12-EF393357FDA4}" destId="{47C986D9-7F24-475A-B74C-3472315A6BD8}" srcOrd="0" destOrd="0" presId="urn:microsoft.com/office/officeart/2005/8/layout/default"/>
    <dgm:cxn modelId="{54834B33-FA7D-4538-85C9-D86BAB820C61}" srcId="{2AFE2DE7-7D5C-4A8B-8E2D-97DE1A0527BE}" destId="{6070A501-6078-48F0-8E1E-41724C4606D4}" srcOrd="0" destOrd="0" parTransId="{9955713A-C082-428C-9907-8A2ACABBE068}" sibTransId="{98709EB1-A52F-4A3F-94F0-CAA495C84039}"/>
    <dgm:cxn modelId="{DE645836-9A3C-47C1-BD94-14B2187E00C5}" type="presOf" srcId="{5AF44593-ED35-4E1C-B560-03193C82D5C0}" destId="{185A0A9F-F193-4283-9B8F-2420AF0083C4}" srcOrd="0" destOrd="0" presId="urn:microsoft.com/office/officeart/2005/8/layout/default"/>
    <dgm:cxn modelId="{CEFC3A39-6849-497D-8F66-5341F0082CD1}" srcId="{2AFE2DE7-7D5C-4A8B-8E2D-97DE1A0527BE}" destId="{2E3A122A-80F2-4BD5-91C9-DA12FC08A60A}" srcOrd="1" destOrd="0" parTransId="{73959242-76B3-4057-AB37-6F7666F0F5A0}" sibTransId="{25056DE9-2A2A-4940-B160-875BB8BE57E0}"/>
    <dgm:cxn modelId="{29CADF61-C208-41B0-BD2B-E35888BA8256}" srcId="{2AFE2DE7-7D5C-4A8B-8E2D-97DE1A0527BE}" destId="{E2F15919-230B-4DD0-BC12-EF393357FDA4}" srcOrd="8" destOrd="0" parTransId="{AD1231C9-26AB-4F62-ADBB-80C31C6F1D0B}" sibTransId="{0E1D3DBE-DC3B-4D65-8EDA-2335A18EBB05}"/>
    <dgm:cxn modelId="{8EC0B144-2EDC-47A6-BEC1-F92B4493564D}" srcId="{2AFE2DE7-7D5C-4A8B-8E2D-97DE1A0527BE}" destId="{8F3C1471-01E2-41C2-A837-E3363AF76198}" srcOrd="7" destOrd="0" parTransId="{7E09A82D-0820-4163-9DF5-AA06A1AD59B5}" sibTransId="{DBA3D82A-99F4-4808-A47A-AD314D6C01D1}"/>
    <dgm:cxn modelId="{86425047-8965-4D9F-A7E5-BDED025A0D8A}" type="presOf" srcId="{524A4F89-2C4D-4526-923B-9A1EBC2FD300}" destId="{E03F517D-E31E-4817-BC35-66F5609C8AC6}" srcOrd="0" destOrd="0" presId="urn:microsoft.com/office/officeart/2005/8/layout/default"/>
    <dgm:cxn modelId="{ECF7144D-F2ED-41C3-851D-E2DE43622DFC}" srcId="{2AFE2DE7-7D5C-4A8B-8E2D-97DE1A0527BE}" destId="{B3DA4F10-BBBC-4AA2-A6BD-D909FF307FEC}" srcOrd="2" destOrd="0" parTransId="{9937D6B5-2070-4B2E-8912-16C90F972ADC}" sibTransId="{52B486C9-26E0-4D65-95A3-68FA5F51A07E}"/>
    <dgm:cxn modelId="{442EA16E-54E7-43B5-B77C-8A13CBB5E0FA}" type="presOf" srcId="{6070A501-6078-48F0-8E1E-41724C4606D4}" destId="{097DCCAB-3536-4DCF-80AE-5B6A3A3BD7B2}" srcOrd="0" destOrd="0" presId="urn:microsoft.com/office/officeart/2005/8/layout/default"/>
    <dgm:cxn modelId="{CEF84C57-3B72-489B-8B49-EB5772334DFF}" type="presOf" srcId="{084C0298-9C76-4EA2-B358-33317B9A5CAF}" destId="{A3C6C64E-50E9-4A04-8515-8EBB908AA254}" srcOrd="0" destOrd="0" presId="urn:microsoft.com/office/officeart/2005/8/layout/default"/>
    <dgm:cxn modelId="{A2760C84-C20F-4701-81BE-EE969819B8E3}" type="presOf" srcId="{2E3A122A-80F2-4BD5-91C9-DA12FC08A60A}" destId="{2A203B84-8677-434F-8547-3237664EA48F}" srcOrd="0" destOrd="0" presId="urn:microsoft.com/office/officeart/2005/8/layout/default"/>
    <dgm:cxn modelId="{D16DA396-647B-42AB-A3D2-594AA234AF4F}" type="presOf" srcId="{8F3C1471-01E2-41C2-A837-E3363AF76198}" destId="{4D23E3CC-9D68-4BE7-A84D-8D06E43D1ACF}" srcOrd="0" destOrd="0" presId="urn:microsoft.com/office/officeart/2005/8/layout/default"/>
    <dgm:cxn modelId="{F114ED9B-F006-4274-AB81-9E1E64766B46}" type="presOf" srcId="{E79075EE-462C-4376-B2CB-7C87B08EF235}" destId="{D49EC2BA-DE2C-4481-A4B8-2D3250ADBEA8}" srcOrd="0" destOrd="0" presId="urn:microsoft.com/office/officeart/2005/8/layout/default"/>
    <dgm:cxn modelId="{1A11D89F-7B1E-430E-A82D-1F3B3B8AE378}" type="presOf" srcId="{6FD02CD6-B60F-4674-9EA8-559058A0710B}" destId="{CC4D85AC-AD6C-4F23-BB0B-82C581A0CD06}" srcOrd="0" destOrd="0" presId="urn:microsoft.com/office/officeart/2005/8/layout/default"/>
    <dgm:cxn modelId="{19C391A0-6A2F-4368-8B4E-2D83CB0A5A17}" srcId="{2AFE2DE7-7D5C-4A8B-8E2D-97DE1A0527BE}" destId="{5DE15F62-DB26-4103-A911-1FEA1238B73F}" srcOrd="4" destOrd="0" parTransId="{26A9E516-8775-49E7-8C81-33A1A007746C}" sibTransId="{2C99998B-15A2-4574-8A9C-C366EBB83D47}"/>
    <dgm:cxn modelId="{D40D56A1-66F7-400F-B512-EBDCC802F2F7}" srcId="{2AFE2DE7-7D5C-4A8B-8E2D-97DE1A0527BE}" destId="{524A4F89-2C4D-4526-923B-9A1EBC2FD300}" srcOrd="13" destOrd="0" parTransId="{8A70D128-7C9D-4255-A6C1-5A39D066C97F}" sibTransId="{C5E5CC99-F06B-416B-BC15-65BE68AD445B}"/>
    <dgm:cxn modelId="{71903AA4-7474-4B5E-9B71-AA3C1AB45355}" srcId="{2AFE2DE7-7D5C-4A8B-8E2D-97DE1A0527BE}" destId="{D740B3A3-9A2A-41E9-A7E7-A9D065403CA6}" srcOrd="5" destOrd="0" parTransId="{8258EDD9-EAF0-4E55-B001-92D5382671C4}" sibTransId="{0C6FD5BD-865A-414F-BDE9-E2FD1FAEE7EB}"/>
    <dgm:cxn modelId="{C2A2A5A7-CE8B-461C-B4F7-A3DF41163051}" type="presOf" srcId="{B3DA4F10-BBBC-4AA2-A6BD-D909FF307FEC}" destId="{751B289A-F6C6-490C-AD7E-D6F0676A4BD9}" srcOrd="0" destOrd="0" presId="urn:microsoft.com/office/officeart/2005/8/layout/default"/>
    <dgm:cxn modelId="{A5CC15AC-901B-4D59-94BE-5D1B0B2D31A9}" type="presOf" srcId="{D740B3A3-9A2A-41E9-A7E7-A9D065403CA6}" destId="{9E410226-092C-4CC5-8B42-7E05BEF52265}" srcOrd="0" destOrd="0" presId="urn:microsoft.com/office/officeart/2005/8/layout/default"/>
    <dgm:cxn modelId="{2F2FE1B1-8065-40C1-9DD9-CD2D59EA39B0}" type="presOf" srcId="{30725C20-D6AF-488E-B2CE-AB94AE296EC7}" destId="{E251E7F3-060C-49F6-9D69-AF65467D76CA}" srcOrd="0" destOrd="0" presId="urn:microsoft.com/office/officeart/2005/8/layout/default"/>
    <dgm:cxn modelId="{62567DB5-4E38-4D19-AAE5-91A37AC79BDA}" srcId="{2AFE2DE7-7D5C-4A8B-8E2D-97DE1A0527BE}" destId="{5AF44593-ED35-4E1C-B560-03193C82D5C0}" srcOrd="11" destOrd="0" parTransId="{5A99D2BD-9FF8-401B-8012-317E532969DE}" sibTransId="{015DF42C-8E90-4991-B46D-A7EDD6F372E6}"/>
    <dgm:cxn modelId="{5A3208BC-51A9-4C0D-A780-FCF035899D0E}" type="presOf" srcId="{2AFE2DE7-7D5C-4A8B-8E2D-97DE1A0527BE}" destId="{6F5D089B-077D-4C47-90C2-0B5916880D2A}" srcOrd="0" destOrd="0" presId="urn:microsoft.com/office/officeart/2005/8/layout/default"/>
    <dgm:cxn modelId="{600447CE-4B5B-47AB-86E6-02655135200F}" srcId="{2AFE2DE7-7D5C-4A8B-8E2D-97DE1A0527BE}" destId="{084C0298-9C76-4EA2-B358-33317B9A5CAF}" srcOrd="14" destOrd="0" parTransId="{781149C3-3CBD-49BE-8586-40FCD8A4DA4E}" sibTransId="{D17AA95A-4CEE-401B-B9E4-CE1AF52F5C97}"/>
    <dgm:cxn modelId="{D766DDD7-F8DC-45B6-82B1-4FCFE542E9C4}" srcId="{2AFE2DE7-7D5C-4A8B-8E2D-97DE1A0527BE}" destId="{6FD02CD6-B60F-4674-9EA8-559058A0710B}" srcOrd="3" destOrd="0" parTransId="{8199A5F7-C89E-4F5B-9A58-1DCAE50036B8}" sibTransId="{A081CBA3-4B8F-41A0-A98D-16F2B556C1DA}"/>
    <dgm:cxn modelId="{58D978F5-FA95-419D-B715-E99C6A5213F0}" srcId="{2AFE2DE7-7D5C-4A8B-8E2D-97DE1A0527BE}" destId="{25FC01D0-BE02-48E5-B35C-362A2AB8B94E}" srcOrd="12" destOrd="0" parTransId="{B80B7F7F-E6AD-4843-99CC-F02C71CC5F50}" sibTransId="{4B709677-B344-4CC5-863F-AC728B3534B7}"/>
    <dgm:cxn modelId="{61AA83FF-F7E2-4386-BB4E-56514227DF29}" type="presParOf" srcId="{6F5D089B-077D-4C47-90C2-0B5916880D2A}" destId="{097DCCAB-3536-4DCF-80AE-5B6A3A3BD7B2}" srcOrd="0" destOrd="0" presId="urn:microsoft.com/office/officeart/2005/8/layout/default"/>
    <dgm:cxn modelId="{5C11AF58-F482-4EC5-B64B-B0630FE06F06}" type="presParOf" srcId="{6F5D089B-077D-4C47-90C2-0B5916880D2A}" destId="{A9677BAC-A031-4249-B78A-D81A9831BB74}" srcOrd="1" destOrd="0" presId="urn:microsoft.com/office/officeart/2005/8/layout/default"/>
    <dgm:cxn modelId="{CEE06915-490D-43AD-B9B7-3432E36E3322}" type="presParOf" srcId="{6F5D089B-077D-4C47-90C2-0B5916880D2A}" destId="{2A203B84-8677-434F-8547-3237664EA48F}" srcOrd="2" destOrd="0" presId="urn:microsoft.com/office/officeart/2005/8/layout/default"/>
    <dgm:cxn modelId="{ADDAE08C-B672-4C36-A053-F839106E9A6F}" type="presParOf" srcId="{6F5D089B-077D-4C47-90C2-0B5916880D2A}" destId="{9701F3CA-3E7B-4C75-849B-7FCC4DCEA4C9}" srcOrd="3" destOrd="0" presId="urn:microsoft.com/office/officeart/2005/8/layout/default"/>
    <dgm:cxn modelId="{074F063C-624F-43FA-8100-CB96C01F9881}" type="presParOf" srcId="{6F5D089B-077D-4C47-90C2-0B5916880D2A}" destId="{751B289A-F6C6-490C-AD7E-D6F0676A4BD9}" srcOrd="4" destOrd="0" presId="urn:microsoft.com/office/officeart/2005/8/layout/default"/>
    <dgm:cxn modelId="{48791834-17FC-4B21-8663-0899EAA29826}" type="presParOf" srcId="{6F5D089B-077D-4C47-90C2-0B5916880D2A}" destId="{A0BC0093-B1CA-4958-97CA-39057BC3DC32}" srcOrd="5" destOrd="0" presId="urn:microsoft.com/office/officeart/2005/8/layout/default"/>
    <dgm:cxn modelId="{1AF48AC5-2992-4BDF-BA56-FCA5D0659F12}" type="presParOf" srcId="{6F5D089B-077D-4C47-90C2-0B5916880D2A}" destId="{CC4D85AC-AD6C-4F23-BB0B-82C581A0CD06}" srcOrd="6" destOrd="0" presId="urn:microsoft.com/office/officeart/2005/8/layout/default"/>
    <dgm:cxn modelId="{2F1638A5-2E69-4561-8DFB-605C74A72957}" type="presParOf" srcId="{6F5D089B-077D-4C47-90C2-0B5916880D2A}" destId="{8295D5D6-7B77-4322-ACFA-655E6EC03F3E}" srcOrd="7" destOrd="0" presId="urn:microsoft.com/office/officeart/2005/8/layout/default"/>
    <dgm:cxn modelId="{B4EB7EC1-64D8-4F0A-BFF2-347BF2329B51}" type="presParOf" srcId="{6F5D089B-077D-4C47-90C2-0B5916880D2A}" destId="{4ACCA183-4D45-43CA-B97E-0372EE2AEE3A}" srcOrd="8" destOrd="0" presId="urn:microsoft.com/office/officeart/2005/8/layout/default"/>
    <dgm:cxn modelId="{579B2031-1051-4B8B-B515-C659A894ACFE}" type="presParOf" srcId="{6F5D089B-077D-4C47-90C2-0B5916880D2A}" destId="{8E3AA599-D4F5-44D4-8586-D4ED6C2B22A5}" srcOrd="9" destOrd="0" presId="urn:microsoft.com/office/officeart/2005/8/layout/default"/>
    <dgm:cxn modelId="{B40B3C9E-D03F-4E44-9DC5-D1568E9D6B27}" type="presParOf" srcId="{6F5D089B-077D-4C47-90C2-0B5916880D2A}" destId="{9E410226-092C-4CC5-8B42-7E05BEF52265}" srcOrd="10" destOrd="0" presId="urn:microsoft.com/office/officeart/2005/8/layout/default"/>
    <dgm:cxn modelId="{99538C86-9F46-419F-AC44-70D2EF1B2AD4}" type="presParOf" srcId="{6F5D089B-077D-4C47-90C2-0B5916880D2A}" destId="{D62DF416-0DAF-4181-9BB1-7FC5F8545C3B}" srcOrd="11" destOrd="0" presId="urn:microsoft.com/office/officeart/2005/8/layout/default"/>
    <dgm:cxn modelId="{EBB27F2A-831A-44DC-A1BA-A2CFEC64915C}" type="presParOf" srcId="{6F5D089B-077D-4C47-90C2-0B5916880D2A}" destId="{D49EC2BA-DE2C-4481-A4B8-2D3250ADBEA8}" srcOrd="12" destOrd="0" presId="urn:microsoft.com/office/officeart/2005/8/layout/default"/>
    <dgm:cxn modelId="{AD80D6A3-850A-4A27-85CC-6113B432122F}" type="presParOf" srcId="{6F5D089B-077D-4C47-90C2-0B5916880D2A}" destId="{D9A66A5A-D8EB-4659-9219-4AB7062689E5}" srcOrd="13" destOrd="0" presId="urn:microsoft.com/office/officeart/2005/8/layout/default"/>
    <dgm:cxn modelId="{3E668A88-923F-4F0E-A536-341161516E03}" type="presParOf" srcId="{6F5D089B-077D-4C47-90C2-0B5916880D2A}" destId="{4D23E3CC-9D68-4BE7-A84D-8D06E43D1ACF}" srcOrd="14" destOrd="0" presId="urn:microsoft.com/office/officeart/2005/8/layout/default"/>
    <dgm:cxn modelId="{FDE8A0C5-2361-49A0-BCD6-F470BF9576E5}" type="presParOf" srcId="{6F5D089B-077D-4C47-90C2-0B5916880D2A}" destId="{25C328F5-E524-4B41-9D1F-6C567EA886AC}" srcOrd="15" destOrd="0" presId="urn:microsoft.com/office/officeart/2005/8/layout/default"/>
    <dgm:cxn modelId="{2011DA1A-CB1B-4F58-ABBB-673947FC2837}" type="presParOf" srcId="{6F5D089B-077D-4C47-90C2-0B5916880D2A}" destId="{47C986D9-7F24-475A-B74C-3472315A6BD8}" srcOrd="16" destOrd="0" presId="urn:microsoft.com/office/officeart/2005/8/layout/default"/>
    <dgm:cxn modelId="{FC85C9B9-D44E-427B-A4D8-BC94D61B394B}" type="presParOf" srcId="{6F5D089B-077D-4C47-90C2-0B5916880D2A}" destId="{976B208E-1E1D-4AC8-A747-B0EACDAE7DA2}" srcOrd="17" destOrd="0" presId="urn:microsoft.com/office/officeart/2005/8/layout/default"/>
    <dgm:cxn modelId="{8F8EC004-024B-4F1E-A1C0-3135A82A5E95}" type="presParOf" srcId="{6F5D089B-077D-4C47-90C2-0B5916880D2A}" destId="{8AB7713E-9C89-4398-9B05-34ECD0842BD6}" srcOrd="18" destOrd="0" presId="urn:microsoft.com/office/officeart/2005/8/layout/default"/>
    <dgm:cxn modelId="{2BFF9961-4468-4E8B-851C-ABACE0EAFC31}" type="presParOf" srcId="{6F5D089B-077D-4C47-90C2-0B5916880D2A}" destId="{436A126B-4FA0-4B85-915C-624198D60F39}" srcOrd="19" destOrd="0" presId="urn:microsoft.com/office/officeart/2005/8/layout/default"/>
    <dgm:cxn modelId="{53E1228A-2705-42DC-AE44-792317E1D983}" type="presParOf" srcId="{6F5D089B-077D-4C47-90C2-0B5916880D2A}" destId="{E251E7F3-060C-49F6-9D69-AF65467D76CA}" srcOrd="20" destOrd="0" presId="urn:microsoft.com/office/officeart/2005/8/layout/default"/>
    <dgm:cxn modelId="{2A1C3E10-832F-4BB1-9D9F-5E3960723FC7}" type="presParOf" srcId="{6F5D089B-077D-4C47-90C2-0B5916880D2A}" destId="{CAD24E7C-B01C-4F4F-81D6-9A892164853D}" srcOrd="21" destOrd="0" presId="urn:microsoft.com/office/officeart/2005/8/layout/default"/>
    <dgm:cxn modelId="{59E1FE48-0217-4FA7-8E4F-2EAC0DBEB6E4}" type="presParOf" srcId="{6F5D089B-077D-4C47-90C2-0B5916880D2A}" destId="{185A0A9F-F193-4283-9B8F-2420AF0083C4}" srcOrd="22" destOrd="0" presId="urn:microsoft.com/office/officeart/2005/8/layout/default"/>
    <dgm:cxn modelId="{802566F5-6C83-4374-9C4E-3A616DCEE767}" type="presParOf" srcId="{6F5D089B-077D-4C47-90C2-0B5916880D2A}" destId="{DBDD0AA3-89AF-4804-B376-30E35C7BBC3D}" srcOrd="23" destOrd="0" presId="urn:microsoft.com/office/officeart/2005/8/layout/default"/>
    <dgm:cxn modelId="{0B2D89C1-6BDA-4C3A-8332-3779745EE62B}" type="presParOf" srcId="{6F5D089B-077D-4C47-90C2-0B5916880D2A}" destId="{80580FEB-301B-473A-B84A-6CFE128393D4}" srcOrd="24" destOrd="0" presId="urn:microsoft.com/office/officeart/2005/8/layout/default"/>
    <dgm:cxn modelId="{9266EFDA-6D18-480C-96A9-C94301A1B720}" type="presParOf" srcId="{6F5D089B-077D-4C47-90C2-0B5916880D2A}" destId="{740FBB30-5249-4CF2-8308-EAD08EB0A0A4}" srcOrd="25" destOrd="0" presId="urn:microsoft.com/office/officeart/2005/8/layout/default"/>
    <dgm:cxn modelId="{984F1C45-960C-4F05-BCCA-55DFB3F6FD96}" type="presParOf" srcId="{6F5D089B-077D-4C47-90C2-0B5916880D2A}" destId="{E03F517D-E31E-4817-BC35-66F5609C8AC6}" srcOrd="26" destOrd="0" presId="urn:microsoft.com/office/officeart/2005/8/layout/default"/>
    <dgm:cxn modelId="{AE1E9AEE-936B-4F5A-A4EF-831586CBD11F}" type="presParOf" srcId="{6F5D089B-077D-4C47-90C2-0B5916880D2A}" destId="{0997D43A-4150-4140-9232-C029B2D9BE01}" srcOrd="27" destOrd="0" presId="urn:microsoft.com/office/officeart/2005/8/layout/default"/>
    <dgm:cxn modelId="{B2CC277C-B9DC-42CA-8D12-85B66579EE13}" type="presParOf" srcId="{6F5D089B-077D-4C47-90C2-0B5916880D2A}" destId="{A3C6C64E-50E9-4A04-8515-8EBB908AA254}" srcOrd="2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AA66329-A823-47BE-8B36-D0A722A49CF0}" type="doc">
      <dgm:prSet loTypeId="urn:microsoft.com/office/officeart/2005/8/layout/process5" loCatId="process" qsTypeId="urn:microsoft.com/office/officeart/2005/8/quickstyle/simple4" qsCatId="simple" csTypeId="urn:microsoft.com/office/officeart/2005/8/colors/colorful5" csCatId="colorful" phldr="1"/>
      <dgm:spPr/>
      <dgm:t>
        <a:bodyPr/>
        <a:lstStyle/>
        <a:p>
          <a:endParaRPr lang="en-US"/>
        </a:p>
      </dgm:t>
    </dgm:pt>
    <dgm:pt modelId="{5C4B3738-09DC-409B-AB4A-1F05808F43E6}">
      <dgm:prSet phldrT="[Text]" custT="1"/>
      <dgm:spPr/>
      <dgm:t>
        <a:bodyPr/>
        <a:lstStyle/>
        <a:p>
          <a:r>
            <a:rPr lang="en-US" sz="2000" dirty="0"/>
            <a:t>2007 - </a:t>
          </a:r>
          <a:r>
            <a:rPr lang="en-US" sz="2000" dirty="0" err="1"/>
            <a:t>Nakamoto</a:t>
          </a:r>
          <a:r>
            <a:rPr lang="en-US" sz="2000" dirty="0"/>
            <a:t> begins work on bitcoin</a:t>
          </a:r>
        </a:p>
      </dgm:t>
    </dgm:pt>
    <dgm:pt modelId="{C349EED4-2603-435F-95B0-80E8EFD14F3F}" type="parTrans" cxnId="{CFF74613-3B57-4476-90FD-6B2741C5DFFF}">
      <dgm:prSet/>
      <dgm:spPr/>
      <dgm:t>
        <a:bodyPr/>
        <a:lstStyle/>
        <a:p>
          <a:endParaRPr lang="en-US"/>
        </a:p>
      </dgm:t>
    </dgm:pt>
    <dgm:pt modelId="{E8D9D4DE-0401-4BD1-B8E7-305E754905EF}" type="sibTrans" cxnId="{CFF74613-3B57-4476-90FD-6B2741C5DFFF}">
      <dgm:prSet/>
      <dgm:spPr/>
      <dgm:t>
        <a:bodyPr/>
        <a:lstStyle/>
        <a:p>
          <a:endParaRPr lang="en-US"/>
        </a:p>
      </dgm:t>
    </dgm:pt>
    <dgm:pt modelId="{8D7C0B5E-8AB4-4287-B2A0-ED4CCEF2183E}">
      <dgm:prSet phldrT="[Text]" custT="1"/>
      <dgm:spPr/>
      <dgm:t>
        <a:bodyPr/>
        <a:lstStyle/>
        <a:p>
          <a:r>
            <a:rPr lang="en-US" sz="2000" dirty="0"/>
            <a:t>2008 - Bitcoin.org registered</a:t>
          </a:r>
        </a:p>
      </dgm:t>
    </dgm:pt>
    <dgm:pt modelId="{96C5FF89-C848-4494-A4A2-7D2C53C827F8}" type="parTrans" cxnId="{A942BF31-2C49-43E7-BAC6-27D67604AA0E}">
      <dgm:prSet/>
      <dgm:spPr/>
      <dgm:t>
        <a:bodyPr/>
        <a:lstStyle/>
        <a:p>
          <a:endParaRPr lang="en-US"/>
        </a:p>
      </dgm:t>
    </dgm:pt>
    <dgm:pt modelId="{E385D1FB-FADE-4736-894E-DA9457D6892B}" type="sibTrans" cxnId="{A942BF31-2C49-43E7-BAC6-27D67604AA0E}">
      <dgm:prSet/>
      <dgm:spPr/>
      <dgm:t>
        <a:bodyPr/>
        <a:lstStyle/>
        <a:p>
          <a:endParaRPr lang="en-US"/>
        </a:p>
      </dgm:t>
    </dgm:pt>
    <dgm:pt modelId="{5566576F-C1F1-46B4-B1B4-25EDB2C25F41}">
      <dgm:prSet phldrT="[Text]" custT="1"/>
      <dgm:spPr/>
      <dgm:t>
        <a:bodyPr/>
        <a:lstStyle/>
        <a:p>
          <a:r>
            <a:rPr lang="en-US" sz="2000" dirty="0"/>
            <a:t>Jan 3, 2009 – Genesis block 0 mined</a:t>
          </a:r>
        </a:p>
      </dgm:t>
    </dgm:pt>
    <dgm:pt modelId="{AD9D81FA-EDDB-4082-B2BB-4065F5964A3C}" type="parTrans" cxnId="{C6DCDDFC-A1A2-45EA-828C-0B3BB3EDD1D9}">
      <dgm:prSet/>
      <dgm:spPr/>
      <dgm:t>
        <a:bodyPr/>
        <a:lstStyle/>
        <a:p>
          <a:endParaRPr lang="en-US"/>
        </a:p>
      </dgm:t>
    </dgm:pt>
    <dgm:pt modelId="{3FADAF45-B41E-477D-860B-46106EB84BD1}" type="sibTrans" cxnId="{C6DCDDFC-A1A2-45EA-828C-0B3BB3EDD1D9}">
      <dgm:prSet/>
      <dgm:spPr/>
      <dgm:t>
        <a:bodyPr/>
        <a:lstStyle/>
        <a:p>
          <a:endParaRPr lang="en-US"/>
        </a:p>
      </dgm:t>
    </dgm:pt>
    <dgm:pt modelId="{2C56FCCE-F0BA-4DB5-A3C4-EE81E5158A8C}">
      <dgm:prSet phldrT="[Text]" custT="1"/>
      <dgm:spPr/>
      <dgm:t>
        <a:bodyPr/>
        <a:lstStyle/>
        <a:p>
          <a:r>
            <a:rPr lang="en-US" sz="2000" dirty="0"/>
            <a:t>Jan 12, 2009 – First transaction from </a:t>
          </a:r>
          <a:r>
            <a:rPr lang="en-US" sz="2000" dirty="0" err="1"/>
            <a:t>Nakamoto</a:t>
          </a:r>
          <a:r>
            <a:rPr lang="en-US" sz="2000" dirty="0"/>
            <a:t> to Finney. Block 170</a:t>
          </a:r>
        </a:p>
      </dgm:t>
    </dgm:pt>
    <dgm:pt modelId="{82C4CD17-2DF8-43D9-AB18-476BEC2CBB4E}" type="parTrans" cxnId="{A8F1A1F4-02BC-46E9-ACB8-65AC92DF17D1}">
      <dgm:prSet/>
      <dgm:spPr/>
      <dgm:t>
        <a:bodyPr/>
        <a:lstStyle/>
        <a:p>
          <a:endParaRPr lang="en-US"/>
        </a:p>
      </dgm:t>
    </dgm:pt>
    <dgm:pt modelId="{3DE5823C-20A6-4679-B2E8-71BA2D1D22E1}" type="sibTrans" cxnId="{A8F1A1F4-02BC-46E9-ACB8-65AC92DF17D1}">
      <dgm:prSet/>
      <dgm:spPr/>
      <dgm:t>
        <a:bodyPr/>
        <a:lstStyle/>
        <a:p>
          <a:endParaRPr lang="en-US"/>
        </a:p>
      </dgm:t>
    </dgm:pt>
    <dgm:pt modelId="{865AC6DF-BCFA-469B-8F3C-E3811BA7AC5E}">
      <dgm:prSet phldrT="[Text]" custT="1"/>
      <dgm:spPr/>
      <dgm:t>
        <a:bodyPr/>
        <a:lstStyle/>
        <a:p>
          <a:r>
            <a:rPr lang="en-US" sz="2000" dirty="0"/>
            <a:t>Oct 31, 2008 white paper published on crypto mailing list</a:t>
          </a:r>
        </a:p>
      </dgm:t>
    </dgm:pt>
    <dgm:pt modelId="{91B46F77-0172-4FBE-BFBC-782F85CDB28A}" type="parTrans" cxnId="{F58D6E1F-23A1-4892-A104-C31F1DB247B3}">
      <dgm:prSet/>
      <dgm:spPr/>
      <dgm:t>
        <a:bodyPr/>
        <a:lstStyle/>
        <a:p>
          <a:endParaRPr lang="en-US"/>
        </a:p>
      </dgm:t>
    </dgm:pt>
    <dgm:pt modelId="{C49E8535-F261-4EA3-8165-3DBDE655A058}" type="sibTrans" cxnId="{F58D6E1F-23A1-4892-A104-C31F1DB247B3}">
      <dgm:prSet/>
      <dgm:spPr/>
      <dgm:t>
        <a:bodyPr/>
        <a:lstStyle/>
        <a:p>
          <a:endParaRPr lang="en-US"/>
        </a:p>
      </dgm:t>
    </dgm:pt>
    <dgm:pt modelId="{F19E3D9E-D03A-48BD-B3A1-2518C966172A}">
      <dgm:prSet phldrT="[Text]" custT="1"/>
      <dgm:spPr/>
      <dgm:t>
        <a:bodyPr/>
        <a:lstStyle/>
        <a:p>
          <a:r>
            <a:rPr lang="en-US" sz="2000" dirty="0"/>
            <a:t>Jan 9, 2009 – Code posted</a:t>
          </a:r>
        </a:p>
      </dgm:t>
    </dgm:pt>
    <dgm:pt modelId="{FB3D94C1-C2CA-4EAF-ADDF-C07592AA2043}" type="parTrans" cxnId="{492B30FA-BBF4-4021-8852-DFF14D86BCCF}">
      <dgm:prSet/>
      <dgm:spPr/>
      <dgm:t>
        <a:bodyPr/>
        <a:lstStyle/>
        <a:p>
          <a:endParaRPr lang="en-US"/>
        </a:p>
      </dgm:t>
    </dgm:pt>
    <dgm:pt modelId="{9A327B31-697B-43A4-B7C2-F318DCCB1D5C}" type="sibTrans" cxnId="{492B30FA-BBF4-4021-8852-DFF14D86BCCF}">
      <dgm:prSet/>
      <dgm:spPr/>
      <dgm:t>
        <a:bodyPr/>
        <a:lstStyle/>
        <a:p>
          <a:endParaRPr lang="en-US"/>
        </a:p>
      </dgm:t>
    </dgm:pt>
    <dgm:pt modelId="{7944D9E2-9653-4138-B938-1C3AB4F38549}">
      <dgm:prSet phldrT="[Text]" custT="1"/>
      <dgm:spPr/>
      <dgm:t>
        <a:bodyPr/>
        <a:lstStyle/>
        <a:p>
          <a:r>
            <a:rPr lang="en-US" sz="2000" dirty="0"/>
            <a:t>Oct 5, 2009 – Exchange rate 1 USD = 1300 BTC</a:t>
          </a:r>
        </a:p>
      </dgm:t>
    </dgm:pt>
    <dgm:pt modelId="{C830F041-5161-429C-8622-596BED021F4A}" type="parTrans" cxnId="{E5AC3717-9B29-4A25-B45A-AFAB3CCB657C}">
      <dgm:prSet/>
      <dgm:spPr/>
      <dgm:t>
        <a:bodyPr/>
        <a:lstStyle/>
        <a:p>
          <a:endParaRPr lang="en-US"/>
        </a:p>
      </dgm:t>
    </dgm:pt>
    <dgm:pt modelId="{85AE9ADB-8991-4E18-BF04-B7445C9364CD}" type="sibTrans" cxnId="{E5AC3717-9B29-4A25-B45A-AFAB3CCB657C}">
      <dgm:prSet/>
      <dgm:spPr/>
      <dgm:t>
        <a:bodyPr/>
        <a:lstStyle/>
        <a:p>
          <a:endParaRPr lang="en-US"/>
        </a:p>
      </dgm:t>
    </dgm:pt>
    <dgm:pt modelId="{D3854FA0-B079-47D5-86F6-EF87B70BABE2}">
      <dgm:prSet phldrT="[Text]" custT="1"/>
      <dgm:spPr/>
      <dgm:t>
        <a:bodyPr/>
        <a:lstStyle/>
        <a:p>
          <a:r>
            <a:rPr lang="en-US" sz="2000" dirty="0"/>
            <a:t>2010 – Programmer pays 10000 BTC for 2 pizzas</a:t>
          </a:r>
        </a:p>
      </dgm:t>
    </dgm:pt>
    <dgm:pt modelId="{DBA70B47-D794-49A0-B0E4-731CE387DF8B}" type="parTrans" cxnId="{736F893F-6D92-4A74-808D-EFF47532BB24}">
      <dgm:prSet/>
      <dgm:spPr/>
      <dgm:t>
        <a:bodyPr/>
        <a:lstStyle/>
        <a:p>
          <a:endParaRPr lang="en-US"/>
        </a:p>
      </dgm:t>
    </dgm:pt>
    <dgm:pt modelId="{FBC3BFE3-B64D-4484-BC16-26B186716B26}" type="sibTrans" cxnId="{736F893F-6D92-4A74-808D-EFF47532BB24}">
      <dgm:prSet/>
      <dgm:spPr/>
      <dgm:t>
        <a:bodyPr/>
        <a:lstStyle/>
        <a:p>
          <a:endParaRPr lang="en-US"/>
        </a:p>
      </dgm:t>
    </dgm:pt>
    <dgm:pt modelId="{0357FA6A-D83D-495E-B1E7-D26C35214C01}">
      <dgm:prSet phldrT="[Text]" custT="1"/>
      <dgm:spPr/>
      <dgm:t>
        <a:bodyPr/>
        <a:lstStyle/>
        <a:p>
          <a:r>
            <a:rPr lang="en-US" sz="2000" dirty="0"/>
            <a:t>2010 – Mining pool established</a:t>
          </a:r>
        </a:p>
      </dgm:t>
    </dgm:pt>
    <dgm:pt modelId="{DC014973-6E0B-4985-83D4-84B52F10C37C}" type="parTrans" cxnId="{ADB35856-AA72-4A9D-9783-82E027116A10}">
      <dgm:prSet/>
      <dgm:spPr/>
      <dgm:t>
        <a:bodyPr/>
        <a:lstStyle/>
        <a:p>
          <a:endParaRPr lang="en-US"/>
        </a:p>
      </dgm:t>
    </dgm:pt>
    <dgm:pt modelId="{B2C13B60-1D3B-4086-AF8C-DDBA592CDFBE}" type="sibTrans" cxnId="{ADB35856-AA72-4A9D-9783-82E027116A10}">
      <dgm:prSet/>
      <dgm:spPr/>
      <dgm:t>
        <a:bodyPr/>
        <a:lstStyle/>
        <a:p>
          <a:endParaRPr lang="en-US"/>
        </a:p>
      </dgm:t>
    </dgm:pt>
    <dgm:pt modelId="{74ACD320-1DFD-4C3E-93E4-90A30891128A}">
      <dgm:prSet phldrT="[Text]" custT="1"/>
      <dgm:spPr/>
      <dgm:t>
        <a:bodyPr/>
        <a:lstStyle/>
        <a:p>
          <a:r>
            <a:rPr lang="en-US" sz="2000" dirty="0"/>
            <a:t>2012 – </a:t>
          </a:r>
          <a:r>
            <a:rPr lang="en-US" sz="2000" dirty="0" err="1"/>
            <a:t>Wikileaks</a:t>
          </a:r>
          <a:r>
            <a:rPr lang="en-US" sz="2000" dirty="0"/>
            <a:t>, </a:t>
          </a:r>
          <a:r>
            <a:rPr lang="en-US" sz="2000" dirty="0" err="1"/>
            <a:t>Wordpress</a:t>
          </a:r>
          <a:r>
            <a:rPr lang="en-US" sz="2000" dirty="0"/>
            <a:t> accept BTC</a:t>
          </a:r>
        </a:p>
      </dgm:t>
    </dgm:pt>
    <dgm:pt modelId="{B2D3DFE0-B5A2-4BFB-B350-7214881E09C3}" type="parTrans" cxnId="{A641E074-B630-4973-95AC-2A3DF3CEFB97}">
      <dgm:prSet/>
      <dgm:spPr/>
      <dgm:t>
        <a:bodyPr/>
        <a:lstStyle/>
        <a:p>
          <a:endParaRPr lang="en-US"/>
        </a:p>
      </dgm:t>
    </dgm:pt>
    <dgm:pt modelId="{B5C6B39C-1B58-4FE6-BDAE-6BF8B18D2182}" type="sibTrans" cxnId="{A641E074-B630-4973-95AC-2A3DF3CEFB97}">
      <dgm:prSet/>
      <dgm:spPr/>
      <dgm:t>
        <a:bodyPr/>
        <a:lstStyle/>
        <a:p>
          <a:endParaRPr lang="en-US"/>
        </a:p>
      </dgm:t>
    </dgm:pt>
    <dgm:pt modelId="{0354BD45-D033-4A5E-8AB4-5A36FB430F53}">
      <dgm:prSet phldrT="[Text]" custT="1"/>
      <dgm:spPr/>
      <dgm:t>
        <a:bodyPr/>
        <a:lstStyle/>
        <a:p>
          <a:r>
            <a:rPr lang="en-US" sz="2000" dirty="0"/>
            <a:t>2013 – FBI shuts down Silk road (</a:t>
          </a:r>
          <a:r>
            <a:rPr lang="en-US" sz="2000" dirty="0" err="1"/>
            <a:t>ebay</a:t>
          </a:r>
          <a:r>
            <a:rPr lang="en-US" sz="2000" dirty="0"/>
            <a:t> for drugs) and seizes 144,000 </a:t>
          </a:r>
          <a:r>
            <a:rPr lang="en-US" sz="2000" dirty="0" err="1"/>
            <a:t>btc</a:t>
          </a:r>
          <a:endParaRPr lang="en-US" sz="2000" dirty="0"/>
        </a:p>
      </dgm:t>
    </dgm:pt>
    <dgm:pt modelId="{1F404598-0053-42AB-94C3-9EAB3A03F781}" type="parTrans" cxnId="{AA0FA90F-F89D-4DB7-8CA5-0D65223F6562}">
      <dgm:prSet/>
      <dgm:spPr/>
      <dgm:t>
        <a:bodyPr/>
        <a:lstStyle/>
        <a:p>
          <a:endParaRPr lang="en-US"/>
        </a:p>
      </dgm:t>
    </dgm:pt>
    <dgm:pt modelId="{E3FB314E-6278-4BC6-883C-4E4AD1CC0036}" type="sibTrans" cxnId="{AA0FA90F-F89D-4DB7-8CA5-0D65223F6562}">
      <dgm:prSet/>
      <dgm:spPr/>
      <dgm:t>
        <a:bodyPr/>
        <a:lstStyle/>
        <a:p>
          <a:endParaRPr lang="en-US"/>
        </a:p>
      </dgm:t>
    </dgm:pt>
    <dgm:pt modelId="{140BF2F2-A8ED-42A2-ACC0-766797AC231D}">
      <dgm:prSet phldrT="[Text]" custT="1"/>
      <dgm:spPr/>
      <dgm:t>
        <a:bodyPr/>
        <a:lstStyle/>
        <a:p>
          <a:r>
            <a:rPr lang="en-US" sz="2000" dirty="0"/>
            <a:t>2013 – U of Nicosia accepts BTC for tuition</a:t>
          </a:r>
        </a:p>
      </dgm:t>
    </dgm:pt>
    <dgm:pt modelId="{AEA7E91E-1098-4BA2-B847-E98ED3233D4C}" type="parTrans" cxnId="{9034244F-794E-4BAE-8636-04FEB4CFAEFF}">
      <dgm:prSet/>
      <dgm:spPr/>
      <dgm:t>
        <a:bodyPr/>
        <a:lstStyle/>
        <a:p>
          <a:endParaRPr lang="en-US"/>
        </a:p>
      </dgm:t>
    </dgm:pt>
    <dgm:pt modelId="{A2DB153A-4A99-457E-A77E-A82FEC66710B}" type="sibTrans" cxnId="{9034244F-794E-4BAE-8636-04FEB4CFAEFF}">
      <dgm:prSet/>
      <dgm:spPr/>
      <dgm:t>
        <a:bodyPr/>
        <a:lstStyle/>
        <a:p>
          <a:endParaRPr lang="en-US"/>
        </a:p>
      </dgm:t>
    </dgm:pt>
    <dgm:pt modelId="{E5F0005F-290A-4E71-A27B-D64E19410906}">
      <dgm:prSet phldrT="[Text]" custT="1"/>
      <dgm:spPr/>
      <dgm:t>
        <a:bodyPr/>
        <a:lstStyle/>
        <a:p>
          <a:r>
            <a:rPr lang="en-US" sz="2000" dirty="0"/>
            <a:t>2014 – </a:t>
          </a:r>
          <a:r>
            <a:rPr lang="en-US" sz="2000" dirty="0" err="1"/>
            <a:t>MtGox</a:t>
          </a:r>
          <a:r>
            <a:rPr lang="en-US" sz="2000" dirty="0"/>
            <a:t> exchange hacked, 744,000 </a:t>
          </a:r>
          <a:r>
            <a:rPr lang="en-US" sz="2000" dirty="0" err="1"/>
            <a:t>btc</a:t>
          </a:r>
          <a:r>
            <a:rPr lang="en-US" sz="2000" dirty="0"/>
            <a:t> stolen. Shuts.</a:t>
          </a:r>
        </a:p>
      </dgm:t>
    </dgm:pt>
    <dgm:pt modelId="{CB814D32-DE3A-4679-87B5-34E19E7206F1}" type="parTrans" cxnId="{327EBC0E-ADB9-4B5A-AF2A-6258FDD48BE4}">
      <dgm:prSet/>
      <dgm:spPr/>
      <dgm:t>
        <a:bodyPr/>
        <a:lstStyle/>
        <a:p>
          <a:endParaRPr lang="en-US"/>
        </a:p>
      </dgm:t>
    </dgm:pt>
    <dgm:pt modelId="{36BA30A4-9CEC-40D5-A0E6-02AB6F092107}" type="sibTrans" cxnId="{327EBC0E-ADB9-4B5A-AF2A-6258FDD48BE4}">
      <dgm:prSet/>
      <dgm:spPr/>
      <dgm:t>
        <a:bodyPr/>
        <a:lstStyle/>
        <a:p>
          <a:endParaRPr lang="en-US"/>
        </a:p>
      </dgm:t>
    </dgm:pt>
    <dgm:pt modelId="{27A1DF5F-8686-47CA-AD6C-4031C57FC15F}">
      <dgm:prSet phldrT="[Text]" custT="1"/>
      <dgm:spPr/>
      <dgm:t>
        <a:bodyPr/>
        <a:lstStyle/>
        <a:p>
          <a:r>
            <a:rPr lang="en-US" sz="2000" dirty="0"/>
            <a:t>2017 – SEC denies bitcoin ETF, reaches 1 BTC = $19000</a:t>
          </a:r>
        </a:p>
      </dgm:t>
    </dgm:pt>
    <dgm:pt modelId="{2C6202D9-6DC2-4AB6-BABD-97534EF1A6F9}" type="parTrans" cxnId="{2165CF6B-CCE6-412E-A877-B94FCD6A56BB}">
      <dgm:prSet/>
      <dgm:spPr/>
      <dgm:t>
        <a:bodyPr/>
        <a:lstStyle/>
        <a:p>
          <a:endParaRPr lang="en-US"/>
        </a:p>
      </dgm:t>
    </dgm:pt>
    <dgm:pt modelId="{DEF6FE00-58A9-45F5-A836-5161499E46BD}" type="sibTrans" cxnId="{2165CF6B-CCE6-412E-A877-B94FCD6A56BB}">
      <dgm:prSet/>
      <dgm:spPr/>
      <dgm:t>
        <a:bodyPr/>
        <a:lstStyle/>
        <a:p>
          <a:endParaRPr lang="en-US"/>
        </a:p>
      </dgm:t>
    </dgm:pt>
    <dgm:pt modelId="{7841B6FD-C7A2-486C-A22A-7B97B1988F05}">
      <dgm:prSet phldrT="[Text]" custT="1"/>
      <dgm:spPr/>
      <dgm:t>
        <a:bodyPr/>
        <a:lstStyle/>
        <a:p>
          <a:r>
            <a:rPr lang="en-US" sz="2000" dirty="0"/>
            <a:t>2017 Aug 1 etc., Bitcoin forks into more currencies. Hard forks.</a:t>
          </a:r>
        </a:p>
      </dgm:t>
    </dgm:pt>
    <dgm:pt modelId="{83361CDF-7250-445B-96DA-948B5AA140E5}" type="parTrans" cxnId="{7834CB61-F410-4CAA-8B1B-B639FD8254DA}">
      <dgm:prSet/>
      <dgm:spPr/>
      <dgm:t>
        <a:bodyPr/>
        <a:lstStyle/>
        <a:p>
          <a:endParaRPr lang="en-US"/>
        </a:p>
      </dgm:t>
    </dgm:pt>
    <dgm:pt modelId="{FEEE435B-2228-48C9-BB51-2AF5C2B78D09}" type="sibTrans" cxnId="{7834CB61-F410-4CAA-8B1B-B639FD8254DA}">
      <dgm:prSet/>
      <dgm:spPr/>
      <dgm:t>
        <a:bodyPr/>
        <a:lstStyle/>
        <a:p>
          <a:endParaRPr lang="en-US"/>
        </a:p>
      </dgm:t>
    </dgm:pt>
    <dgm:pt modelId="{D7AB1BD1-DF1E-4840-8838-133831299FA8}" type="pres">
      <dgm:prSet presAssocID="{BAA66329-A823-47BE-8B36-D0A722A49CF0}" presName="diagram" presStyleCnt="0">
        <dgm:presLayoutVars>
          <dgm:dir/>
          <dgm:resizeHandles val="exact"/>
        </dgm:presLayoutVars>
      </dgm:prSet>
      <dgm:spPr/>
    </dgm:pt>
    <dgm:pt modelId="{50E08931-62FF-4949-8AE6-D5F0D117C9BD}" type="pres">
      <dgm:prSet presAssocID="{5C4B3738-09DC-409B-AB4A-1F05808F43E6}" presName="node" presStyleLbl="node1" presStyleIdx="0" presStyleCnt="15" custScaleX="190902" custScaleY="232043">
        <dgm:presLayoutVars>
          <dgm:bulletEnabled val="1"/>
        </dgm:presLayoutVars>
      </dgm:prSet>
      <dgm:spPr/>
    </dgm:pt>
    <dgm:pt modelId="{30E88609-74C2-495B-99BF-A170253A1BEF}" type="pres">
      <dgm:prSet presAssocID="{E8D9D4DE-0401-4BD1-B8E7-305E754905EF}" presName="sibTrans" presStyleLbl="sibTrans2D1" presStyleIdx="0" presStyleCnt="14"/>
      <dgm:spPr/>
    </dgm:pt>
    <dgm:pt modelId="{ECB25496-B88C-4FE6-A0D6-9AF2F6E4BBC4}" type="pres">
      <dgm:prSet presAssocID="{E8D9D4DE-0401-4BD1-B8E7-305E754905EF}" presName="connectorText" presStyleLbl="sibTrans2D1" presStyleIdx="0" presStyleCnt="14"/>
      <dgm:spPr/>
    </dgm:pt>
    <dgm:pt modelId="{6F807497-FCB1-4A3A-BAA6-C9C039118BE7}" type="pres">
      <dgm:prSet presAssocID="{8D7C0B5E-8AB4-4287-B2A0-ED4CCEF2183E}" presName="node" presStyleLbl="node1" presStyleIdx="1" presStyleCnt="15" custScaleX="190902" custScaleY="232043">
        <dgm:presLayoutVars>
          <dgm:bulletEnabled val="1"/>
        </dgm:presLayoutVars>
      </dgm:prSet>
      <dgm:spPr/>
    </dgm:pt>
    <dgm:pt modelId="{45DA37A5-D194-4080-836F-F0E984A0A919}" type="pres">
      <dgm:prSet presAssocID="{E385D1FB-FADE-4736-894E-DA9457D6892B}" presName="sibTrans" presStyleLbl="sibTrans2D1" presStyleIdx="1" presStyleCnt="14"/>
      <dgm:spPr/>
    </dgm:pt>
    <dgm:pt modelId="{A1AE99D1-C30E-490D-B01A-5729514A31FC}" type="pres">
      <dgm:prSet presAssocID="{E385D1FB-FADE-4736-894E-DA9457D6892B}" presName="connectorText" presStyleLbl="sibTrans2D1" presStyleIdx="1" presStyleCnt="14"/>
      <dgm:spPr/>
    </dgm:pt>
    <dgm:pt modelId="{7AB97974-D361-41FB-AEBE-8B75DF913887}" type="pres">
      <dgm:prSet presAssocID="{865AC6DF-BCFA-469B-8F3C-E3811BA7AC5E}" presName="node" presStyleLbl="node1" presStyleIdx="2" presStyleCnt="15" custScaleX="190902" custScaleY="232043">
        <dgm:presLayoutVars>
          <dgm:bulletEnabled val="1"/>
        </dgm:presLayoutVars>
      </dgm:prSet>
      <dgm:spPr/>
    </dgm:pt>
    <dgm:pt modelId="{B725B5A4-4BE3-4071-A4C7-30001864E533}" type="pres">
      <dgm:prSet presAssocID="{C49E8535-F261-4EA3-8165-3DBDE655A058}" presName="sibTrans" presStyleLbl="sibTrans2D1" presStyleIdx="2" presStyleCnt="14"/>
      <dgm:spPr/>
    </dgm:pt>
    <dgm:pt modelId="{1D62B4DF-590E-4730-9089-BAE33A3E0510}" type="pres">
      <dgm:prSet presAssocID="{C49E8535-F261-4EA3-8165-3DBDE655A058}" presName="connectorText" presStyleLbl="sibTrans2D1" presStyleIdx="2" presStyleCnt="14"/>
      <dgm:spPr/>
    </dgm:pt>
    <dgm:pt modelId="{6F9AB85B-710F-4E2D-8873-C9544FBD3A29}" type="pres">
      <dgm:prSet presAssocID="{5566576F-C1F1-46B4-B1B4-25EDB2C25F41}" presName="node" presStyleLbl="node1" presStyleIdx="3" presStyleCnt="15" custScaleX="190902" custScaleY="232043">
        <dgm:presLayoutVars>
          <dgm:bulletEnabled val="1"/>
        </dgm:presLayoutVars>
      </dgm:prSet>
      <dgm:spPr/>
    </dgm:pt>
    <dgm:pt modelId="{67029E87-F17A-446A-A285-E58C6E1C5BC8}" type="pres">
      <dgm:prSet presAssocID="{3FADAF45-B41E-477D-860B-46106EB84BD1}" presName="sibTrans" presStyleLbl="sibTrans2D1" presStyleIdx="3" presStyleCnt="14"/>
      <dgm:spPr/>
    </dgm:pt>
    <dgm:pt modelId="{B1A6BDED-7925-4663-A458-24D8D67EEAD8}" type="pres">
      <dgm:prSet presAssocID="{3FADAF45-B41E-477D-860B-46106EB84BD1}" presName="connectorText" presStyleLbl="sibTrans2D1" presStyleIdx="3" presStyleCnt="14"/>
      <dgm:spPr/>
    </dgm:pt>
    <dgm:pt modelId="{9DE663B4-7188-424C-BBE3-7D524E6A4009}" type="pres">
      <dgm:prSet presAssocID="{F19E3D9E-D03A-48BD-B3A1-2518C966172A}" presName="node" presStyleLbl="node1" presStyleIdx="4" presStyleCnt="15" custScaleX="190902" custScaleY="232043">
        <dgm:presLayoutVars>
          <dgm:bulletEnabled val="1"/>
        </dgm:presLayoutVars>
      </dgm:prSet>
      <dgm:spPr/>
    </dgm:pt>
    <dgm:pt modelId="{D80503C3-4901-49C0-A3ED-01FF82C18D33}" type="pres">
      <dgm:prSet presAssocID="{9A327B31-697B-43A4-B7C2-F318DCCB1D5C}" presName="sibTrans" presStyleLbl="sibTrans2D1" presStyleIdx="4" presStyleCnt="14"/>
      <dgm:spPr/>
    </dgm:pt>
    <dgm:pt modelId="{B998177F-2DD2-4EAB-9988-03F61FD01C6B}" type="pres">
      <dgm:prSet presAssocID="{9A327B31-697B-43A4-B7C2-F318DCCB1D5C}" presName="connectorText" presStyleLbl="sibTrans2D1" presStyleIdx="4" presStyleCnt="14"/>
      <dgm:spPr/>
    </dgm:pt>
    <dgm:pt modelId="{5CC5C694-40CC-449F-AC2D-52656A2B8244}" type="pres">
      <dgm:prSet presAssocID="{2C56FCCE-F0BA-4DB5-A3C4-EE81E5158A8C}" presName="node" presStyleLbl="node1" presStyleIdx="5" presStyleCnt="15" custScaleX="190902" custScaleY="232043">
        <dgm:presLayoutVars>
          <dgm:bulletEnabled val="1"/>
        </dgm:presLayoutVars>
      </dgm:prSet>
      <dgm:spPr/>
    </dgm:pt>
    <dgm:pt modelId="{989EB366-3616-4EE5-BA50-E80174B6575F}" type="pres">
      <dgm:prSet presAssocID="{3DE5823C-20A6-4679-B2E8-71BA2D1D22E1}" presName="sibTrans" presStyleLbl="sibTrans2D1" presStyleIdx="5" presStyleCnt="14"/>
      <dgm:spPr/>
    </dgm:pt>
    <dgm:pt modelId="{631BB7C3-CDE0-4C78-9E07-948B3821E9AF}" type="pres">
      <dgm:prSet presAssocID="{3DE5823C-20A6-4679-B2E8-71BA2D1D22E1}" presName="connectorText" presStyleLbl="sibTrans2D1" presStyleIdx="5" presStyleCnt="14"/>
      <dgm:spPr/>
    </dgm:pt>
    <dgm:pt modelId="{53A88AED-F9AC-4FCA-8125-DF49DF59D738}" type="pres">
      <dgm:prSet presAssocID="{7944D9E2-9653-4138-B938-1C3AB4F38549}" presName="node" presStyleLbl="node1" presStyleIdx="6" presStyleCnt="15" custScaleX="190902" custScaleY="232043">
        <dgm:presLayoutVars>
          <dgm:bulletEnabled val="1"/>
        </dgm:presLayoutVars>
      </dgm:prSet>
      <dgm:spPr/>
    </dgm:pt>
    <dgm:pt modelId="{5BC36163-3B88-492A-BB18-11A8577D1831}" type="pres">
      <dgm:prSet presAssocID="{85AE9ADB-8991-4E18-BF04-B7445C9364CD}" presName="sibTrans" presStyleLbl="sibTrans2D1" presStyleIdx="6" presStyleCnt="14"/>
      <dgm:spPr/>
    </dgm:pt>
    <dgm:pt modelId="{0A33E3ED-2DD8-4223-ABFC-570C6DEC62D2}" type="pres">
      <dgm:prSet presAssocID="{85AE9ADB-8991-4E18-BF04-B7445C9364CD}" presName="connectorText" presStyleLbl="sibTrans2D1" presStyleIdx="6" presStyleCnt="14"/>
      <dgm:spPr/>
    </dgm:pt>
    <dgm:pt modelId="{C6627354-60E0-4CCF-BB6C-886E0482726C}" type="pres">
      <dgm:prSet presAssocID="{D3854FA0-B079-47D5-86F6-EF87B70BABE2}" presName="node" presStyleLbl="node1" presStyleIdx="7" presStyleCnt="15" custScaleX="190902" custScaleY="232043">
        <dgm:presLayoutVars>
          <dgm:bulletEnabled val="1"/>
        </dgm:presLayoutVars>
      </dgm:prSet>
      <dgm:spPr/>
    </dgm:pt>
    <dgm:pt modelId="{B6C3FC9B-1F7A-4BDE-B013-1C32E186A275}" type="pres">
      <dgm:prSet presAssocID="{FBC3BFE3-B64D-4484-BC16-26B186716B26}" presName="sibTrans" presStyleLbl="sibTrans2D1" presStyleIdx="7" presStyleCnt="14"/>
      <dgm:spPr/>
    </dgm:pt>
    <dgm:pt modelId="{D9D2C470-7458-4BC0-BA7E-5C47C354EAA3}" type="pres">
      <dgm:prSet presAssocID="{FBC3BFE3-B64D-4484-BC16-26B186716B26}" presName="connectorText" presStyleLbl="sibTrans2D1" presStyleIdx="7" presStyleCnt="14"/>
      <dgm:spPr/>
    </dgm:pt>
    <dgm:pt modelId="{31AC987F-70A4-429D-9C26-F070849F049C}" type="pres">
      <dgm:prSet presAssocID="{0357FA6A-D83D-495E-B1E7-D26C35214C01}" presName="node" presStyleLbl="node1" presStyleIdx="8" presStyleCnt="15" custScaleX="190902" custScaleY="232043">
        <dgm:presLayoutVars>
          <dgm:bulletEnabled val="1"/>
        </dgm:presLayoutVars>
      </dgm:prSet>
      <dgm:spPr/>
    </dgm:pt>
    <dgm:pt modelId="{CA642328-5B94-4ACD-B12D-1F31CF8E3C5D}" type="pres">
      <dgm:prSet presAssocID="{B2C13B60-1D3B-4086-AF8C-DDBA592CDFBE}" presName="sibTrans" presStyleLbl="sibTrans2D1" presStyleIdx="8" presStyleCnt="14"/>
      <dgm:spPr/>
    </dgm:pt>
    <dgm:pt modelId="{616FC177-18F3-436B-935A-E14DD359F2CD}" type="pres">
      <dgm:prSet presAssocID="{B2C13B60-1D3B-4086-AF8C-DDBA592CDFBE}" presName="connectorText" presStyleLbl="sibTrans2D1" presStyleIdx="8" presStyleCnt="14"/>
      <dgm:spPr/>
    </dgm:pt>
    <dgm:pt modelId="{B4F5A22E-9BD5-46F3-94A5-C78B1C7AF0BE}" type="pres">
      <dgm:prSet presAssocID="{74ACD320-1DFD-4C3E-93E4-90A30891128A}" presName="node" presStyleLbl="node1" presStyleIdx="9" presStyleCnt="15" custScaleX="190902" custScaleY="232043">
        <dgm:presLayoutVars>
          <dgm:bulletEnabled val="1"/>
        </dgm:presLayoutVars>
      </dgm:prSet>
      <dgm:spPr/>
    </dgm:pt>
    <dgm:pt modelId="{C52E29EE-D0B7-4D91-82EF-BFD9C89DAED1}" type="pres">
      <dgm:prSet presAssocID="{B5C6B39C-1B58-4FE6-BDAE-6BF8B18D2182}" presName="sibTrans" presStyleLbl="sibTrans2D1" presStyleIdx="9" presStyleCnt="14"/>
      <dgm:spPr/>
    </dgm:pt>
    <dgm:pt modelId="{44444406-1CEC-4464-B503-DF1CCA5C078F}" type="pres">
      <dgm:prSet presAssocID="{B5C6B39C-1B58-4FE6-BDAE-6BF8B18D2182}" presName="connectorText" presStyleLbl="sibTrans2D1" presStyleIdx="9" presStyleCnt="14"/>
      <dgm:spPr/>
    </dgm:pt>
    <dgm:pt modelId="{A0BCDFA0-5D32-4007-97C7-EA4CE6802226}" type="pres">
      <dgm:prSet presAssocID="{0354BD45-D033-4A5E-8AB4-5A36FB430F53}" presName="node" presStyleLbl="node1" presStyleIdx="10" presStyleCnt="15" custScaleX="190902" custScaleY="232043">
        <dgm:presLayoutVars>
          <dgm:bulletEnabled val="1"/>
        </dgm:presLayoutVars>
      </dgm:prSet>
      <dgm:spPr/>
    </dgm:pt>
    <dgm:pt modelId="{DA8854CD-E5CF-40EB-A0C1-B7ED1D91423A}" type="pres">
      <dgm:prSet presAssocID="{E3FB314E-6278-4BC6-883C-4E4AD1CC0036}" presName="sibTrans" presStyleLbl="sibTrans2D1" presStyleIdx="10" presStyleCnt="14"/>
      <dgm:spPr/>
    </dgm:pt>
    <dgm:pt modelId="{2599D208-DEC9-4DFA-99B3-5A5BAD5B8CC6}" type="pres">
      <dgm:prSet presAssocID="{E3FB314E-6278-4BC6-883C-4E4AD1CC0036}" presName="connectorText" presStyleLbl="sibTrans2D1" presStyleIdx="10" presStyleCnt="14"/>
      <dgm:spPr/>
    </dgm:pt>
    <dgm:pt modelId="{AE343C9B-B6A6-4E22-8765-14CA0F815F87}" type="pres">
      <dgm:prSet presAssocID="{140BF2F2-A8ED-42A2-ACC0-766797AC231D}" presName="node" presStyleLbl="node1" presStyleIdx="11" presStyleCnt="15" custScaleX="190902" custScaleY="232043">
        <dgm:presLayoutVars>
          <dgm:bulletEnabled val="1"/>
        </dgm:presLayoutVars>
      </dgm:prSet>
      <dgm:spPr/>
    </dgm:pt>
    <dgm:pt modelId="{D55A9C49-6E7C-4828-ABD5-6DCA4CB41CE6}" type="pres">
      <dgm:prSet presAssocID="{A2DB153A-4A99-457E-A77E-A82FEC66710B}" presName="sibTrans" presStyleLbl="sibTrans2D1" presStyleIdx="11" presStyleCnt="14"/>
      <dgm:spPr/>
    </dgm:pt>
    <dgm:pt modelId="{71E1D94D-57AD-4162-8500-B4D542D3B82F}" type="pres">
      <dgm:prSet presAssocID="{A2DB153A-4A99-457E-A77E-A82FEC66710B}" presName="connectorText" presStyleLbl="sibTrans2D1" presStyleIdx="11" presStyleCnt="14"/>
      <dgm:spPr/>
    </dgm:pt>
    <dgm:pt modelId="{BC528DAD-8076-46BC-A480-80E2B2B24C05}" type="pres">
      <dgm:prSet presAssocID="{E5F0005F-290A-4E71-A27B-D64E19410906}" presName="node" presStyleLbl="node1" presStyleIdx="12" presStyleCnt="15" custScaleX="190902" custScaleY="232043">
        <dgm:presLayoutVars>
          <dgm:bulletEnabled val="1"/>
        </dgm:presLayoutVars>
      </dgm:prSet>
      <dgm:spPr/>
    </dgm:pt>
    <dgm:pt modelId="{58AD457D-7057-4D97-944F-D7847B7012A8}" type="pres">
      <dgm:prSet presAssocID="{36BA30A4-9CEC-40D5-A0E6-02AB6F092107}" presName="sibTrans" presStyleLbl="sibTrans2D1" presStyleIdx="12" presStyleCnt="14"/>
      <dgm:spPr/>
    </dgm:pt>
    <dgm:pt modelId="{0D570A5E-BCC9-40BE-8FCA-A20A1193D726}" type="pres">
      <dgm:prSet presAssocID="{36BA30A4-9CEC-40D5-A0E6-02AB6F092107}" presName="connectorText" presStyleLbl="sibTrans2D1" presStyleIdx="12" presStyleCnt="14"/>
      <dgm:spPr/>
    </dgm:pt>
    <dgm:pt modelId="{E06A8827-6485-48F2-BEEF-28E911183FE5}" type="pres">
      <dgm:prSet presAssocID="{27A1DF5F-8686-47CA-AD6C-4031C57FC15F}" presName="node" presStyleLbl="node1" presStyleIdx="13" presStyleCnt="15" custScaleX="190902" custScaleY="232043">
        <dgm:presLayoutVars>
          <dgm:bulletEnabled val="1"/>
        </dgm:presLayoutVars>
      </dgm:prSet>
      <dgm:spPr/>
    </dgm:pt>
    <dgm:pt modelId="{7CBC017C-3F0B-442C-8CEF-8BD6A60E6105}" type="pres">
      <dgm:prSet presAssocID="{DEF6FE00-58A9-45F5-A836-5161499E46BD}" presName="sibTrans" presStyleLbl="sibTrans2D1" presStyleIdx="13" presStyleCnt="14"/>
      <dgm:spPr/>
    </dgm:pt>
    <dgm:pt modelId="{F8A66BFC-946F-42F1-B3CA-4D326CEE409A}" type="pres">
      <dgm:prSet presAssocID="{DEF6FE00-58A9-45F5-A836-5161499E46BD}" presName="connectorText" presStyleLbl="sibTrans2D1" presStyleIdx="13" presStyleCnt="14"/>
      <dgm:spPr/>
    </dgm:pt>
    <dgm:pt modelId="{27491E77-A90C-4BB7-B7E2-5EE32ED72378}" type="pres">
      <dgm:prSet presAssocID="{7841B6FD-C7A2-486C-A22A-7B97B1988F05}" presName="node" presStyleLbl="node1" presStyleIdx="14" presStyleCnt="15" custScaleX="169845" custScaleY="233144">
        <dgm:presLayoutVars>
          <dgm:bulletEnabled val="1"/>
        </dgm:presLayoutVars>
      </dgm:prSet>
      <dgm:spPr/>
    </dgm:pt>
  </dgm:ptLst>
  <dgm:cxnLst>
    <dgm:cxn modelId="{80D56200-0573-4CB1-A301-017EEA694CEE}" type="presOf" srcId="{3FADAF45-B41E-477D-860B-46106EB84BD1}" destId="{67029E87-F17A-446A-A285-E58C6E1C5BC8}" srcOrd="0" destOrd="0" presId="urn:microsoft.com/office/officeart/2005/8/layout/process5"/>
    <dgm:cxn modelId="{47827001-A0BA-4B69-8E16-51EC90373A1B}" type="presOf" srcId="{5566576F-C1F1-46B4-B1B4-25EDB2C25F41}" destId="{6F9AB85B-710F-4E2D-8873-C9544FBD3A29}" srcOrd="0" destOrd="0" presId="urn:microsoft.com/office/officeart/2005/8/layout/process5"/>
    <dgm:cxn modelId="{119E8904-96CE-4BA3-B86A-DCC708B548FF}" type="presOf" srcId="{B2C13B60-1D3B-4086-AF8C-DDBA592CDFBE}" destId="{616FC177-18F3-436B-935A-E14DD359F2CD}" srcOrd="1" destOrd="0" presId="urn:microsoft.com/office/officeart/2005/8/layout/process5"/>
    <dgm:cxn modelId="{F2DCB50A-DF7E-4787-87F2-6D6F0A827ABE}" type="presOf" srcId="{5C4B3738-09DC-409B-AB4A-1F05808F43E6}" destId="{50E08931-62FF-4949-8AE6-D5F0D117C9BD}" srcOrd="0" destOrd="0" presId="urn:microsoft.com/office/officeart/2005/8/layout/process5"/>
    <dgm:cxn modelId="{327EBC0E-ADB9-4B5A-AF2A-6258FDD48BE4}" srcId="{BAA66329-A823-47BE-8B36-D0A722A49CF0}" destId="{E5F0005F-290A-4E71-A27B-D64E19410906}" srcOrd="12" destOrd="0" parTransId="{CB814D32-DE3A-4679-87B5-34E19E7206F1}" sibTransId="{36BA30A4-9CEC-40D5-A0E6-02AB6F092107}"/>
    <dgm:cxn modelId="{AA0FA90F-F89D-4DB7-8CA5-0D65223F6562}" srcId="{BAA66329-A823-47BE-8B36-D0A722A49CF0}" destId="{0354BD45-D033-4A5E-8AB4-5A36FB430F53}" srcOrd="10" destOrd="0" parTransId="{1F404598-0053-42AB-94C3-9EAB3A03F781}" sibTransId="{E3FB314E-6278-4BC6-883C-4E4AD1CC0036}"/>
    <dgm:cxn modelId="{F21DCE0F-38B9-4546-974D-733A5BBDE1B4}" type="presOf" srcId="{85AE9ADB-8991-4E18-BF04-B7445C9364CD}" destId="{5BC36163-3B88-492A-BB18-11A8577D1831}" srcOrd="0" destOrd="0" presId="urn:microsoft.com/office/officeart/2005/8/layout/process5"/>
    <dgm:cxn modelId="{CFF74613-3B57-4476-90FD-6B2741C5DFFF}" srcId="{BAA66329-A823-47BE-8B36-D0A722A49CF0}" destId="{5C4B3738-09DC-409B-AB4A-1F05808F43E6}" srcOrd="0" destOrd="0" parTransId="{C349EED4-2603-435F-95B0-80E8EFD14F3F}" sibTransId="{E8D9D4DE-0401-4BD1-B8E7-305E754905EF}"/>
    <dgm:cxn modelId="{80889414-38EF-4549-87F4-D68BD78A1F20}" type="presOf" srcId="{B5C6B39C-1B58-4FE6-BDAE-6BF8B18D2182}" destId="{C52E29EE-D0B7-4D91-82EF-BFD9C89DAED1}" srcOrd="0" destOrd="0" presId="urn:microsoft.com/office/officeart/2005/8/layout/process5"/>
    <dgm:cxn modelId="{E5AC3717-9B29-4A25-B45A-AFAB3CCB657C}" srcId="{BAA66329-A823-47BE-8B36-D0A722A49CF0}" destId="{7944D9E2-9653-4138-B938-1C3AB4F38549}" srcOrd="6" destOrd="0" parTransId="{C830F041-5161-429C-8622-596BED021F4A}" sibTransId="{85AE9ADB-8991-4E18-BF04-B7445C9364CD}"/>
    <dgm:cxn modelId="{FD46871B-BA05-4B32-949C-E09FC69BE06E}" type="presOf" srcId="{B2C13B60-1D3B-4086-AF8C-DDBA592CDFBE}" destId="{CA642328-5B94-4ACD-B12D-1F31CF8E3C5D}" srcOrd="0" destOrd="0" presId="urn:microsoft.com/office/officeart/2005/8/layout/process5"/>
    <dgm:cxn modelId="{F58D6E1F-23A1-4892-A104-C31F1DB247B3}" srcId="{BAA66329-A823-47BE-8B36-D0A722A49CF0}" destId="{865AC6DF-BCFA-469B-8F3C-E3811BA7AC5E}" srcOrd="2" destOrd="0" parTransId="{91B46F77-0172-4FBE-BFBC-782F85CDB28A}" sibTransId="{C49E8535-F261-4EA3-8165-3DBDE655A058}"/>
    <dgm:cxn modelId="{3C368528-3ED5-4DC4-810F-529D126425C6}" type="presOf" srcId="{85AE9ADB-8991-4E18-BF04-B7445C9364CD}" destId="{0A33E3ED-2DD8-4223-ABFC-570C6DEC62D2}" srcOrd="1" destOrd="0" presId="urn:microsoft.com/office/officeart/2005/8/layout/process5"/>
    <dgm:cxn modelId="{A942BF31-2C49-43E7-BAC6-27D67604AA0E}" srcId="{BAA66329-A823-47BE-8B36-D0A722A49CF0}" destId="{8D7C0B5E-8AB4-4287-B2A0-ED4CCEF2183E}" srcOrd="1" destOrd="0" parTransId="{96C5FF89-C848-4494-A4A2-7D2C53C827F8}" sibTransId="{E385D1FB-FADE-4736-894E-DA9457D6892B}"/>
    <dgm:cxn modelId="{736F893F-6D92-4A74-808D-EFF47532BB24}" srcId="{BAA66329-A823-47BE-8B36-D0A722A49CF0}" destId="{D3854FA0-B079-47D5-86F6-EF87B70BABE2}" srcOrd="7" destOrd="0" parTransId="{DBA70B47-D794-49A0-B0E4-731CE387DF8B}" sibTransId="{FBC3BFE3-B64D-4484-BC16-26B186716B26}"/>
    <dgm:cxn modelId="{6A756640-71AF-4D95-9FC6-69F81B5A3753}" type="presOf" srcId="{DEF6FE00-58A9-45F5-A836-5161499E46BD}" destId="{F8A66BFC-946F-42F1-B3CA-4D326CEE409A}" srcOrd="1" destOrd="0" presId="urn:microsoft.com/office/officeart/2005/8/layout/process5"/>
    <dgm:cxn modelId="{A59EC05C-A55E-4D0E-BCC7-D7D866AEE049}" type="presOf" srcId="{9A327B31-697B-43A4-B7C2-F318DCCB1D5C}" destId="{B998177F-2DD2-4EAB-9988-03F61FD01C6B}" srcOrd="1" destOrd="0" presId="urn:microsoft.com/office/officeart/2005/8/layout/process5"/>
    <dgm:cxn modelId="{BE82FA5C-A79D-43EB-A96A-47A992316AC0}" type="presOf" srcId="{DEF6FE00-58A9-45F5-A836-5161499E46BD}" destId="{7CBC017C-3F0B-442C-8CEF-8BD6A60E6105}" srcOrd="0" destOrd="0" presId="urn:microsoft.com/office/officeart/2005/8/layout/process5"/>
    <dgm:cxn modelId="{DA82035E-CF72-4C4C-911A-0253189F9181}" type="presOf" srcId="{E385D1FB-FADE-4736-894E-DA9457D6892B}" destId="{A1AE99D1-C30E-490D-B01A-5729514A31FC}" srcOrd="1" destOrd="0" presId="urn:microsoft.com/office/officeart/2005/8/layout/process5"/>
    <dgm:cxn modelId="{6609DF5E-146D-4693-97CF-C3D021517E65}" type="presOf" srcId="{E3FB314E-6278-4BC6-883C-4E4AD1CC0036}" destId="{DA8854CD-E5CF-40EB-A0C1-B7ED1D91423A}" srcOrd="0" destOrd="0" presId="urn:microsoft.com/office/officeart/2005/8/layout/process5"/>
    <dgm:cxn modelId="{7834CB61-F410-4CAA-8B1B-B639FD8254DA}" srcId="{BAA66329-A823-47BE-8B36-D0A722A49CF0}" destId="{7841B6FD-C7A2-486C-A22A-7B97B1988F05}" srcOrd="14" destOrd="0" parTransId="{83361CDF-7250-445B-96DA-948B5AA140E5}" sibTransId="{FEEE435B-2228-48C9-BB51-2AF5C2B78D09}"/>
    <dgm:cxn modelId="{090FB263-46E5-4D01-A0FB-0847CE34BD7C}" type="presOf" srcId="{36BA30A4-9CEC-40D5-A0E6-02AB6F092107}" destId="{58AD457D-7057-4D97-944F-D7847B7012A8}" srcOrd="0" destOrd="0" presId="urn:microsoft.com/office/officeart/2005/8/layout/process5"/>
    <dgm:cxn modelId="{167C9D46-D186-4DD4-83E4-1F30DE2A7A47}" type="presOf" srcId="{3FADAF45-B41E-477D-860B-46106EB84BD1}" destId="{B1A6BDED-7925-4663-A458-24D8D67EEAD8}" srcOrd="1" destOrd="0" presId="urn:microsoft.com/office/officeart/2005/8/layout/process5"/>
    <dgm:cxn modelId="{1BFA9169-ED04-41C8-84BA-5BC262E69038}" type="presOf" srcId="{E5F0005F-290A-4E71-A27B-D64E19410906}" destId="{BC528DAD-8076-46BC-A480-80E2B2B24C05}" srcOrd="0" destOrd="0" presId="urn:microsoft.com/office/officeart/2005/8/layout/process5"/>
    <dgm:cxn modelId="{E2873C6A-E2B1-4332-94F1-2942B8EB7D74}" type="presOf" srcId="{140BF2F2-A8ED-42A2-ACC0-766797AC231D}" destId="{AE343C9B-B6A6-4E22-8765-14CA0F815F87}" srcOrd="0" destOrd="0" presId="urn:microsoft.com/office/officeart/2005/8/layout/process5"/>
    <dgm:cxn modelId="{6D4D3D6A-887F-465F-A2FE-8D82427B0661}" type="presOf" srcId="{0357FA6A-D83D-495E-B1E7-D26C35214C01}" destId="{31AC987F-70A4-429D-9C26-F070849F049C}" srcOrd="0" destOrd="0" presId="urn:microsoft.com/office/officeart/2005/8/layout/process5"/>
    <dgm:cxn modelId="{2165CF6B-CCE6-412E-A877-B94FCD6A56BB}" srcId="{BAA66329-A823-47BE-8B36-D0A722A49CF0}" destId="{27A1DF5F-8686-47CA-AD6C-4031C57FC15F}" srcOrd="13" destOrd="0" parTransId="{2C6202D9-6DC2-4AB6-BABD-97534EF1A6F9}" sibTransId="{DEF6FE00-58A9-45F5-A836-5161499E46BD}"/>
    <dgm:cxn modelId="{9034244F-794E-4BAE-8636-04FEB4CFAEFF}" srcId="{BAA66329-A823-47BE-8B36-D0A722A49CF0}" destId="{140BF2F2-A8ED-42A2-ACC0-766797AC231D}" srcOrd="11" destOrd="0" parTransId="{AEA7E91E-1098-4BA2-B847-E98ED3233D4C}" sibTransId="{A2DB153A-4A99-457E-A77E-A82FEC66710B}"/>
    <dgm:cxn modelId="{76BE366F-CB3F-4EA1-A2D5-C3A486EBF092}" type="presOf" srcId="{36BA30A4-9CEC-40D5-A0E6-02AB6F092107}" destId="{0D570A5E-BCC9-40BE-8FCA-A20A1193D726}" srcOrd="1" destOrd="0" presId="urn:microsoft.com/office/officeart/2005/8/layout/process5"/>
    <dgm:cxn modelId="{6E795C4F-5660-4FE2-AC51-B523C30AE947}" type="presOf" srcId="{0354BD45-D033-4A5E-8AB4-5A36FB430F53}" destId="{A0BCDFA0-5D32-4007-97C7-EA4CE6802226}" srcOrd="0" destOrd="0" presId="urn:microsoft.com/office/officeart/2005/8/layout/process5"/>
    <dgm:cxn modelId="{E5546470-00ED-464F-AF8A-8C4AA0019010}" type="presOf" srcId="{8D7C0B5E-8AB4-4287-B2A0-ED4CCEF2183E}" destId="{6F807497-FCB1-4A3A-BAA6-C9C039118BE7}" srcOrd="0" destOrd="0" presId="urn:microsoft.com/office/officeart/2005/8/layout/process5"/>
    <dgm:cxn modelId="{8B884372-9EE9-42A8-958B-DC4FD65EF708}" type="presOf" srcId="{BAA66329-A823-47BE-8B36-D0A722A49CF0}" destId="{D7AB1BD1-DF1E-4840-8838-133831299FA8}" srcOrd="0" destOrd="0" presId="urn:microsoft.com/office/officeart/2005/8/layout/process5"/>
    <dgm:cxn modelId="{A641E074-B630-4973-95AC-2A3DF3CEFB97}" srcId="{BAA66329-A823-47BE-8B36-D0A722A49CF0}" destId="{74ACD320-1DFD-4C3E-93E4-90A30891128A}" srcOrd="9" destOrd="0" parTransId="{B2D3DFE0-B5A2-4BFB-B350-7214881E09C3}" sibTransId="{B5C6B39C-1B58-4FE6-BDAE-6BF8B18D2182}"/>
    <dgm:cxn modelId="{AE239675-569B-46E4-A6F1-0E4390515740}" type="presOf" srcId="{FBC3BFE3-B64D-4484-BC16-26B186716B26}" destId="{B6C3FC9B-1F7A-4BDE-B013-1C32E186A275}" srcOrd="0" destOrd="0" presId="urn:microsoft.com/office/officeart/2005/8/layout/process5"/>
    <dgm:cxn modelId="{B861EB55-0D65-4B67-A9ED-03C9FC804F21}" type="presOf" srcId="{F19E3D9E-D03A-48BD-B3A1-2518C966172A}" destId="{9DE663B4-7188-424C-BBE3-7D524E6A4009}" srcOrd="0" destOrd="0" presId="urn:microsoft.com/office/officeart/2005/8/layout/process5"/>
    <dgm:cxn modelId="{ADB35856-AA72-4A9D-9783-82E027116A10}" srcId="{BAA66329-A823-47BE-8B36-D0A722A49CF0}" destId="{0357FA6A-D83D-495E-B1E7-D26C35214C01}" srcOrd="8" destOrd="0" parTransId="{DC014973-6E0B-4985-83D4-84B52F10C37C}" sibTransId="{B2C13B60-1D3B-4086-AF8C-DDBA592CDFBE}"/>
    <dgm:cxn modelId="{31D96F58-0CF3-489F-907E-6B84A9E8CA79}" type="presOf" srcId="{865AC6DF-BCFA-469B-8F3C-E3811BA7AC5E}" destId="{7AB97974-D361-41FB-AEBE-8B75DF913887}" srcOrd="0" destOrd="0" presId="urn:microsoft.com/office/officeart/2005/8/layout/process5"/>
    <dgm:cxn modelId="{CEEBDD5A-7A82-49E7-B854-B0F581714EEE}" type="presOf" srcId="{D3854FA0-B079-47D5-86F6-EF87B70BABE2}" destId="{C6627354-60E0-4CCF-BB6C-886E0482726C}" srcOrd="0" destOrd="0" presId="urn:microsoft.com/office/officeart/2005/8/layout/process5"/>
    <dgm:cxn modelId="{B9040A82-FFBF-4312-97D1-4628963ACF69}" type="presOf" srcId="{B5C6B39C-1B58-4FE6-BDAE-6BF8B18D2182}" destId="{44444406-1CEC-4464-B503-DF1CCA5C078F}" srcOrd="1" destOrd="0" presId="urn:microsoft.com/office/officeart/2005/8/layout/process5"/>
    <dgm:cxn modelId="{8492F787-9760-4F09-8708-A30C42E63CD0}" type="presOf" srcId="{3DE5823C-20A6-4679-B2E8-71BA2D1D22E1}" destId="{989EB366-3616-4EE5-BA50-E80174B6575F}" srcOrd="0" destOrd="0" presId="urn:microsoft.com/office/officeart/2005/8/layout/process5"/>
    <dgm:cxn modelId="{4C208A95-CF15-4943-BB0E-176B35C080ED}" type="presOf" srcId="{C49E8535-F261-4EA3-8165-3DBDE655A058}" destId="{1D62B4DF-590E-4730-9089-BAE33A3E0510}" srcOrd="1" destOrd="0" presId="urn:microsoft.com/office/officeart/2005/8/layout/process5"/>
    <dgm:cxn modelId="{ADBC13AB-3B7A-4E51-87E6-1AB424F4CCEE}" type="presOf" srcId="{9A327B31-697B-43A4-B7C2-F318DCCB1D5C}" destId="{D80503C3-4901-49C0-A3ED-01FF82C18D33}" srcOrd="0" destOrd="0" presId="urn:microsoft.com/office/officeart/2005/8/layout/process5"/>
    <dgm:cxn modelId="{EE9643B0-D5B2-4F9F-9042-35B643F22CC8}" type="presOf" srcId="{E8D9D4DE-0401-4BD1-B8E7-305E754905EF}" destId="{30E88609-74C2-495B-99BF-A170253A1BEF}" srcOrd="0" destOrd="0" presId="urn:microsoft.com/office/officeart/2005/8/layout/process5"/>
    <dgm:cxn modelId="{1EA3E1C0-E991-47A0-92FC-7DC99B088BEB}" type="presOf" srcId="{C49E8535-F261-4EA3-8165-3DBDE655A058}" destId="{B725B5A4-4BE3-4071-A4C7-30001864E533}" srcOrd="0" destOrd="0" presId="urn:microsoft.com/office/officeart/2005/8/layout/process5"/>
    <dgm:cxn modelId="{5BA941C5-6DC7-4AE8-B5F8-6C34B7B16F31}" type="presOf" srcId="{E3FB314E-6278-4BC6-883C-4E4AD1CC0036}" destId="{2599D208-DEC9-4DFA-99B3-5A5BAD5B8CC6}" srcOrd="1" destOrd="0" presId="urn:microsoft.com/office/officeart/2005/8/layout/process5"/>
    <dgm:cxn modelId="{3F8075C8-4264-4BAC-9683-36F5C917713D}" type="presOf" srcId="{7841B6FD-C7A2-486C-A22A-7B97B1988F05}" destId="{27491E77-A90C-4BB7-B7E2-5EE32ED72378}" srcOrd="0" destOrd="0" presId="urn:microsoft.com/office/officeart/2005/8/layout/process5"/>
    <dgm:cxn modelId="{51F21FCF-7F70-4413-9D7E-E55567AF8FEE}" type="presOf" srcId="{FBC3BFE3-B64D-4484-BC16-26B186716B26}" destId="{D9D2C470-7458-4BC0-BA7E-5C47C354EAA3}" srcOrd="1" destOrd="0" presId="urn:microsoft.com/office/officeart/2005/8/layout/process5"/>
    <dgm:cxn modelId="{C6E387D5-6B9B-4310-99E1-206CDA413785}" type="presOf" srcId="{74ACD320-1DFD-4C3E-93E4-90A30891128A}" destId="{B4F5A22E-9BD5-46F3-94A5-C78B1C7AF0BE}" srcOrd="0" destOrd="0" presId="urn:microsoft.com/office/officeart/2005/8/layout/process5"/>
    <dgm:cxn modelId="{8F0ED5D6-9C7D-4290-B155-C39BDEB5D4CD}" type="presOf" srcId="{7944D9E2-9653-4138-B938-1C3AB4F38549}" destId="{53A88AED-F9AC-4FCA-8125-DF49DF59D738}" srcOrd="0" destOrd="0" presId="urn:microsoft.com/office/officeart/2005/8/layout/process5"/>
    <dgm:cxn modelId="{5CC3BADD-EC50-4CF3-B350-85F84E8F71BB}" type="presOf" srcId="{A2DB153A-4A99-457E-A77E-A82FEC66710B}" destId="{D55A9C49-6E7C-4828-ABD5-6DCA4CB41CE6}" srcOrd="0" destOrd="0" presId="urn:microsoft.com/office/officeart/2005/8/layout/process5"/>
    <dgm:cxn modelId="{B0EDC7DE-77BE-4AA6-9B2B-262478B48917}" type="presOf" srcId="{E8D9D4DE-0401-4BD1-B8E7-305E754905EF}" destId="{ECB25496-B88C-4FE6-A0D6-9AF2F6E4BBC4}" srcOrd="1" destOrd="0" presId="urn:microsoft.com/office/officeart/2005/8/layout/process5"/>
    <dgm:cxn modelId="{6A50B4DF-DED4-4374-A652-80CF3EEA6EB9}" type="presOf" srcId="{A2DB153A-4A99-457E-A77E-A82FEC66710B}" destId="{71E1D94D-57AD-4162-8500-B4D542D3B82F}" srcOrd="1" destOrd="0" presId="urn:microsoft.com/office/officeart/2005/8/layout/process5"/>
    <dgm:cxn modelId="{69CD02E4-628C-47AE-AA44-96DD98EE5C8D}" type="presOf" srcId="{3DE5823C-20A6-4679-B2E8-71BA2D1D22E1}" destId="{631BB7C3-CDE0-4C78-9E07-948B3821E9AF}" srcOrd="1" destOrd="0" presId="urn:microsoft.com/office/officeart/2005/8/layout/process5"/>
    <dgm:cxn modelId="{FD7CACE5-1790-4EC0-B659-9827CB6A3430}" type="presOf" srcId="{E385D1FB-FADE-4736-894E-DA9457D6892B}" destId="{45DA37A5-D194-4080-836F-F0E984A0A919}" srcOrd="0" destOrd="0" presId="urn:microsoft.com/office/officeart/2005/8/layout/process5"/>
    <dgm:cxn modelId="{A8F1A1F4-02BC-46E9-ACB8-65AC92DF17D1}" srcId="{BAA66329-A823-47BE-8B36-D0A722A49CF0}" destId="{2C56FCCE-F0BA-4DB5-A3C4-EE81E5158A8C}" srcOrd="5" destOrd="0" parTransId="{82C4CD17-2DF8-43D9-AB18-476BEC2CBB4E}" sibTransId="{3DE5823C-20A6-4679-B2E8-71BA2D1D22E1}"/>
    <dgm:cxn modelId="{F390F1F8-DFBE-407F-85A9-2274D37BAE40}" type="presOf" srcId="{2C56FCCE-F0BA-4DB5-A3C4-EE81E5158A8C}" destId="{5CC5C694-40CC-449F-AC2D-52656A2B8244}" srcOrd="0" destOrd="0" presId="urn:microsoft.com/office/officeart/2005/8/layout/process5"/>
    <dgm:cxn modelId="{492B30FA-BBF4-4021-8852-DFF14D86BCCF}" srcId="{BAA66329-A823-47BE-8B36-D0A722A49CF0}" destId="{F19E3D9E-D03A-48BD-B3A1-2518C966172A}" srcOrd="4" destOrd="0" parTransId="{FB3D94C1-C2CA-4EAF-ADDF-C07592AA2043}" sibTransId="{9A327B31-697B-43A4-B7C2-F318DCCB1D5C}"/>
    <dgm:cxn modelId="{77A1B8FC-AA5D-4B2B-9653-FDD89DA053AB}" type="presOf" srcId="{27A1DF5F-8686-47CA-AD6C-4031C57FC15F}" destId="{E06A8827-6485-48F2-BEEF-28E911183FE5}" srcOrd="0" destOrd="0" presId="urn:microsoft.com/office/officeart/2005/8/layout/process5"/>
    <dgm:cxn modelId="{C6DCDDFC-A1A2-45EA-828C-0B3BB3EDD1D9}" srcId="{BAA66329-A823-47BE-8B36-D0A722A49CF0}" destId="{5566576F-C1F1-46B4-B1B4-25EDB2C25F41}" srcOrd="3" destOrd="0" parTransId="{AD9D81FA-EDDB-4082-B2BB-4065F5964A3C}" sibTransId="{3FADAF45-B41E-477D-860B-46106EB84BD1}"/>
    <dgm:cxn modelId="{7380949B-5D7B-496A-A0CE-4CF1D655BFF8}" type="presParOf" srcId="{D7AB1BD1-DF1E-4840-8838-133831299FA8}" destId="{50E08931-62FF-4949-8AE6-D5F0D117C9BD}" srcOrd="0" destOrd="0" presId="urn:microsoft.com/office/officeart/2005/8/layout/process5"/>
    <dgm:cxn modelId="{477CB27C-211B-49F5-9E85-F20E4F062C37}" type="presParOf" srcId="{D7AB1BD1-DF1E-4840-8838-133831299FA8}" destId="{30E88609-74C2-495B-99BF-A170253A1BEF}" srcOrd="1" destOrd="0" presId="urn:microsoft.com/office/officeart/2005/8/layout/process5"/>
    <dgm:cxn modelId="{CCDB4668-0E05-44D6-B728-CE19EBBFDF87}" type="presParOf" srcId="{30E88609-74C2-495B-99BF-A170253A1BEF}" destId="{ECB25496-B88C-4FE6-A0D6-9AF2F6E4BBC4}" srcOrd="0" destOrd="0" presId="urn:microsoft.com/office/officeart/2005/8/layout/process5"/>
    <dgm:cxn modelId="{4B2762EA-7A2D-4F07-8079-07FA20F79F02}" type="presParOf" srcId="{D7AB1BD1-DF1E-4840-8838-133831299FA8}" destId="{6F807497-FCB1-4A3A-BAA6-C9C039118BE7}" srcOrd="2" destOrd="0" presId="urn:microsoft.com/office/officeart/2005/8/layout/process5"/>
    <dgm:cxn modelId="{8DDBAAFC-76CD-436C-98E9-F31AE7593A60}" type="presParOf" srcId="{D7AB1BD1-DF1E-4840-8838-133831299FA8}" destId="{45DA37A5-D194-4080-836F-F0E984A0A919}" srcOrd="3" destOrd="0" presId="urn:microsoft.com/office/officeart/2005/8/layout/process5"/>
    <dgm:cxn modelId="{F213BA20-EAD7-4C67-9E16-70C50AE7853B}" type="presParOf" srcId="{45DA37A5-D194-4080-836F-F0E984A0A919}" destId="{A1AE99D1-C30E-490D-B01A-5729514A31FC}" srcOrd="0" destOrd="0" presId="urn:microsoft.com/office/officeart/2005/8/layout/process5"/>
    <dgm:cxn modelId="{CEB84281-A74C-4C9D-8069-20BBE37283FB}" type="presParOf" srcId="{D7AB1BD1-DF1E-4840-8838-133831299FA8}" destId="{7AB97974-D361-41FB-AEBE-8B75DF913887}" srcOrd="4" destOrd="0" presId="urn:microsoft.com/office/officeart/2005/8/layout/process5"/>
    <dgm:cxn modelId="{B146EE45-1D99-4BBE-8530-A37BE228D20A}" type="presParOf" srcId="{D7AB1BD1-DF1E-4840-8838-133831299FA8}" destId="{B725B5A4-4BE3-4071-A4C7-30001864E533}" srcOrd="5" destOrd="0" presId="urn:microsoft.com/office/officeart/2005/8/layout/process5"/>
    <dgm:cxn modelId="{EAF529D1-B9BB-4B64-AAF0-594F863C67D2}" type="presParOf" srcId="{B725B5A4-4BE3-4071-A4C7-30001864E533}" destId="{1D62B4DF-590E-4730-9089-BAE33A3E0510}" srcOrd="0" destOrd="0" presId="urn:microsoft.com/office/officeart/2005/8/layout/process5"/>
    <dgm:cxn modelId="{71804E06-2979-4840-98AF-BC6F94568E6F}" type="presParOf" srcId="{D7AB1BD1-DF1E-4840-8838-133831299FA8}" destId="{6F9AB85B-710F-4E2D-8873-C9544FBD3A29}" srcOrd="6" destOrd="0" presId="urn:microsoft.com/office/officeart/2005/8/layout/process5"/>
    <dgm:cxn modelId="{D7080781-4D8A-4706-98BE-32C20DE1E382}" type="presParOf" srcId="{D7AB1BD1-DF1E-4840-8838-133831299FA8}" destId="{67029E87-F17A-446A-A285-E58C6E1C5BC8}" srcOrd="7" destOrd="0" presId="urn:microsoft.com/office/officeart/2005/8/layout/process5"/>
    <dgm:cxn modelId="{9ADB8377-A18A-4C1B-81D5-9E8C365C115A}" type="presParOf" srcId="{67029E87-F17A-446A-A285-E58C6E1C5BC8}" destId="{B1A6BDED-7925-4663-A458-24D8D67EEAD8}" srcOrd="0" destOrd="0" presId="urn:microsoft.com/office/officeart/2005/8/layout/process5"/>
    <dgm:cxn modelId="{401DCA4E-E178-48E5-B15C-182222DDC46E}" type="presParOf" srcId="{D7AB1BD1-DF1E-4840-8838-133831299FA8}" destId="{9DE663B4-7188-424C-BBE3-7D524E6A4009}" srcOrd="8" destOrd="0" presId="urn:microsoft.com/office/officeart/2005/8/layout/process5"/>
    <dgm:cxn modelId="{81273833-BA7B-4EB0-AEE7-C9897CFF0565}" type="presParOf" srcId="{D7AB1BD1-DF1E-4840-8838-133831299FA8}" destId="{D80503C3-4901-49C0-A3ED-01FF82C18D33}" srcOrd="9" destOrd="0" presId="urn:microsoft.com/office/officeart/2005/8/layout/process5"/>
    <dgm:cxn modelId="{52FF4931-16EF-42CA-BB18-60201AF158FF}" type="presParOf" srcId="{D80503C3-4901-49C0-A3ED-01FF82C18D33}" destId="{B998177F-2DD2-4EAB-9988-03F61FD01C6B}" srcOrd="0" destOrd="0" presId="urn:microsoft.com/office/officeart/2005/8/layout/process5"/>
    <dgm:cxn modelId="{2B55152B-C690-4235-9E75-5A3F9FBDF009}" type="presParOf" srcId="{D7AB1BD1-DF1E-4840-8838-133831299FA8}" destId="{5CC5C694-40CC-449F-AC2D-52656A2B8244}" srcOrd="10" destOrd="0" presId="urn:microsoft.com/office/officeart/2005/8/layout/process5"/>
    <dgm:cxn modelId="{C7C5DFF4-F7CB-48A1-9109-15F2D21737F0}" type="presParOf" srcId="{D7AB1BD1-DF1E-4840-8838-133831299FA8}" destId="{989EB366-3616-4EE5-BA50-E80174B6575F}" srcOrd="11" destOrd="0" presId="urn:microsoft.com/office/officeart/2005/8/layout/process5"/>
    <dgm:cxn modelId="{559499DC-3743-42AD-91FA-66C605FA7A67}" type="presParOf" srcId="{989EB366-3616-4EE5-BA50-E80174B6575F}" destId="{631BB7C3-CDE0-4C78-9E07-948B3821E9AF}" srcOrd="0" destOrd="0" presId="urn:microsoft.com/office/officeart/2005/8/layout/process5"/>
    <dgm:cxn modelId="{AE01C356-FE7E-40F8-B418-3CD263FD57D6}" type="presParOf" srcId="{D7AB1BD1-DF1E-4840-8838-133831299FA8}" destId="{53A88AED-F9AC-4FCA-8125-DF49DF59D738}" srcOrd="12" destOrd="0" presId="urn:microsoft.com/office/officeart/2005/8/layout/process5"/>
    <dgm:cxn modelId="{8ABC6C7E-F24D-4B29-993C-7088B2F60462}" type="presParOf" srcId="{D7AB1BD1-DF1E-4840-8838-133831299FA8}" destId="{5BC36163-3B88-492A-BB18-11A8577D1831}" srcOrd="13" destOrd="0" presId="urn:microsoft.com/office/officeart/2005/8/layout/process5"/>
    <dgm:cxn modelId="{D55EAEE8-3E23-487A-943C-FA2CF6B67E0F}" type="presParOf" srcId="{5BC36163-3B88-492A-BB18-11A8577D1831}" destId="{0A33E3ED-2DD8-4223-ABFC-570C6DEC62D2}" srcOrd="0" destOrd="0" presId="urn:microsoft.com/office/officeart/2005/8/layout/process5"/>
    <dgm:cxn modelId="{80E3C972-4A90-4E00-985E-273DD4BE81CE}" type="presParOf" srcId="{D7AB1BD1-DF1E-4840-8838-133831299FA8}" destId="{C6627354-60E0-4CCF-BB6C-886E0482726C}" srcOrd="14" destOrd="0" presId="urn:microsoft.com/office/officeart/2005/8/layout/process5"/>
    <dgm:cxn modelId="{75BFB3BA-9760-4A1C-86AF-3C558E952778}" type="presParOf" srcId="{D7AB1BD1-DF1E-4840-8838-133831299FA8}" destId="{B6C3FC9B-1F7A-4BDE-B013-1C32E186A275}" srcOrd="15" destOrd="0" presId="urn:microsoft.com/office/officeart/2005/8/layout/process5"/>
    <dgm:cxn modelId="{EF365014-D1B8-4A44-B196-4FED780A6F16}" type="presParOf" srcId="{B6C3FC9B-1F7A-4BDE-B013-1C32E186A275}" destId="{D9D2C470-7458-4BC0-BA7E-5C47C354EAA3}" srcOrd="0" destOrd="0" presId="urn:microsoft.com/office/officeart/2005/8/layout/process5"/>
    <dgm:cxn modelId="{4305CE8D-D4EB-481A-A9D1-DC86E6387A03}" type="presParOf" srcId="{D7AB1BD1-DF1E-4840-8838-133831299FA8}" destId="{31AC987F-70A4-429D-9C26-F070849F049C}" srcOrd="16" destOrd="0" presId="urn:microsoft.com/office/officeart/2005/8/layout/process5"/>
    <dgm:cxn modelId="{BB9B43D8-C5DB-4200-82DB-A92577455480}" type="presParOf" srcId="{D7AB1BD1-DF1E-4840-8838-133831299FA8}" destId="{CA642328-5B94-4ACD-B12D-1F31CF8E3C5D}" srcOrd="17" destOrd="0" presId="urn:microsoft.com/office/officeart/2005/8/layout/process5"/>
    <dgm:cxn modelId="{AE39C61B-F6CE-414D-9F52-9F24C6264D60}" type="presParOf" srcId="{CA642328-5B94-4ACD-B12D-1F31CF8E3C5D}" destId="{616FC177-18F3-436B-935A-E14DD359F2CD}" srcOrd="0" destOrd="0" presId="urn:microsoft.com/office/officeart/2005/8/layout/process5"/>
    <dgm:cxn modelId="{AAA9EDAA-92EE-4C28-A7BC-0CFEF0EB6DD6}" type="presParOf" srcId="{D7AB1BD1-DF1E-4840-8838-133831299FA8}" destId="{B4F5A22E-9BD5-46F3-94A5-C78B1C7AF0BE}" srcOrd="18" destOrd="0" presId="urn:microsoft.com/office/officeart/2005/8/layout/process5"/>
    <dgm:cxn modelId="{408E2733-980A-4E7B-AE3B-8F38276BE494}" type="presParOf" srcId="{D7AB1BD1-DF1E-4840-8838-133831299FA8}" destId="{C52E29EE-D0B7-4D91-82EF-BFD9C89DAED1}" srcOrd="19" destOrd="0" presId="urn:microsoft.com/office/officeart/2005/8/layout/process5"/>
    <dgm:cxn modelId="{2BFCC090-A21D-4897-A311-C45FEFDF35C3}" type="presParOf" srcId="{C52E29EE-D0B7-4D91-82EF-BFD9C89DAED1}" destId="{44444406-1CEC-4464-B503-DF1CCA5C078F}" srcOrd="0" destOrd="0" presId="urn:microsoft.com/office/officeart/2005/8/layout/process5"/>
    <dgm:cxn modelId="{F2CA8F5E-05A8-42B2-AA7B-D29A2BA7B489}" type="presParOf" srcId="{D7AB1BD1-DF1E-4840-8838-133831299FA8}" destId="{A0BCDFA0-5D32-4007-97C7-EA4CE6802226}" srcOrd="20" destOrd="0" presId="urn:microsoft.com/office/officeart/2005/8/layout/process5"/>
    <dgm:cxn modelId="{803093B6-DC4F-4544-AFCF-F2F57A61F03A}" type="presParOf" srcId="{D7AB1BD1-DF1E-4840-8838-133831299FA8}" destId="{DA8854CD-E5CF-40EB-A0C1-B7ED1D91423A}" srcOrd="21" destOrd="0" presId="urn:microsoft.com/office/officeart/2005/8/layout/process5"/>
    <dgm:cxn modelId="{938F1FC9-7281-4CCC-9CA6-FFD2DBEF301E}" type="presParOf" srcId="{DA8854CD-E5CF-40EB-A0C1-B7ED1D91423A}" destId="{2599D208-DEC9-4DFA-99B3-5A5BAD5B8CC6}" srcOrd="0" destOrd="0" presId="urn:microsoft.com/office/officeart/2005/8/layout/process5"/>
    <dgm:cxn modelId="{265F2C18-6C40-4B25-9ADA-AD79AF2672FE}" type="presParOf" srcId="{D7AB1BD1-DF1E-4840-8838-133831299FA8}" destId="{AE343C9B-B6A6-4E22-8765-14CA0F815F87}" srcOrd="22" destOrd="0" presId="urn:microsoft.com/office/officeart/2005/8/layout/process5"/>
    <dgm:cxn modelId="{B951E7C1-C56E-425F-8C81-F8148E8C53D8}" type="presParOf" srcId="{D7AB1BD1-DF1E-4840-8838-133831299FA8}" destId="{D55A9C49-6E7C-4828-ABD5-6DCA4CB41CE6}" srcOrd="23" destOrd="0" presId="urn:microsoft.com/office/officeart/2005/8/layout/process5"/>
    <dgm:cxn modelId="{083AC476-DB02-459F-8315-143A5456F5D6}" type="presParOf" srcId="{D55A9C49-6E7C-4828-ABD5-6DCA4CB41CE6}" destId="{71E1D94D-57AD-4162-8500-B4D542D3B82F}" srcOrd="0" destOrd="0" presId="urn:microsoft.com/office/officeart/2005/8/layout/process5"/>
    <dgm:cxn modelId="{499B465B-A552-4D1D-BACA-65B7C9B272C5}" type="presParOf" srcId="{D7AB1BD1-DF1E-4840-8838-133831299FA8}" destId="{BC528DAD-8076-46BC-A480-80E2B2B24C05}" srcOrd="24" destOrd="0" presId="urn:microsoft.com/office/officeart/2005/8/layout/process5"/>
    <dgm:cxn modelId="{0E0D99C8-75B9-4D20-8784-64CA82B425FA}" type="presParOf" srcId="{D7AB1BD1-DF1E-4840-8838-133831299FA8}" destId="{58AD457D-7057-4D97-944F-D7847B7012A8}" srcOrd="25" destOrd="0" presId="urn:microsoft.com/office/officeart/2005/8/layout/process5"/>
    <dgm:cxn modelId="{F28B0B2B-501A-4CE7-9721-C4FB51305EEA}" type="presParOf" srcId="{58AD457D-7057-4D97-944F-D7847B7012A8}" destId="{0D570A5E-BCC9-40BE-8FCA-A20A1193D726}" srcOrd="0" destOrd="0" presId="urn:microsoft.com/office/officeart/2005/8/layout/process5"/>
    <dgm:cxn modelId="{7B93288A-18E5-400C-89E3-01B669C847E3}" type="presParOf" srcId="{D7AB1BD1-DF1E-4840-8838-133831299FA8}" destId="{E06A8827-6485-48F2-BEEF-28E911183FE5}" srcOrd="26" destOrd="0" presId="urn:microsoft.com/office/officeart/2005/8/layout/process5"/>
    <dgm:cxn modelId="{84DF4684-A34B-43A6-91E8-32B99BEDA233}" type="presParOf" srcId="{D7AB1BD1-DF1E-4840-8838-133831299FA8}" destId="{7CBC017C-3F0B-442C-8CEF-8BD6A60E6105}" srcOrd="27" destOrd="0" presId="urn:microsoft.com/office/officeart/2005/8/layout/process5"/>
    <dgm:cxn modelId="{EFB843AB-BCC9-46C4-82B5-039E19AC26C1}" type="presParOf" srcId="{7CBC017C-3F0B-442C-8CEF-8BD6A60E6105}" destId="{F8A66BFC-946F-42F1-B3CA-4D326CEE409A}" srcOrd="0" destOrd="0" presId="urn:microsoft.com/office/officeart/2005/8/layout/process5"/>
    <dgm:cxn modelId="{77513383-D772-4CEC-860A-D9E5C66D6C22}" type="presParOf" srcId="{D7AB1BD1-DF1E-4840-8838-133831299FA8}" destId="{27491E77-A90C-4BB7-B7E2-5EE32ED72378}" srcOrd="2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846FBE6-A65B-4173-AF7E-7AED75298A7D}" type="doc">
      <dgm:prSet loTypeId="urn:microsoft.com/office/officeart/2005/8/layout/process1" loCatId="process" qsTypeId="urn:microsoft.com/office/officeart/2005/8/quickstyle/simple1" qsCatId="simple" csTypeId="urn:microsoft.com/office/officeart/2005/8/colors/colorful5" csCatId="colorful" phldr="1"/>
      <dgm:spPr/>
    </dgm:pt>
    <dgm:pt modelId="{4DE438CA-A45D-4441-8D29-4D4468CAB684}">
      <dgm:prSet phldrT="[Text]" custT="1"/>
      <dgm:spPr/>
      <dgm:t>
        <a:bodyPr/>
        <a:lstStyle/>
        <a:p>
          <a:r>
            <a:rPr lang="en-US" sz="3600" b="1" i="0" dirty="0">
              <a:solidFill>
                <a:srgbClr val="FFFF00"/>
              </a:solidFill>
            </a:rPr>
            <a:t>TEXT</a:t>
          </a:r>
          <a:br>
            <a:rPr lang="en-US" sz="1800" b="0" i="0" dirty="0"/>
          </a:br>
          <a:r>
            <a:rPr lang="en-US" sz="1800" b="0" i="0" dirty="0"/>
            <a:t>Twinkle, twinkle, little star,</a:t>
          </a:r>
          <a:br>
            <a:rPr lang="en-US" sz="1800" dirty="0"/>
          </a:br>
          <a:r>
            <a:rPr lang="en-US" sz="1800" b="0" i="0" dirty="0"/>
            <a:t>How I wonder what you are!</a:t>
          </a:r>
          <a:br>
            <a:rPr lang="en-US" sz="1800" dirty="0"/>
          </a:br>
          <a:r>
            <a:rPr lang="en-US" sz="1800" b="0" i="0" dirty="0"/>
            <a:t>Up above the world so high,</a:t>
          </a:r>
          <a:br>
            <a:rPr lang="en-US" sz="1800" dirty="0"/>
          </a:br>
          <a:r>
            <a:rPr lang="en-US" sz="1800" b="0" i="0" dirty="0"/>
            <a:t>Like a diamond in the sky.</a:t>
          </a:r>
          <a:endParaRPr lang="en-US" sz="1800" dirty="0"/>
        </a:p>
      </dgm:t>
    </dgm:pt>
    <dgm:pt modelId="{433D3B7B-502C-4082-A2A6-9AE9CE0C4066}" type="parTrans" cxnId="{5803C091-9EA7-4BD2-A3B1-9E058E49B27F}">
      <dgm:prSet/>
      <dgm:spPr/>
      <dgm:t>
        <a:bodyPr/>
        <a:lstStyle/>
        <a:p>
          <a:endParaRPr lang="en-US"/>
        </a:p>
      </dgm:t>
    </dgm:pt>
    <dgm:pt modelId="{C239AA7C-E769-4C10-84FC-C9A8467BC26D}" type="sibTrans" cxnId="{5803C091-9EA7-4BD2-A3B1-9E058E49B27F}">
      <dgm:prSet/>
      <dgm:spPr/>
      <dgm:t>
        <a:bodyPr/>
        <a:lstStyle/>
        <a:p>
          <a:endParaRPr lang="en-US"/>
        </a:p>
      </dgm:t>
    </dgm:pt>
    <dgm:pt modelId="{D5C2323F-19FA-46EF-9302-180EA6ABA5B6}">
      <dgm:prSet phldrT="[Text]" custT="1"/>
      <dgm:spPr/>
      <dgm:t>
        <a:bodyPr/>
        <a:lstStyle/>
        <a:p>
          <a:r>
            <a:rPr lang="en-US" sz="3600" b="1" i="0" dirty="0">
              <a:solidFill>
                <a:srgbClr val="FFFF00"/>
              </a:solidFill>
            </a:rPr>
            <a:t>HASH</a:t>
          </a:r>
          <a:r>
            <a:rPr lang="en-US" sz="2100" dirty="0"/>
            <a:t> </a:t>
          </a:r>
          <a:r>
            <a:rPr lang="en-US" sz="3600" b="1" i="0" dirty="0">
              <a:solidFill>
                <a:srgbClr val="FFFF00"/>
              </a:solidFill>
            </a:rPr>
            <a:t>FUNCTION</a:t>
          </a:r>
          <a:br>
            <a:rPr lang="en-US" sz="2100" dirty="0"/>
          </a:br>
          <a:r>
            <a:rPr lang="en-US" sz="2100" dirty="0"/>
            <a:t>SHA256</a:t>
          </a:r>
        </a:p>
      </dgm:t>
    </dgm:pt>
    <dgm:pt modelId="{EF55D3F8-13A2-491F-8870-7564992931D3}" type="parTrans" cxnId="{2412D99D-3BEE-4C82-93F0-6AA041B53A91}">
      <dgm:prSet/>
      <dgm:spPr/>
      <dgm:t>
        <a:bodyPr/>
        <a:lstStyle/>
        <a:p>
          <a:endParaRPr lang="en-US"/>
        </a:p>
      </dgm:t>
    </dgm:pt>
    <dgm:pt modelId="{A68370F3-82D5-4AB5-9A0D-24A357066D1D}" type="sibTrans" cxnId="{2412D99D-3BEE-4C82-93F0-6AA041B53A91}">
      <dgm:prSet/>
      <dgm:spPr/>
      <dgm:t>
        <a:bodyPr/>
        <a:lstStyle/>
        <a:p>
          <a:endParaRPr lang="en-US"/>
        </a:p>
      </dgm:t>
    </dgm:pt>
    <dgm:pt modelId="{CF9B81F0-2CD3-44E4-B54E-229A067C168D}">
      <dgm:prSet phldrT="[Text]" custT="1"/>
      <dgm:spPr/>
      <dgm:t>
        <a:bodyPr/>
        <a:lstStyle/>
        <a:p>
          <a:r>
            <a:rPr lang="en-US" sz="3600" b="1" i="0" dirty="0">
              <a:solidFill>
                <a:srgbClr val="FFFF00"/>
              </a:solidFill>
            </a:rPr>
            <a:t>HASH</a:t>
          </a:r>
          <a:br>
            <a:rPr lang="en-US" sz="2100" dirty="0"/>
          </a:br>
          <a:r>
            <a:rPr lang="en-US" sz="2100" dirty="0"/>
            <a:t>9d33551</a:t>
          </a:r>
          <a:br>
            <a:rPr lang="en-US" sz="2100" dirty="0"/>
          </a:br>
          <a:r>
            <a:rPr lang="en-US" sz="2100" dirty="0"/>
            <a:t>7ee91c63d</a:t>
          </a:r>
          <a:br>
            <a:rPr lang="en-US" sz="2100" dirty="0"/>
          </a:br>
          <a:r>
            <a:rPr lang="en-US" sz="2100" dirty="0"/>
            <a:t>10fc2fc3</a:t>
          </a:r>
          <a:br>
            <a:rPr lang="en-US" sz="2100" dirty="0"/>
          </a:br>
          <a:r>
            <a:rPr lang="en-US" sz="2100" dirty="0"/>
            <a:t>aafdeca6</a:t>
          </a:r>
          <a:br>
            <a:rPr lang="en-US" sz="2100" dirty="0"/>
          </a:br>
          <a:r>
            <a:rPr lang="en-US" sz="2100" dirty="0"/>
            <a:t>38233481d44</a:t>
          </a:r>
          <a:br>
            <a:rPr lang="en-US" sz="2100" dirty="0"/>
          </a:br>
          <a:r>
            <a:rPr lang="en-US" sz="2100" dirty="0"/>
            <a:t>80cd40064c7</a:t>
          </a:r>
          <a:br>
            <a:rPr lang="en-US" sz="2100" dirty="0"/>
          </a:br>
          <a:r>
            <a:rPr lang="en-US" sz="2100" dirty="0"/>
            <a:t>b912158775</a:t>
          </a:r>
          <a:br>
            <a:rPr lang="en-US" sz="2100" dirty="0"/>
          </a:br>
          <a:r>
            <a:rPr lang="en-US" sz="2100" dirty="0"/>
            <a:t>(HEXADECIMAL)</a:t>
          </a:r>
        </a:p>
      </dgm:t>
    </dgm:pt>
    <dgm:pt modelId="{51CEF62D-ED5D-4529-B5CE-61CEA982A135}" type="parTrans" cxnId="{E55C3C89-FF4F-4D56-AAE9-771FDB36AFDE}">
      <dgm:prSet/>
      <dgm:spPr/>
      <dgm:t>
        <a:bodyPr/>
        <a:lstStyle/>
        <a:p>
          <a:endParaRPr lang="en-US"/>
        </a:p>
      </dgm:t>
    </dgm:pt>
    <dgm:pt modelId="{6E83730F-6FD4-422E-8F7B-D12C1954AA4B}" type="sibTrans" cxnId="{E55C3C89-FF4F-4D56-AAE9-771FDB36AFDE}">
      <dgm:prSet/>
      <dgm:spPr/>
      <dgm:t>
        <a:bodyPr/>
        <a:lstStyle/>
        <a:p>
          <a:endParaRPr lang="en-US"/>
        </a:p>
      </dgm:t>
    </dgm:pt>
    <dgm:pt modelId="{34251168-7050-4832-9BC4-488E10096B01}" type="pres">
      <dgm:prSet presAssocID="{1846FBE6-A65B-4173-AF7E-7AED75298A7D}" presName="Name0" presStyleCnt="0">
        <dgm:presLayoutVars>
          <dgm:dir/>
          <dgm:resizeHandles val="exact"/>
        </dgm:presLayoutVars>
      </dgm:prSet>
      <dgm:spPr/>
    </dgm:pt>
    <dgm:pt modelId="{B4CD8245-A442-4EC7-A594-D10D847FE5D8}" type="pres">
      <dgm:prSet presAssocID="{4DE438CA-A45D-4441-8D29-4D4468CAB684}" presName="node" presStyleLbl="node1" presStyleIdx="0" presStyleCnt="3">
        <dgm:presLayoutVars>
          <dgm:bulletEnabled val="1"/>
        </dgm:presLayoutVars>
      </dgm:prSet>
      <dgm:spPr/>
    </dgm:pt>
    <dgm:pt modelId="{14F3D622-98FD-4E75-B244-F0D4150281B4}" type="pres">
      <dgm:prSet presAssocID="{C239AA7C-E769-4C10-84FC-C9A8467BC26D}" presName="sibTrans" presStyleLbl="sibTrans2D1" presStyleIdx="0" presStyleCnt="2"/>
      <dgm:spPr/>
    </dgm:pt>
    <dgm:pt modelId="{9E1E56C8-F51E-46DC-97D1-5532B6BC4881}" type="pres">
      <dgm:prSet presAssocID="{C239AA7C-E769-4C10-84FC-C9A8467BC26D}" presName="connectorText" presStyleLbl="sibTrans2D1" presStyleIdx="0" presStyleCnt="2"/>
      <dgm:spPr/>
    </dgm:pt>
    <dgm:pt modelId="{3DEFF084-9B4F-4DA7-9779-AD74980CAEE4}" type="pres">
      <dgm:prSet presAssocID="{D5C2323F-19FA-46EF-9302-180EA6ABA5B6}" presName="node" presStyleLbl="node1" presStyleIdx="1" presStyleCnt="3">
        <dgm:presLayoutVars>
          <dgm:bulletEnabled val="1"/>
        </dgm:presLayoutVars>
      </dgm:prSet>
      <dgm:spPr/>
    </dgm:pt>
    <dgm:pt modelId="{724BB509-6A31-4238-944F-E000856BA731}" type="pres">
      <dgm:prSet presAssocID="{A68370F3-82D5-4AB5-9A0D-24A357066D1D}" presName="sibTrans" presStyleLbl="sibTrans2D1" presStyleIdx="1" presStyleCnt="2"/>
      <dgm:spPr/>
    </dgm:pt>
    <dgm:pt modelId="{E95B19AE-96AE-4DDB-9D19-E90DA01B6F3B}" type="pres">
      <dgm:prSet presAssocID="{A68370F3-82D5-4AB5-9A0D-24A357066D1D}" presName="connectorText" presStyleLbl="sibTrans2D1" presStyleIdx="1" presStyleCnt="2"/>
      <dgm:spPr/>
    </dgm:pt>
    <dgm:pt modelId="{7E9F46D5-9C18-4599-B147-7C116AC0CC4E}" type="pres">
      <dgm:prSet presAssocID="{CF9B81F0-2CD3-44E4-B54E-229A067C168D}" presName="node" presStyleLbl="node1" presStyleIdx="2" presStyleCnt="3">
        <dgm:presLayoutVars>
          <dgm:bulletEnabled val="1"/>
        </dgm:presLayoutVars>
      </dgm:prSet>
      <dgm:spPr/>
    </dgm:pt>
  </dgm:ptLst>
  <dgm:cxnLst>
    <dgm:cxn modelId="{59B8590C-F023-42F5-9F19-2C07D6B31872}" type="presOf" srcId="{1846FBE6-A65B-4173-AF7E-7AED75298A7D}" destId="{34251168-7050-4832-9BC4-488E10096B01}" srcOrd="0" destOrd="0" presId="urn:microsoft.com/office/officeart/2005/8/layout/process1"/>
    <dgm:cxn modelId="{198EF93B-C67A-486D-9B41-6BBF8E02CC30}" type="presOf" srcId="{A68370F3-82D5-4AB5-9A0D-24A357066D1D}" destId="{724BB509-6A31-4238-944F-E000856BA731}" srcOrd="0" destOrd="0" presId="urn:microsoft.com/office/officeart/2005/8/layout/process1"/>
    <dgm:cxn modelId="{44E2E669-DC24-440D-8B0F-0DD65E85E05E}" type="presOf" srcId="{D5C2323F-19FA-46EF-9302-180EA6ABA5B6}" destId="{3DEFF084-9B4F-4DA7-9779-AD74980CAEE4}" srcOrd="0" destOrd="0" presId="urn:microsoft.com/office/officeart/2005/8/layout/process1"/>
    <dgm:cxn modelId="{2788E455-533F-49CD-94AA-7CD068C84925}" type="presOf" srcId="{A68370F3-82D5-4AB5-9A0D-24A357066D1D}" destId="{E95B19AE-96AE-4DDB-9D19-E90DA01B6F3B}" srcOrd="1" destOrd="0" presId="urn:microsoft.com/office/officeart/2005/8/layout/process1"/>
    <dgm:cxn modelId="{2EC5C577-9DD3-4FBA-84FA-8894A943D9FC}" type="presOf" srcId="{CF9B81F0-2CD3-44E4-B54E-229A067C168D}" destId="{7E9F46D5-9C18-4599-B147-7C116AC0CC4E}" srcOrd="0" destOrd="0" presId="urn:microsoft.com/office/officeart/2005/8/layout/process1"/>
    <dgm:cxn modelId="{E55C3C89-FF4F-4D56-AAE9-771FDB36AFDE}" srcId="{1846FBE6-A65B-4173-AF7E-7AED75298A7D}" destId="{CF9B81F0-2CD3-44E4-B54E-229A067C168D}" srcOrd="2" destOrd="0" parTransId="{51CEF62D-ED5D-4529-B5CE-61CEA982A135}" sibTransId="{6E83730F-6FD4-422E-8F7B-D12C1954AA4B}"/>
    <dgm:cxn modelId="{5803C091-9EA7-4BD2-A3B1-9E058E49B27F}" srcId="{1846FBE6-A65B-4173-AF7E-7AED75298A7D}" destId="{4DE438CA-A45D-4441-8D29-4D4468CAB684}" srcOrd="0" destOrd="0" parTransId="{433D3B7B-502C-4082-A2A6-9AE9CE0C4066}" sibTransId="{C239AA7C-E769-4C10-84FC-C9A8467BC26D}"/>
    <dgm:cxn modelId="{2412D99D-3BEE-4C82-93F0-6AA041B53A91}" srcId="{1846FBE6-A65B-4173-AF7E-7AED75298A7D}" destId="{D5C2323F-19FA-46EF-9302-180EA6ABA5B6}" srcOrd="1" destOrd="0" parTransId="{EF55D3F8-13A2-491F-8870-7564992931D3}" sibTransId="{A68370F3-82D5-4AB5-9A0D-24A357066D1D}"/>
    <dgm:cxn modelId="{E636B0B5-29E9-424A-9CDF-46E7733EE143}" type="presOf" srcId="{4DE438CA-A45D-4441-8D29-4D4468CAB684}" destId="{B4CD8245-A442-4EC7-A594-D10D847FE5D8}" srcOrd="0" destOrd="0" presId="urn:microsoft.com/office/officeart/2005/8/layout/process1"/>
    <dgm:cxn modelId="{1759E3C2-7F5E-4FDD-B7F8-2F28E6003105}" type="presOf" srcId="{C239AA7C-E769-4C10-84FC-C9A8467BC26D}" destId="{9E1E56C8-F51E-46DC-97D1-5532B6BC4881}" srcOrd="1" destOrd="0" presId="urn:microsoft.com/office/officeart/2005/8/layout/process1"/>
    <dgm:cxn modelId="{8574DDDC-01D4-4AC3-B7AB-3F91D97D82F9}" type="presOf" srcId="{C239AA7C-E769-4C10-84FC-C9A8467BC26D}" destId="{14F3D622-98FD-4E75-B244-F0D4150281B4}" srcOrd="0" destOrd="0" presId="urn:microsoft.com/office/officeart/2005/8/layout/process1"/>
    <dgm:cxn modelId="{62D9E745-B127-4986-910A-7F005A5B92C3}" type="presParOf" srcId="{34251168-7050-4832-9BC4-488E10096B01}" destId="{B4CD8245-A442-4EC7-A594-D10D847FE5D8}" srcOrd="0" destOrd="0" presId="urn:microsoft.com/office/officeart/2005/8/layout/process1"/>
    <dgm:cxn modelId="{ED0F5E3A-E6A1-4DF0-84E6-30E1DE175207}" type="presParOf" srcId="{34251168-7050-4832-9BC4-488E10096B01}" destId="{14F3D622-98FD-4E75-B244-F0D4150281B4}" srcOrd="1" destOrd="0" presId="urn:microsoft.com/office/officeart/2005/8/layout/process1"/>
    <dgm:cxn modelId="{E69792E6-BBA1-4200-A68C-406DFDFE993F}" type="presParOf" srcId="{14F3D622-98FD-4E75-B244-F0D4150281B4}" destId="{9E1E56C8-F51E-46DC-97D1-5532B6BC4881}" srcOrd="0" destOrd="0" presId="urn:microsoft.com/office/officeart/2005/8/layout/process1"/>
    <dgm:cxn modelId="{1EB2FA6A-A4A5-4733-B80C-F8B10D3EF3C0}" type="presParOf" srcId="{34251168-7050-4832-9BC4-488E10096B01}" destId="{3DEFF084-9B4F-4DA7-9779-AD74980CAEE4}" srcOrd="2" destOrd="0" presId="urn:microsoft.com/office/officeart/2005/8/layout/process1"/>
    <dgm:cxn modelId="{6F3CCE56-B5A2-4695-8CFD-FFE2DFA3D762}" type="presParOf" srcId="{34251168-7050-4832-9BC4-488E10096B01}" destId="{724BB509-6A31-4238-944F-E000856BA731}" srcOrd="3" destOrd="0" presId="urn:microsoft.com/office/officeart/2005/8/layout/process1"/>
    <dgm:cxn modelId="{FA370999-C911-47BC-B357-AF9AB76005A2}" type="presParOf" srcId="{724BB509-6A31-4238-944F-E000856BA731}" destId="{E95B19AE-96AE-4DDB-9D19-E90DA01B6F3B}" srcOrd="0" destOrd="0" presId="urn:microsoft.com/office/officeart/2005/8/layout/process1"/>
    <dgm:cxn modelId="{5369C1AA-57BD-4158-A482-47AE46CBBB00}" type="presParOf" srcId="{34251168-7050-4832-9BC4-488E10096B01}" destId="{7E9F46D5-9C18-4599-B147-7C116AC0CC4E}"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DBC2354-B93A-4C90-B849-EE34FB0119BA}" type="doc">
      <dgm:prSet loTypeId="urn:microsoft.com/office/officeart/2005/8/layout/lProcess3" loCatId="process" qsTypeId="urn:microsoft.com/office/officeart/2005/8/quickstyle/simple5" qsCatId="simple" csTypeId="urn:microsoft.com/office/officeart/2005/8/colors/colorful3" csCatId="colorful" phldr="1"/>
      <dgm:spPr/>
      <dgm:t>
        <a:bodyPr/>
        <a:lstStyle/>
        <a:p>
          <a:endParaRPr lang="en-US"/>
        </a:p>
      </dgm:t>
    </dgm:pt>
    <dgm:pt modelId="{E4B8BEF1-23FD-4E93-9641-80F98F356B43}">
      <dgm:prSet phldrT="[Text]"/>
      <dgm:spPr/>
      <dgm:t>
        <a:bodyPr/>
        <a:lstStyle/>
        <a:p>
          <a:r>
            <a:rPr lang="en-US" dirty="0"/>
            <a:t>Input</a:t>
          </a:r>
        </a:p>
      </dgm:t>
    </dgm:pt>
    <dgm:pt modelId="{588C5B5A-BE39-4506-B886-0F61573D10C2}" type="parTrans" cxnId="{005A13BB-56C8-462C-99AA-A789625A650E}">
      <dgm:prSet/>
      <dgm:spPr/>
      <dgm:t>
        <a:bodyPr/>
        <a:lstStyle/>
        <a:p>
          <a:endParaRPr lang="en-US"/>
        </a:p>
      </dgm:t>
    </dgm:pt>
    <dgm:pt modelId="{599906C2-F64E-4C1B-B52C-1AF5569E7EF0}" type="sibTrans" cxnId="{005A13BB-56C8-462C-99AA-A789625A650E}">
      <dgm:prSet/>
      <dgm:spPr/>
      <dgm:t>
        <a:bodyPr/>
        <a:lstStyle/>
        <a:p>
          <a:endParaRPr lang="en-US"/>
        </a:p>
      </dgm:t>
    </dgm:pt>
    <dgm:pt modelId="{78DB6139-C94E-40AC-AC67-DD2B2CB087B4}">
      <dgm:prSet phldrT="[Text]"/>
      <dgm:spPr/>
      <dgm:t>
        <a:bodyPr/>
        <a:lstStyle/>
        <a:p>
          <a:r>
            <a:rPr lang="en-US" dirty="0"/>
            <a:t>SHA256</a:t>
          </a:r>
        </a:p>
      </dgm:t>
    </dgm:pt>
    <dgm:pt modelId="{057CEBDB-E9E5-4F89-9047-42CA8E6FDCBE}" type="parTrans" cxnId="{6D29A5CF-83B3-4894-9C99-D33ED4027116}">
      <dgm:prSet/>
      <dgm:spPr/>
      <dgm:t>
        <a:bodyPr/>
        <a:lstStyle/>
        <a:p>
          <a:endParaRPr lang="en-US"/>
        </a:p>
      </dgm:t>
    </dgm:pt>
    <dgm:pt modelId="{5A541078-8751-4690-AB33-793D6DCDA1CF}" type="sibTrans" cxnId="{6D29A5CF-83B3-4894-9C99-D33ED4027116}">
      <dgm:prSet/>
      <dgm:spPr/>
      <dgm:t>
        <a:bodyPr/>
        <a:lstStyle/>
        <a:p>
          <a:endParaRPr lang="en-US"/>
        </a:p>
      </dgm:t>
    </dgm:pt>
    <dgm:pt modelId="{F3604304-565F-4ECF-B693-B35815407816}">
      <dgm:prSet phldrT="[Text]"/>
      <dgm:spPr/>
      <dgm:t>
        <a:bodyPr/>
        <a:lstStyle/>
        <a:p>
          <a:r>
            <a:rPr lang="en-US" dirty="0"/>
            <a:t>Output</a:t>
          </a:r>
        </a:p>
      </dgm:t>
    </dgm:pt>
    <dgm:pt modelId="{91DC3FDC-BB83-4967-ACA4-B87DCD21725C}" type="parTrans" cxnId="{4BC8F248-0744-48A9-A235-881332F24C7A}">
      <dgm:prSet/>
      <dgm:spPr/>
      <dgm:t>
        <a:bodyPr/>
        <a:lstStyle/>
        <a:p>
          <a:endParaRPr lang="en-US"/>
        </a:p>
      </dgm:t>
    </dgm:pt>
    <dgm:pt modelId="{ADC259A0-775C-406A-9E2A-F0B12F55E254}" type="sibTrans" cxnId="{4BC8F248-0744-48A9-A235-881332F24C7A}">
      <dgm:prSet/>
      <dgm:spPr/>
      <dgm:t>
        <a:bodyPr/>
        <a:lstStyle/>
        <a:p>
          <a:endParaRPr lang="en-US"/>
        </a:p>
      </dgm:t>
    </dgm:pt>
    <dgm:pt modelId="{800BFFF4-1083-4818-ACE7-E9BB5A6A13D3}">
      <dgm:prSet phldrT="[Text]"/>
      <dgm:spPr/>
      <dgm:t>
        <a:bodyPr/>
        <a:lstStyle/>
        <a:p>
          <a:r>
            <a:rPr lang="en-US" dirty="0"/>
            <a:t>a591a6d40b</a:t>
          </a:r>
          <a:br>
            <a:rPr lang="en-US" dirty="0"/>
          </a:br>
          <a:r>
            <a:rPr lang="en-US" dirty="0"/>
            <a:t>f420404a011</a:t>
          </a:r>
          <a:br>
            <a:rPr lang="en-US" dirty="0"/>
          </a:br>
          <a:r>
            <a:rPr lang="en-US" dirty="0"/>
            <a:t>733cfb7b19</a:t>
          </a:r>
          <a:br>
            <a:rPr lang="en-US" dirty="0"/>
          </a:br>
          <a:r>
            <a:rPr lang="en-US" dirty="0"/>
            <a:t>0d62c65bf0b</a:t>
          </a:r>
          <a:br>
            <a:rPr lang="en-US" dirty="0"/>
          </a:br>
          <a:r>
            <a:rPr lang="en-US" dirty="0"/>
            <a:t>cda32b57b27</a:t>
          </a:r>
          <a:br>
            <a:rPr lang="en-US" dirty="0"/>
          </a:br>
          <a:r>
            <a:rPr lang="en-US" dirty="0"/>
            <a:t>7d9ad9f146e</a:t>
          </a:r>
        </a:p>
      </dgm:t>
    </dgm:pt>
    <dgm:pt modelId="{759F895E-904F-4063-8735-D7DF4264045F}" type="parTrans" cxnId="{C4F806FE-BE31-4392-89AA-EB905055B93A}">
      <dgm:prSet/>
      <dgm:spPr/>
      <dgm:t>
        <a:bodyPr/>
        <a:lstStyle/>
        <a:p>
          <a:endParaRPr lang="en-US"/>
        </a:p>
      </dgm:t>
    </dgm:pt>
    <dgm:pt modelId="{FFA36C61-85A0-498F-B474-57D0D464AEA8}" type="sibTrans" cxnId="{C4F806FE-BE31-4392-89AA-EB905055B93A}">
      <dgm:prSet/>
      <dgm:spPr/>
      <dgm:t>
        <a:bodyPr/>
        <a:lstStyle/>
        <a:p>
          <a:endParaRPr lang="en-US"/>
        </a:p>
      </dgm:t>
    </dgm:pt>
    <dgm:pt modelId="{2CA65CB6-1449-4D9C-89D7-110935EA823A}">
      <dgm:prSet phldrT="[Text]"/>
      <dgm:spPr/>
      <dgm:t>
        <a:bodyPr/>
        <a:lstStyle/>
        <a:p>
          <a:r>
            <a:rPr lang="en-US" dirty="0"/>
            <a:t>Hello World</a:t>
          </a:r>
        </a:p>
      </dgm:t>
    </dgm:pt>
    <dgm:pt modelId="{F5B525F1-E5AB-4AF7-8FB5-4F798E1A82EE}" type="parTrans" cxnId="{46A7852F-15FD-46AB-BABA-52BE90071FDD}">
      <dgm:prSet/>
      <dgm:spPr/>
      <dgm:t>
        <a:bodyPr/>
        <a:lstStyle/>
        <a:p>
          <a:endParaRPr lang="en-US"/>
        </a:p>
      </dgm:t>
    </dgm:pt>
    <dgm:pt modelId="{2EC9AEAA-9BA3-48AC-A6F8-CCF1A52BE707}" type="sibTrans" cxnId="{46A7852F-15FD-46AB-BABA-52BE90071FDD}">
      <dgm:prSet/>
      <dgm:spPr/>
      <dgm:t>
        <a:bodyPr/>
        <a:lstStyle/>
        <a:p>
          <a:endParaRPr lang="en-US"/>
        </a:p>
      </dgm:t>
    </dgm:pt>
    <dgm:pt modelId="{12CB5E29-FBA1-400B-8960-0A8D91EC15C8}" type="pres">
      <dgm:prSet presAssocID="{DDBC2354-B93A-4C90-B849-EE34FB0119BA}" presName="Name0" presStyleCnt="0">
        <dgm:presLayoutVars>
          <dgm:chPref val="3"/>
          <dgm:dir/>
          <dgm:animLvl val="lvl"/>
          <dgm:resizeHandles/>
        </dgm:presLayoutVars>
      </dgm:prSet>
      <dgm:spPr/>
    </dgm:pt>
    <dgm:pt modelId="{D46C8B94-8640-4874-8A24-6AAB7DEF8499}" type="pres">
      <dgm:prSet presAssocID="{E4B8BEF1-23FD-4E93-9641-80F98F356B43}" presName="horFlow" presStyleCnt="0"/>
      <dgm:spPr/>
    </dgm:pt>
    <dgm:pt modelId="{0E362BA2-59C1-46BE-A3E2-53589B45A982}" type="pres">
      <dgm:prSet presAssocID="{E4B8BEF1-23FD-4E93-9641-80F98F356B43}" presName="bigChev" presStyleLbl="node1" presStyleIdx="0" presStyleCnt="3"/>
      <dgm:spPr/>
    </dgm:pt>
    <dgm:pt modelId="{5EBEC2D2-4F66-4A34-B0CC-6D02C4643F02}" type="pres">
      <dgm:prSet presAssocID="{F5B525F1-E5AB-4AF7-8FB5-4F798E1A82EE}" presName="parTrans" presStyleCnt="0"/>
      <dgm:spPr/>
    </dgm:pt>
    <dgm:pt modelId="{A76E9156-C63C-45F0-B90A-C08B82037310}" type="pres">
      <dgm:prSet presAssocID="{2CA65CB6-1449-4D9C-89D7-110935EA823A}" presName="node" presStyleLbl="alignAccFollowNode1" presStyleIdx="0" presStyleCnt="2">
        <dgm:presLayoutVars>
          <dgm:bulletEnabled val="1"/>
        </dgm:presLayoutVars>
      </dgm:prSet>
      <dgm:spPr/>
    </dgm:pt>
    <dgm:pt modelId="{87949722-5507-4199-8A7D-D38CA6012D3A}" type="pres">
      <dgm:prSet presAssocID="{E4B8BEF1-23FD-4E93-9641-80F98F356B43}" presName="vSp" presStyleCnt="0"/>
      <dgm:spPr/>
    </dgm:pt>
    <dgm:pt modelId="{8A58C99C-CF52-400A-B113-ABC14DEAA161}" type="pres">
      <dgm:prSet presAssocID="{78DB6139-C94E-40AC-AC67-DD2B2CB087B4}" presName="horFlow" presStyleCnt="0"/>
      <dgm:spPr/>
    </dgm:pt>
    <dgm:pt modelId="{80CDF291-C20B-4111-8BD0-C2C02059661B}" type="pres">
      <dgm:prSet presAssocID="{78DB6139-C94E-40AC-AC67-DD2B2CB087B4}" presName="bigChev" presStyleLbl="node1" presStyleIdx="1" presStyleCnt="3"/>
      <dgm:spPr/>
    </dgm:pt>
    <dgm:pt modelId="{38C8B2C6-2633-47FC-BBB3-488E41EE0ACF}" type="pres">
      <dgm:prSet presAssocID="{78DB6139-C94E-40AC-AC67-DD2B2CB087B4}" presName="vSp" presStyleCnt="0"/>
      <dgm:spPr/>
    </dgm:pt>
    <dgm:pt modelId="{03E3CD70-42CA-4D7C-B1DF-27F7E6017C30}" type="pres">
      <dgm:prSet presAssocID="{F3604304-565F-4ECF-B693-B35815407816}" presName="horFlow" presStyleCnt="0"/>
      <dgm:spPr/>
    </dgm:pt>
    <dgm:pt modelId="{029769B0-6CC1-436E-BFF3-BD2DBAA3DDF1}" type="pres">
      <dgm:prSet presAssocID="{F3604304-565F-4ECF-B693-B35815407816}" presName="bigChev" presStyleLbl="node1" presStyleIdx="2" presStyleCnt="3"/>
      <dgm:spPr/>
    </dgm:pt>
    <dgm:pt modelId="{8E26133D-E547-489B-B514-B314CA0AEA0E}" type="pres">
      <dgm:prSet presAssocID="{759F895E-904F-4063-8735-D7DF4264045F}" presName="parTrans" presStyleCnt="0"/>
      <dgm:spPr/>
    </dgm:pt>
    <dgm:pt modelId="{CFAA1A10-84A7-45C0-81B8-FE903A72CAB1}" type="pres">
      <dgm:prSet presAssocID="{800BFFF4-1083-4818-ACE7-E9BB5A6A13D3}" presName="node" presStyleLbl="alignAccFollowNode1" presStyleIdx="1" presStyleCnt="2">
        <dgm:presLayoutVars>
          <dgm:bulletEnabled val="1"/>
        </dgm:presLayoutVars>
      </dgm:prSet>
      <dgm:spPr/>
    </dgm:pt>
  </dgm:ptLst>
  <dgm:cxnLst>
    <dgm:cxn modelId="{07C0D608-52D2-4F42-85AD-76E3F38A4F28}" type="presOf" srcId="{78DB6139-C94E-40AC-AC67-DD2B2CB087B4}" destId="{80CDF291-C20B-4111-8BD0-C2C02059661B}" srcOrd="0" destOrd="0" presId="urn:microsoft.com/office/officeart/2005/8/layout/lProcess3"/>
    <dgm:cxn modelId="{C5EBBE11-A351-454C-AFEE-35A203889813}" type="presOf" srcId="{800BFFF4-1083-4818-ACE7-E9BB5A6A13D3}" destId="{CFAA1A10-84A7-45C0-81B8-FE903A72CAB1}" srcOrd="0" destOrd="0" presId="urn:microsoft.com/office/officeart/2005/8/layout/lProcess3"/>
    <dgm:cxn modelId="{5FDE582C-DBF9-427D-8250-8CADB0DF2F2E}" type="presOf" srcId="{DDBC2354-B93A-4C90-B849-EE34FB0119BA}" destId="{12CB5E29-FBA1-400B-8960-0A8D91EC15C8}" srcOrd="0" destOrd="0" presId="urn:microsoft.com/office/officeart/2005/8/layout/lProcess3"/>
    <dgm:cxn modelId="{46A7852F-15FD-46AB-BABA-52BE90071FDD}" srcId="{E4B8BEF1-23FD-4E93-9641-80F98F356B43}" destId="{2CA65CB6-1449-4D9C-89D7-110935EA823A}" srcOrd="0" destOrd="0" parTransId="{F5B525F1-E5AB-4AF7-8FB5-4F798E1A82EE}" sibTransId="{2EC9AEAA-9BA3-48AC-A6F8-CCF1A52BE707}"/>
    <dgm:cxn modelId="{E1393B65-3EB0-487A-A19D-DFAC41AADDEF}" type="presOf" srcId="{2CA65CB6-1449-4D9C-89D7-110935EA823A}" destId="{A76E9156-C63C-45F0-B90A-C08B82037310}" srcOrd="0" destOrd="0" presId="urn:microsoft.com/office/officeart/2005/8/layout/lProcess3"/>
    <dgm:cxn modelId="{4BC8F248-0744-48A9-A235-881332F24C7A}" srcId="{DDBC2354-B93A-4C90-B849-EE34FB0119BA}" destId="{F3604304-565F-4ECF-B693-B35815407816}" srcOrd="2" destOrd="0" parTransId="{91DC3FDC-BB83-4967-ACA4-B87DCD21725C}" sibTransId="{ADC259A0-775C-406A-9E2A-F0B12F55E254}"/>
    <dgm:cxn modelId="{E69C8580-BE68-46A0-9536-24B3A04E93A4}" type="presOf" srcId="{F3604304-565F-4ECF-B693-B35815407816}" destId="{029769B0-6CC1-436E-BFF3-BD2DBAA3DDF1}" srcOrd="0" destOrd="0" presId="urn:microsoft.com/office/officeart/2005/8/layout/lProcess3"/>
    <dgm:cxn modelId="{746E129F-F4EC-4114-A56E-83603260C0D7}" type="presOf" srcId="{E4B8BEF1-23FD-4E93-9641-80F98F356B43}" destId="{0E362BA2-59C1-46BE-A3E2-53589B45A982}" srcOrd="0" destOrd="0" presId="urn:microsoft.com/office/officeart/2005/8/layout/lProcess3"/>
    <dgm:cxn modelId="{005A13BB-56C8-462C-99AA-A789625A650E}" srcId="{DDBC2354-B93A-4C90-B849-EE34FB0119BA}" destId="{E4B8BEF1-23FD-4E93-9641-80F98F356B43}" srcOrd="0" destOrd="0" parTransId="{588C5B5A-BE39-4506-B886-0F61573D10C2}" sibTransId="{599906C2-F64E-4C1B-B52C-1AF5569E7EF0}"/>
    <dgm:cxn modelId="{6D29A5CF-83B3-4894-9C99-D33ED4027116}" srcId="{DDBC2354-B93A-4C90-B849-EE34FB0119BA}" destId="{78DB6139-C94E-40AC-AC67-DD2B2CB087B4}" srcOrd="1" destOrd="0" parTransId="{057CEBDB-E9E5-4F89-9047-42CA8E6FDCBE}" sibTransId="{5A541078-8751-4690-AB33-793D6DCDA1CF}"/>
    <dgm:cxn modelId="{C4F806FE-BE31-4392-89AA-EB905055B93A}" srcId="{F3604304-565F-4ECF-B693-B35815407816}" destId="{800BFFF4-1083-4818-ACE7-E9BB5A6A13D3}" srcOrd="0" destOrd="0" parTransId="{759F895E-904F-4063-8735-D7DF4264045F}" sibTransId="{FFA36C61-85A0-498F-B474-57D0D464AEA8}"/>
    <dgm:cxn modelId="{0E92C677-4C73-45A6-BF79-317CFB21A02C}" type="presParOf" srcId="{12CB5E29-FBA1-400B-8960-0A8D91EC15C8}" destId="{D46C8B94-8640-4874-8A24-6AAB7DEF8499}" srcOrd="0" destOrd="0" presId="urn:microsoft.com/office/officeart/2005/8/layout/lProcess3"/>
    <dgm:cxn modelId="{EE4ED2D4-01CB-431E-B297-4A313DAA79A4}" type="presParOf" srcId="{D46C8B94-8640-4874-8A24-6AAB7DEF8499}" destId="{0E362BA2-59C1-46BE-A3E2-53589B45A982}" srcOrd="0" destOrd="0" presId="urn:microsoft.com/office/officeart/2005/8/layout/lProcess3"/>
    <dgm:cxn modelId="{FC555E36-AC69-4556-B83D-0B409AA9E28D}" type="presParOf" srcId="{D46C8B94-8640-4874-8A24-6AAB7DEF8499}" destId="{5EBEC2D2-4F66-4A34-B0CC-6D02C4643F02}" srcOrd="1" destOrd="0" presId="urn:microsoft.com/office/officeart/2005/8/layout/lProcess3"/>
    <dgm:cxn modelId="{C8F3A1BB-55AB-40CD-98CB-4C8CB7DE0C03}" type="presParOf" srcId="{D46C8B94-8640-4874-8A24-6AAB7DEF8499}" destId="{A76E9156-C63C-45F0-B90A-C08B82037310}" srcOrd="2" destOrd="0" presId="urn:microsoft.com/office/officeart/2005/8/layout/lProcess3"/>
    <dgm:cxn modelId="{F0B042EC-12A9-4073-A69A-E72FB5DB1A23}" type="presParOf" srcId="{12CB5E29-FBA1-400B-8960-0A8D91EC15C8}" destId="{87949722-5507-4199-8A7D-D38CA6012D3A}" srcOrd="1" destOrd="0" presId="urn:microsoft.com/office/officeart/2005/8/layout/lProcess3"/>
    <dgm:cxn modelId="{CA9C3BC5-535B-4279-AC3A-30F76A790F66}" type="presParOf" srcId="{12CB5E29-FBA1-400B-8960-0A8D91EC15C8}" destId="{8A58C99C-CF52-400A-B113-ABC14DEAA161}" srcOrd="2" destOrd="0" presId="urn:microsoft.com/office/officeart/2005/8/layout/lProcess3"/>
    <dgm:cxn modelId="{A2472C09-F975-4A3C-B1DA-51CCBC2B4C94}" type="presParOf" srcId="{8A58C99C-CF52-400A-B113-ABC14DEAA161}" destId="{80CDF291-C20B-4111-8BD0-C2C02059661B}" srcOrd="0" destOrd="0" presId="urn:microsoft.com/office/officeart/2005/8/layout/lProcess3"/>
    <dgm:cxn modelId="{DD633B7B-6BF1-4C80-8A64-68137EB7598F}" type="presParOf" srcId="{12CB5E29-FBA1-400B-8960-0A8D91EC15C8}" destId="{38C8B2C6-2633-47FC-BBB3-488E41EE0ACF}" srcOrd="3" destOrd="0" presId="urn:microsoft.com/office/officeart/2005/8/layout/lProcess3"/>
    <dgm:cxn modelId="{4B6CC3EF-5586-4E44-88E6-B72892EB5CDC}" type="presParOf" srcId="{12CB5E29-FBA1-400B-8960-0A8D91EC15C8}" destId="{03E3CD70-42CA-4D7C-B1DF-27F7E6017C30}" srcOrd="4" destOrd="0" presId="urn:microsoft.com/office/officeart/2005/8/layout/lProcess3"/>
    <dgm:cxn modelId="{B0DDDCF0-513A-48B8-A4FB-6AD8ADD56F3B}" type="presParOf" srcId="{03E3CD70-42CA-4D7C-B1DF-27F7E6017C30}" destId="{029769B0-6CC1-436E-BFF3-BD2DBAA3DDF1}" srcOrd="0" destOrd="0" presId="urn:microsoft.com/office/officeart/2005/8/layout/lProcess3"/>
    <dgm:cxn modelId="{17FA471B-3673-41E7-829B-AE9B23A9E4F5}" type="presParOf" srcId="{03E3CD70-42CA-4D7C-B1DF-27F7E6017C30}" destId="{8E26133D-E547-489B-B514-B314CA0AEA0E}" srcOrd="1" destOrd="0" presId="urn:microsoft.com/office/officeart/2005/8/layout/lProcess3"/>
    <dgm:cxn modelId="{9A42FFE0-C472-4EC1-ABF8-761755B88B10}" type="presParOf" srcId="{03E3CD70-42CA-4D7C-B1DF-27F7E6017C30}" destId="{CFAA1A10-84A7-45C0-81B8-FE903A72CAB1}"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1C16233-3E75-4DBC-8DF7-9D3C94E959DB}" type="doc">
      <dgm:prSet loTypeId="urn:microsoft.com/office/officeart/2005/8/layout/process1" loCatId="process" qsTypeId="urn:microsoft.com/office/officeart/2005/8/quickstyle/simple4" qsCatId="simple" csTypeId="urn:microsoft.com/office/officeart/2005/8/colors/accent6_2" csCatId="accent6" phldr="1"/>
      <dgm:spPr/>
      <dgm:t>
        <a:bodyPr/>
        <a:lstStyle/>
        <a:p>
          <a:endParaRPr lang="en-US"/>
        </a:p>
      </dgm:t>
    </dgm:pt>
    <dgm:pt modelId="{D99FAEA6-98BF-4B8B-9DB6-208CF4C4FF83}">
      <dgm:prSet phldrT="[Text]"/>
      <dgm:spPr/>
      <dgm:t>
        <a:bodyPr/>
        <a:lstStyle/>
        <a:p>
          <a:r>
            <a:rPr lang="en-US" dirty="0"/>
            <a:t>Block 0</a:t>
          </a:r>
        </a:p>
      </dgm:t>
    </dgm:pt>
    <dgm:pt modelId="{FAAC7EA5-8004-43FD-B695-8B3A01E89221}" type="parTrans" cxnId="{A5729215-7EF4-473D-9FD1-A77F4AC6A6B9}">
      <dgm:prSet/>
      <dgm:spPr/>
      <dgm:t>
        <a:bodyPr/>
        <a:lstStyle/>
        <a:p>
          <a:endParaRPr lang="en-US"/>
        </a:p>
      </dgm:t>
    </dgm:pt>
    <dgm:pt modelId="{FA3E4FA8-A84C-402E-8A18-E0937105A699}" type="sibTrans" cxnId="{A5729215-7EF4-473D-9FD1-A77F4AC6A6B9}">
      <dgm:prSet/>
      <dgm:spPr/>
      <dgm:t>
        <a:bodyPr/>
        <a:lstStyle/>
        <a:p>
          <a:endParaRPr lang="en-US"/>
        </a:p>
      </dgm:t>
    </dgm:pt>
    <dgm:pt modelId="{BCB7F7A7-F4B0-49D6-9AFC-147E9F754594}">
      <dgm:prSet phldrT="[Text]"/>
      <dgm:spPr/>
      <dgm:t>
        <a:bodyPr/>
        <a:lstStyle/>
        <a:p>
          <a:r>
            <a:rPr lang="en-US" dirty="0"/>
            <a:t>Block 1</a:t>
          </a:r>
        </a:p>
        <a:p>
          <a:br>
            <a:rPr lang="en-US" dirty="0"/>
          </a:br>
          <a:r>
            <a:rPr lang="en-US" dirty="0"/>
            <a:t>Hash of Block 0</a:t>
          </a:r>
        </a:p>
      </dgm:t>
    </dgm:pt>
    <dgm:pt modelId="{F1095209-E33C-49E9-8AAD-C887B98E0CDF}" type="parTrans" cxnId="{9B79FE99-2330-45E6-BE1B-1842809AD565}">
      <dgm:prSet/>
      <dgm:spPr/>
      <dgm:t>
        <a:bodyPr/>
        <a:lstStyle/>
        <a:p>
          <a:endParaRPr lang="en-US"/>
        </a:p>
      </dgm:t>
    </dgm:pt>
    <dgm:pt modelId="{086E5539-315C-44E7-AC7E-14384456ED37}" type="sibTrans" cxnId="{9B79FE99-2330-45E6-BE1B-1842809AD565}">
      <dgm:prSet/>
      <dgm:spPr/>
      <dgm:t>
        <a:bodyPr/>
        <a:lstStyle/>
        <a:p>
          <a:endParaRPr lang="en-US"/>
        </a:p>
      </dgm:t>
    </dgm:pt>
    <dgm:pt modelId="{2F3B696C-1BF6-4376-97EC-430BEBC8F914}">
      <dgm:prSet phldrT="[Text]"/>
      <dgm:spPr/>
      <dgm:t>
        <a:bodyPr/>
        <a:lstStyle/>
        <a:p>
          <a:r>
            <a:rPr lang="en-US" dirty="0"/>
            <a:t>Block N</a:t>
          </a:r>
        </a:p>
        <a:p>
          <a:br>
            <a:rPr lang="en-US" dirty="0"/>
          </a:br>
          <a:r>
            <a:rPr lang="en-US" dirty="0"/>
            <a:t>Hash of Block N-1</a:t>
          </a:r>
        </a:p>
      </dgm:t>
    </dgm:pt>
    <dgm:pt modelId="{A6D7DFF9-3F4D-4C11-8CDE-2ACD8E506E4B}" type="parTrans" cxnId="{29A212C2-29FA-4A21-B53F-6276C9C3847F}">
      <dgm:prSet/>
      <dgm:spPr/>
      <dgm:t>
        <a:bodyPr/>
        <a:lstStyle/>
        <a:p>
          <a:endParaRPr lang="en-US"/>
        </a:p>
      </dgm:t>
    </dgm:pt>
    <dgm:pt modelId="{39E175A3-CC7C-44D1-807C-FDD4A6BDD735}" type="sibTrans" cxnId="{29A212C2-29FA-4A21-B53F-6276C9C3847F}">
      <dgm:prSet/>
      <dgm:spPr/>
      <dgm:t>
        <a:bodyPr/>
        <a:lstStyle/>
        <a:p>
          <a:endParaRPr lang="en-US"/>
        </a:p>
      </dgm:t>
    </dgm:pt>
    <dgm:pt modelId="{CACB9B08-4672-4E1F-98B3-322CCFB7C530}">
      <dgm:prSet phldrT="[Text]"/>
      <dgm:spPr/>
      <dgm:t>
        <a:bodyPr/>
        <a:lstStyle/>
        <a:p>
          <a:r>
            <a:rPr lang="en-US" dirty="0"/>
            <a:t>Block 2</a:t>
          </a:r>
        </a:p>
        <a:p>
          <a:br>
            <a:rPr lang="en-US" dirty="0"/>
          </a:br>
          <a:r>
            <a:rPr lang="en-US" dirty="0"/>
            <a:t>Hash of Block 1</a:t>
          </a:r>
        </a:p>
      </dgm:t>
    </dgm:pt>
    <dgm:pt modelId="{E37E589E-49A8-45F6-9FD1-772D1E018D2E}" type="sibTrans" cxnId="{AC3A983C-2731-4680-8AC8-8D62C79D8EDB}">
      <dgm:prSet/>
      <dgm:spPr/>
      <dgm:t>
        <a:bodyPr/>
        <a:lstStyle/>
        <a:p>
          <a:endParaRPr lang="en-US"/>
        </a:p>
      </dgm:t>
    </dgm:pt>
    <dgm:pt modelId="{8789E8DA-9807-4FAF-982E-6C024C4BDE2D}" type="parTrans" cxnId="{AC3A983C-2731-4680-8AC8-8D62C79D8EDB}">
      <dgm:prSet/>
      <dgm:spPr/>
      <dgm:t>
        <a:bodyPr/>
        <a:lstStyle/>
        <a:p>
          <a:endParaRPr lang="en-US"/>
        </a:p>
      </dgm:t>
    </dgm:pt>
    <dgm:pt modelId="{2ECA7678-798B-4C50-A831-4DB65D0E944D}" type="pres">
      <dgm:prSet presAssocID="{F1C16233-3E75-4DBC-8DF7-9D3C94E959DB}" presName="Name0" presStyleCnt="0">
        <dgm:presLayoutVars>
          <dgm:dir/>
          <dgm:resizeHandles val="exact"/>
        </dgm:presLayoutVars>
      </dgm:prSet>
      <dgm:spPr/>
    </dgm:pt>
    <dgm:pt modelId="{15A679C0-1A87-4134-83D3-6F41AC981510}" type="pres">
      <dgm:prSet presAssocID="{D99FAEA6-98BF-4B8B-9DB6-208CF4C4FF83}" presName="node" presStyleLbl="node1" presStyleIdx="0" presStyleCnt="4">
        <dgm:presLayoutVars>
          <dgm:bulletEnabled val="1"/>
        </dgm:presLayoutVars>
      </dgm:prSet>
      <dgm:spPr/>
    </dgm:pt>
    <dgm:pt modelId="{04AECB6C-9ABE-4F48-8DC1-066E41FA5FCD}" type="pres">
      <dgm:prSet presAssocID="{FA3E4FA8-A84C-402E-8A18-E0937105A699}" presName="sibTrans" presStyleLbl="sibTrans2D1" presStyleIdx="0" presStyleCnt="3" custAng="10800000"/>
      <dgm:spPr/>
    </dgm:pt>
    <dgm:pt modelId="{838483C8-1D6D-4F8F-9FF2-ECEF34A0A1B5}" type="pres">
      <dgm:prSet presAssocID="{FA3E4FA8-A84C-402E-8A18-E0937105A699}" presName="connectorText" presStyleLbl="sibTrans2D1" presStyleIdx="0" presStyleCnt="3"/>
      <dgm:spPr/>
    </dgm:pt>
    <dgm:pt modelId="{49BDD032-7994-4F9D-A008-5C3B4233DF82}" type="pres">
      <dgm:prSet presAssocID="{BCB7F7A7-F4B0-49D6-9AFC-147E9F754594}" presName="node" presStyleLbl="node1" presStyleIdx="1" presStyleCnt="4">
        <dgm:presLayoutVars>
          <dgm:bulletEnabled val="1"/>
        </dgm:presLayoutVars>
      </dgm:prSet>
      <dgm:spPr/>
    </dgm:pt>
    <dgm:pt modelId="{81BE2AFD-FAB6-47D3-B7F7-F840B4222879}" type="pres">
      <dgm:prSet presAssocID="{086E5539-315C-44E7-AC7E-14384456ED37}" presName="sibTrans" presStyleLbl="sibTrans2D1" presStyleIdx="1" presStyleCnt="3" custAng="10800000"/>
      <dgm:spPr/>
    </dgm:pt>
    <dgm:pt modelId="{CFDF5CEF-57AA-4CDD-83BC-7AE3FB461E78}" type="pres">
      <dgm:prSet presAssocID="{086E5539-315C-44E7-AC7E-14384456ED37}" presName="connectorText" presStyleLbl="sibTrans2D1" presStyleIdx="1" presStyleCnt="3"/>
      <dgm:spPr/>
    </dgm:pt>
    <dgm:pt modelId="{1492DB1B-1F70-419A-9240-3F0DDBE95D5F}" type="pres">
      <dgm:prSet presAssocID="{CACB9B08-4672-4E1F-98B3-322CCFB7C530}" presName="node" presStyleLbl="node1" presStyleIdx="2" presStyleCnt="4">
        <dgm:presLayoutVars>
          <dgm:bulletEnabled val="1"/>
        </dgm:presLayoutVars>
      </dgm:prSet>
      <dgm:spPr/>
    </dgm:pt>
    <dgm:pt modelId="{F84B0E7C-CC02-4D8E-A13E-3C6F8E799E31}" type="pres">
      <dgm:prSet presAssocID="{E37E589E-49A8-45F6-9FD1-772D1E018D2E}" presName="sibTrans" presStyleLbl="sibTrans2D1" presStyleIdx="2" presStyleCnt="3" custAng="10800000"/>
      <dgm:spPr/>
    </dgm:pt>
    <dgm:pt modelId="{C88377E8-795C-4D77-B709-3E24D7B8B2BE}" type="pres">
      <dgm:prSet presAssocID="{E37E589E-49A8-45F6-9FD1-772D1E018D2E}" presName="connectorText" presStyleLbl="sibTrans2D1" presStyleIdx="2" presStyleCnt="3"/>
      <dgm:spPr/>
    </dgm:pt>
    <dgm:pt modelId="{F9F4735B-F27E-4D9E-A1B7-959823A4C748}" type="pres">
      <dgm:prSet presAssocID="{2F3B696C-1BF6-4376-97EC-430BEBC8F914}" presName="node" presStyleLbl="node1" presStyleIdx="3" presStyleCnt="4">
        <dgm:presLayoutVars>
          <dgm:bulletEnabled val="1"/>
        </dgm:presLayoutVars>
      </dgm:prSet>
      <dgm:spPr/>
    </dgm:pt>
  </dgm:ptLst>
  <dgm:cxnLst>
    <dgm:cxn modelId="{E8239604-7887-4809-B634-A1C1FE08B012}" type="presOf" srcId="{CACB9B08-4672-4E1F-98B3-322CCFB7C530}" destId="{1492DB1B-1F70-419A-9240-3F0DDBE95D5F}" srcOrd="0" destOrd="0" presId="urn:microsoft.com/office/officeart/2005/8/layout/process1"/>
    <dgm:cxn modelId="{A5729215-7EF4-473D-9FD1-A77F4AC6A6B9}" srcId="{F1C16233-3E75-4DBC-8DF7-9D3C94E959DB}" destId="{D99FAEA6-98BF-4B8B-9DB6-208CF4C4FF83}" srcOrd="0" destOrd="0" parTransId="{FAAC7EA5-8004-43FD-B695-8B3A01E89221}" sibTransId="{FA3E4FA8-A84C-402E-8A18-E0937105A699}"/>
    <dgm:cxn modelId="{C5A45421-2D10-4948-A51C-AF63EB026CDF}" type="presOf" srcId="{E37E589E-49A8-45F6-9FD1-772D1E018D2E}" destId="{F84B0E7C-CC02-4D8E-A13E-3C6F8E799E31}" srcOrd="0" destOrd="0" presId="urn:microsoft.com/office/officeart/2005/8/layout/process1"/>
    <dgm:cxn modelId="{AC3A983C-2731-4680-8AC8-8D62C79D8EDB}" srcId="{F1C16233-3E75-4DBC-8DF7-9D3C94E959DB}" destId="{CACB9B08-4672-4E1F-98B3-322CCFB7C530}" srcOrd="2" destOrd="0" parTransId="{8789E8DA-9807-4FAF-982E-6C024C4BDE2D}" sibTransId="{E37E589E-49A8-45F6-9FD1-772D1E018D2E}"/>
    <dgm:cxn modelId="{49DE1665-6741-43FE-9554-B956952046D9}" type="presOf" srcId="{BCB7F7A7-F4B0-49D6-9AFC-147E9F754594}" destId="{49BDD032-7994-4F9D-A008-5C3B4233DF82}" srcOrd="0" destOrd="0" presId="urn:microsoft.com/office/officeart/2005/8/layout/process1"/>
    <dgm:cxn modelId="{52893471-FFF4-44BC-B53D-E77E8EF2198F}" type="presOf" srcId="{FA3E4FA8-A84C-402E-8A18-E0937105A699}" destId="{838483C8-1D6D-4F8F-9FF2-ECEF34A0A1B5}" srcOrd="1" destOrd="0" presId="urn:microsoft.com/office/officeart/2005/8/layout/process1"/>
    <dgm:cxn modelId="{4354918D-C9FC-456B-A86A-5EC152168371}" type="presOf" srcId="{FA3E4FA8-A84C-402E-8A18-E0937105A699}" destId="{04AECB6C-9ABE-4F48-8DC1-066E41FA5FCD}" srcOrd="0" destOrd="0" presId="urn:microsoft.com/office/officeart/2005/8/layout/process1"/>
    <dgm:cxn modelId="{B3B7C496-249A-4066-96A4-89698F535D64}" type="presOf" srcId="{086E5539-315C-44E7-AC7E-14384456ED37}" destId="{CFDF5CEF-57AA-4CDD-83BC-7AE3FB461E78}" srcOrd="1" destOrd="0" presId="urn:microsoft.com/office/officeart/2005/8/layout/process1"/>
    <dgm:cxn modelId="{9B79FE99-2330-45E6-BE1B-1842809AD565}" srcId="{F1C16233-3E75-4DBC-8DF7-9D3C94E959DB}" destId="{BCB7F7A7-F4B0-49D6-9AFC-147E9F754594}" srcOrd="1" destOrd="0" parTransId="{F1095209-E33C-49E9-8AAD-C887B98E0CDF}" sibTransId="{086E5539-315C-44E7-AC7E-14384456ED37}"/>
    <dgm:cxn modelId="{9BEB15A3-49BD-442E-9914-7E98B761A1DD}" type="presOf" srcId="{2F3B696C-1BF6-4376-97EC-430BEBC8F914}" destId="{F9F4735B-F27E-4D9E-A1B7-959823A4C748}" srcOrd="0" destOrd="0" presId="urn:microsoft.com/office/officeart/2005/8/layout/process1"/>
    <dgm:cxn modelId="{B6A210AB-5A83-4A46-9090-ABE7A88317F9}" type="presOf" srcId="{E37E589E-49A8-45F6-9FD1-772D1E018D2E}" destId="{C88377E8-795C-4D77-B709-3E24D7B8B2BE}" srcOrd="1" destOrd="0" presId="urn:microsoft.com/office/officeart/2005/8/layout/process1"/>
    <dgm:cxn modelId="{5EC217AE-281C-4A03-BD7A-30E02FF8964B}" type="presOf" srcId="{086E5539-315C-44E7-AC7E-14384456ED37}" destId="{81BE2AFD-FAB6-47D3-B7F7-F840B4222879}" srcOrd="0" destOrd="0" presId="urn:microsoft.com/office/officeart/2005/8/layout/process1"/>
    <dgm:cxn modelId="{29A212C2-29FA-4A21-B53F-6276C9C3847F}" srcId="{F1C16233-3E75-4DBC-8DF7-9D3C94E959DB}" destId="{2F3B696C-1BF6-4376-97EC-430BEBC8F914}" srcOrd="3" destOrd="0" parTransId="{A6D7DFF9-3F4D-4C11-8CDE-2ACD8E506E4B}" sibTransId="{39E175A3-CC7C-44D1-807C-FDD4A6BDD735}"/>
    <dgm:cxn modelId="{F1BAF8E1-24E2-41C4-BF60-9006A948B186}" type="presOf" srcId="{D99FAEA6-98BF-4B8B-9DB6-208CF4C4FF83}" destId="{15A679C0-1A87-4134-83D3-6F41AC981510}" srcOrd="0" destOrd="0" presId="urn:microsoft.com/office/officeart/2005/8/layout/process1"/>
    <dgm:cxn modelId="{D2B145E6-2901-4D7D-B60D-2FA33F118AB1}" type="presOf" srcId="{F1C16233-3E75-4DBC-8DF7-9D3C94E959DB}" destId="{2ECA7678-798B-4C50-A831-4DB65D0E944D}" srcOrd="0" destOrd="0" presId="urn:microsoft.com/office/officeart/2005/8/layout/process1"/>
    <dgm:cxn modelId="{1B20DB6B-E5EA-4C9C-B773-6F175127B7E5}" type="presParOf" srcId="{2ECA7678-798B-4C50-A831-4DB65D0E944D}" destId="{15A679C0-1A87-4134-83D3-6F41AC981510}" srcOrd="0" destOrd="0" presId="urn:microsoft.com/office/officeart/2005/8/layout/process1"/>
    <dgm:cxn modelId="{B026B9C7-ABE4-4A26-B96A-A7B77913E99A}" type="presParOf" srcId="{2ECA7678-798B-4C50-A831-4DB65D0E944D}" destId="{04AECB6C-9ABE-4F48-8DC1-066E41FA5FCD}" srcOrd="1" destOrd="0" presId="urn:microsoft.com/office/officeart/2005/8/layout/process1"/>
    <dgm:cxn modelId="{C427FF26-E922-4384-88F5-8C09BDCBFDEE}" type="presParOf" srcId="{04AECB6C-9ABE-4F48-8DC1-066E41FA5FCD}" destId="{838483C8-1D6D-4F8F-9FF2-ECEF34A0A1B5}" srcOrd="0" destOrd="0" presId="urn:microsoft.com/office/officeart/2005/8/layout/process1"/>
    <dgm:cxn modelId="{93A57E15-D13D-4D28-ADFB-2F8386765680}" type="presParOf" srcId="{2ECA7678-798B-4C50-A831-4DB65D0E944D}" destId="{49BDD032-7994-4F9D-A008-5C3B4233DF82}" srcOrd="2" destOrd="0" presId="urn:microsoft.com/office/officeart/2005/8/layout/process1"/>
    <dgm:cxn modelId="{695B1092-FCAA-4851-AE43-74232D91B1B2}" type="presParOf" srcId="{2ECA7678-798B-4C50-A831-4DB65D0E944D}" destId="{81BE2AFD-FAB6-47D3-B7F7-F840B4222879}" srcOrd="3" destOrd="0" presId="urn:microsoft.com/office/officeart/2005/8/layout/process1"/>
    <dgm:cxn modelId="{FFD8C9AA-796F-44E6-95C0-01B247501130}" type="presParOf" srcId="{81BE2AFD-FAB6-47D3-B7F7-F840B4222879}" destId="{CFDF5CEF-57AA-4CDD-83BC-7AE3FB461E78}" srcOrd="0" destOrd="0" presId="urn:microsoft.com/office/officeart/2005/8/layout/process1"/>
    <dgm:cxn modelId="{5E831F79-D848-4438-A983-473A09B3C58F}" type="presParOf" srcId="{2ECA7678-798B-4C50-A831-4DB65D0E944D}" destId="{1492DB1B-1F70-419A-9240-3F0DDBE95D5F}" srcOrd="4" destOrd="0" presId="urn:microsoft.com/office/officeart/2005/8/layout/process1"/>
    <dgm:cxn modelId="{757D3D76-1585-431D-9B76-46420689D8F1}" type="presParOf" srcId="{2ECA7678-798B-4C50-A831-4DB65D0E944D}" destId="{F84B0E7C-CC02-4D8E-A13E-3C6F8E799E31}" srcOrd="5" destOrd="0" presId="urn:microsoft.com/office/officeart/2005/8/layout/process1"/>
    <dgm:cxn modelId="{F1243CBD-2D66-47E8-9FA3-52FB82D632E2}" type="presParOf" srcId="{F84B0E7C-CC02-4D8E-A13E-3C6F8E799E31}" destId="{C88377E8-795C-4D77-B709-3E24D7B8B2BE}" srcOrd="0" destOrd="0" presId="urn:microsoft.com/office/officeart/2005/8/layout/process1"/>
    <dgm:cxn modelId="{671B7903-1937-4965-8E92-C6962514DC30}" type="presParOf" srcId="{2ECA7678-798B-4C50-A831-4DB65D0E944D}" destId="{F9F4735B-F27E-4D9E-A1B7-959823A4C748}"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711E17-E83F-40E0-9DC5-44E79EA3F21C}" type="doc">
      <dgm:prSet loTypeId="urn:microsoft.com/office/officeart/2005/8/layout/matrix1" loCatId="matrix" qsTypeId="urn:microsoft.com/office/officeart/2005/8/quickstyle/simple4" qsCatId="simple" csTypeId="urn:microsoft.com/office/officeart/2005/8/colors/colorful4" csCatId="colorful" phldr="1"/>
      <dgm:spPr/>
      <dgm:t>
        <a:bodyPr/>
        <a:lstStyle/>
        <a:p>
          <a:endParaRPr lang="en-US"/>
        </a:p>
      </dgm:t>
    </dgm:pt>
    <dgm:pt modelId="{6E0BBDF8-7558-4C19-B1D9-BE24681C83F9}">
      <dgm:prSet phldrT="[Text]"/>
      <dgm:spPr/>
      <dgm:t>
        <a:bodyPr/>
        <a:lstStyle/>
        <a:p>
          <a:r>
            <a:rPr lang="en-US" dirty="0"/>
            <a:t>Learning</a:t>
          </a:r>
        </a:p>
      </dgm:t>
    </dgm:pt>
    <dgm:pt modelId="{F5ADE14A-F998-4728-B145-2971FAFC97A1}" type="parTrans" cxnId="{7E549464-7D2C-4AF8-930D-06E3CBF0B7DF}">
      <dgm:prSet/>
      <dgm:spPr/>
      <dgm:t>
        <a:bodyPr/>
        <a:lstStyle/>
        <a:p>
          <a:endParaRPr lang="en-US"/>
        </a:p>
      </dgm:t>
    </dgm:pt>
    <dgm:pt modelId="{5F3E8CCC-FE29-4808-B4F1-D6A7C2F292AF}" type="sibTrans" cxnId="{7E549464-7D2C-4AF8-930D-06E3CBF0B7DF}">
      <dgm:prSet/>
      <dgm:spPr/>
      <dgm:t>
        <a:bodyPr/>
        <a:lstStyle/>
        <a:p>
          <a:endParaRPr lang="en-US"/>
        </a:p>
      </dgm:t>
    </dgm:pt>
    <dgm:pt modelId="{CA2099F2-2FC2-4C16-8A44-4C3804278179}">
      <dgm:prSet phldrT="[Text]"/>
      <dgm:spPr/>
      <dgm:t>
        <a:bodyPr/>
        <a:lstStyle/>
        <a:p>
          <a:r>
            <a:rPr lang="en-US" dirty="0">
              <a:solidFill>
                <a:schemeClr val="bg1"/>
              </a:solidFill>
            </a:rPr>
            <a:t>E</a:t>
          </a:r>
          <a:r>
            <a:rPr lang="en-US" dirty="0"/>
            <a:t>xcite: everyone</a:t>
          </a:r>
        </a:p>
      </dgm:t>
    </dgm:pt>
    <dgm:pt modelId="{993A35FE-3BAC-4825-B869-8B60C43A8949}" type="parTrans" cxnId="{F14CD5C3-25FC-4433-9D0B-5C1CD30FF3C4}">
      <dgm:prSet/>
      <dgm:spPr/>
      <dgm:t>
        <a:bodyPr/>
        <a:lstStyle/>
        <a:p>
          <a:endParaRPr lang="en-US"/>
        </a:p>
      </dgm:t>
    </dgm:pt>
    <dgm:pt modelId="{03E5A9C8-5247-418D-B5BE-B85E1A75131F}" type="sibTrans" cxnId="{F14CD5C3-25FC-4433-9D0B-5C1CD30FF3C4}">
      <dgm:prSet/>
      <dgm:spPr/>
      <dgm:t>
        <a:bodyPr/>
        <a:lstStyle/>
        <a:p>
          <a:endParaRPr lang="en-US"/>
        </a:p>
      </dgm:t>
    </dgm:pt>
    <dgm:pt modelId="{0C73BB43-0D48-4381-8AED-30FE019F1B23}">
      <dgm:prSet phldrT="[Text]"/>
      <dgm:spPr/>
      <dgm:t>
        <a:bodyPr/>
        <a:lstStyle/>
        <a:p>
          <a:r>
            <a:rPr lang="en-US" dirty="0">
              <a:solidFill>
                <a:schemeClr val="bg1"/>
              </a:solidFill>
            </a:rPr>
            <a:t>E</a:t>
          </a:r>
          <a:r>
            <a:rPr lang="en-US" dirty="0"/>
            <a:t>xplore: technology</a:t>
          </a:r>
        </a:p>
      </dgm:t>
    </dgm:pt>
    <dgm:pt modelId="{C6B708AB-FC4F-4545-BFE1-F65504D97CE8}" type="parTrans" cxnId="{172E64C6-BE5C-423B-8699-71325D1BBBC5}">
      <dgm:prSet/>
      <dgm:spPr/>
      <dgm:t>
        <a:bodyPr/>
        <a:lstStyle/>
        <a:p>
          <a:endParaRPr lang="en-US"/>
        </a:p>
      </dgm:t>
    </dgm:pt>
    <dgm:pt modelId="{E34E1F40-B6C2-43F6-8890-7C76CC1E7D29}" type="sibTrans" cxnId="{172E64C6-BE5C-423B-8699-71325D1BBBC5}">
      <dgm:prSet/>
      <dgm:spPr/>
      <dgm:t>
        <a:bodyPr/>
        <a:lstStyle/>
        <a:p>
          <a:endParaRPr lang="en-US"/>
        </a:p>
      </dgm:t>
    </dgm:pt>
    <dgm:pt modelId="{F635BDBF-68FE-477B-8090-2D6576148D2B}">
      <dgm:prSet phldrT="[Text]"/>
      <dgm:spPr/>
      <dgm:t>
        <a:bodyPr/>
        <a:lstStyle/>
        <a:p>
          <a:r>
            <a:rPr lang="en-US" dirty="0">
              <a:solidFill>
                <a:schemeClr val="bg1"/>
              </a:solidFill>
            </a:rPr>
            <a:t>E</a:t>
          </a:r>
          <a:r>
            <a:rPr lang="en-US" dirty="0"/>
            <a:t>ducate: everyone</a:t>
          </a:r>
        </a:p>
      </dgm:t>
    </dgm:pt>
    <dgm:pt modelId="{078768F4-0F04-40E7-8812-F9A46AA386DD}" type="parTrans" cxnId="{EDC1D327-501F-43DA-A3CE-E6FCE5B1B385}">
      <dgm:prSet/>
      <dgm:spPr/>
      <dgm:t>
        <a:bodyPr/>
        <a:lstStyle/>
        <a:p>
          <a:endParaRPr lang="en-US"/>
        </a:p>
      </dgm:t>
    </dgm:pt>
    <dgm:pt modelId="{522D9A69-7851-4B4D-8B5C-BF38DAB6C82A}" type="sibTrans" cxnId="{EDC1D327-501F-43DA-A3CE-E6FCE5B1B385}">
      <dgm:prSet/>
      <dgm:spPr/>
      <dgm:t>
        <a:bodyPr/>
        <a:lstStyle/>
        <a:p>
          <a:endParaRPr lang="en-US"/>
        </a:p>
      </dgm:t>
    </dgm:pt>
    <dgm:pt modelId="{BE40DA43-9245-41BD-9FF1-AC42669EFAAB}">
      <dgm:prSet phldrT="[Text]"/>
      <dgm:spPr/>
      <dgm:t>
        <a:bodyPr/>
        <a:lstStyle/>
        <a:p>
          <a:r>
            <a:rPr lang="en-US" dirty="0">
              <a:solidFill>
                <a:schemeClr val="bg1"/>
              </a:solidFill>
            </a:rPr>
            <a:t>E</a:t>
          </a:r>
          <a:r>
            <a:rPr lang="en-US" dirty="0"/>
            <a:t>xplain: concepts</a:t>
          </a:r>
        </a:p>
      </dgm:t>
    </dgm:pt>
    <dgm:pt modelId="{563D8129-028A-4C60-BD43-130F2079DE0F}" type="parTrans" cxnId="{60C67F25-FD73-4001-B9DF-F11E215F8C4B}">
      <dgm:prSet/>
      <dgm:spPr/>
      <dgm:t>
        <a:bodyPr/>
        <a:lstStyle/>
        <a:p>
          <a:endParaRPr lang="en-US"/>
        </a:p>
      </dgm:t>
    </dgm:pt>
    <dgm:pt modelId="{9643BE64-F248-4EF2-9BC7-8EDBFD22E5D0}" type="sibTrans" cxnId="{60C67F25-FD73-4001-B9DF-F11E215F8C4B}">
      <dgm:prSet/>
      <dgm:spPr/>
      <dgm:t>
        <a:bodyPr/>
        <a:lstStyle/>
        <a:p>
          <a:endParaRPr lang="en-US"/>
        </a:p>
      </dgm:t>
    </dgm:pt>
    <dgm:pt modelId="{CD9F0207-EC01-46C2-9251-B22265907AA1}" type="pres">
      <dgm:prSet presAssocID="{8C711E17-E83F-40E0-9DC5-44E79EA3F21C}" presName="diagram" presStyleCnt="0">
        <dgm:presLayoutVars>
          <dgm:chMax val="1"/>
          <dgm:dir/>
          <dgm:animLvl val="ctr"/>
          <dgm:resizeHandles val="exact"/>
        </dgm:presLayoutVars>
      </dgm:prSet>
      <dgm:spPr/>
    </dgm:pt>
    <dgm:pt modelId="{F09BC064-90B3-4738-A96E-75E30F3AFDA0}" type="pres">
      <dgm:prSet presAssocID="{8C711E17-E83F-40E0-9DC5-44E79EA3F21C}" presName="matrix" presStyleCnt="0"/>
      <dgm:spPr/>
    </dgm:pt>
    <dgm:pt modelId="{796D5534-555D-449D-B11E-BCFF90106AAD}" type="pres">
      <dgm:prSet presAssocID="{8C711E17-E83F-40E0-9DC5-44E79EA3F21C}" presName="tile1" presStyleLbl="node1" presStyleIdx="0" presStyleCnt="4"/>
      <dgm:spPr/>
    </dgm:pt>
    <dgm:pt modelId="{A2C8AD98-070F-45DA-88A5-F70418ED1E89}" type="pres">
      <dgm:prSet presAssocID="{8C711E17-E83F-40E0-9DC5-44E79EA3F21C}" presName="tile1text" presStyleLbl="node1" presStyleIdx="0" presStyleCnt="4">
        <dgm:presLayoutVars>
          <dgm:chMax val="0"/>
          <dgm:chPref val="0"/>
          <dgm:bulletEnabled val="1"/>
        </dgm:presLayoutVars>
      </dgm:prSet>
      <dgm:spPr/>
    </dgm:pt>
    <dgm:pt modelId="{1BEF3893-00FB-45A4-8AB8-DABE1122A4F4}" type="pres">
      <dgm:prSet presAssocID="{8C711E17-E83F-40E0-9DC5-44E79EA3F21C}" presName="tile2" presStyleLbl="node1" presStyleIdx="1" presStyleCnt="4"/>
      <dgm:spPr/>
    </dgm:pt>
    <dgm:pt modelId="{2DF871C2-C6A2-4CDC-8001-AD630B843EB9}" type="pres">
      <dgm:prSet presAssocID="{8C711E17-E83F-40E0-9DC5-44E79EA3F21C}" presName="tile2text" presStyleLbl="node1" presStyleIdx="1" presStyleCnt="4">
        <dgm:presLayoutVars>
          <dgm:chMax val="0"/>
          <dgm:chPref val="0"/>
          <dgm:bulletEnabled val="1"/>
        </dgm:presLayoutVars>
      </dgm:prSet>
      <dgm:spPr/>
    </dgm:pt>
    <dgm:pt modelId="{5F1520F8-E93D-4C5B-8AF3-7F82A916241F}" type="pres">
      <dgm:prSet presAssocID="{8C711E17-E83F-40E0-9DC5-44E79EA3F21C}" presName="tile3" presStyleLbl="node1" presStyleIdx="2" presStyleCnt="4"/>
      <dgm:spPr/>
    </dgm:pt>
    <dgm:pt modelId="{55BD9233-BCF8-48FF-9072-B99BAF10E6C1}" type="pres">
      <dgm:prSet presAssocID="{8C711E17-E83F-40E0-9DC5-44E79EA3F21C}" presName="tile3text" presStyleLbl="node1" presStyleIdx="2" presStyleCnt="4">
        <dgm:presLayoutVars>
          <dgm:chMax val="0"/>
          <dgm:chPref val="0"/>
          <dgm:bulletEnabled val="1"/>
        </dgm:presLayoutVars>
      </dgm:prSet>
      <dgm:spPr/>
    </dgm:pt>
    <dgm:pt modelId="{3A72C1C9-65C1-4725-B129-92269A2E31A8}" type="pres">
      <dgm:prSet presAssocID="{8C711E17-E83F-40E0-9DC5-44E79EA3F21C}" presName="tile4" presStyleLbl="node1" presStyleIdx="3" presStyleCnt="4"/>
      <dgm:spPr/>
    </dgm:pt>
    <dgm:pt modelId="{ABEBA167-6FAB-48F9-86B5-071711830BBF}" type="pres">
      <dgm:prSet presAssocID="{8C711E17-E83F-40E0-9DC5-44E79EA3F21C}" presName="tile4text" presStyleLbl="node1" presStyleIdx="3" presStyleCnt="4">
        <dgm:presLayoutVars>
          <dgm:chMax val="0"/>
          <dgm:chPref val="0"/>
          <dgm:bulletEnabled val="1"/>
        </dgm:presLayoutVars>
      </dgm:prSet>
      <dgm:spPr/>
    </dgm:pt>
    <dgm:pt modelId="{4FB1F3E0-198C-4355-AE47-B587B2A82EAC}" type="pres">
      <dgm:prSet presAssocID="{8C711E17-E83F-40E0-9DC5-44E79EA3F21C}" presName="centerTile" presStyleLbl="fgShp" presStyleIdx="0" presStyleCnt="1" custScaleX="253428">
        <dgm:presLayoutVars>
          <dgm:chMax val="0"/>
          <dgm:chPref val="0"/>
        </dgm:presLayoutVars>
      </dgm:prSet>
      <dgm:spPr/>
    </dgm:pt>
  </dgm:ptLst>
  <dgm:cxnLst>
    <dgm:cxn modelId="{76E86D15-57BD-46FE-9EF6-37C5EDAA24E8}" type="presOf" srcId="{BE40DA43-9245-41BD-9FF1-AC42669EFAAB}" destId="{2DF871C2-C6A2-4CDC-8001-AD630B843EB9}" srcOrd="1" destOrd="0" presId="urn:microsoft.com/office/officeart/2005/8/layout/matrix1"/>
    <dgm:cxn modelId="{60C67F25-FD73-4001-B9DF-F11E215F8C4B}" srcId="{6E0BBDF8-7558-4C19-B1D9-BE24681C83F9}" destId="{BE40DA43-9245-41BD-9FF1-AC42669EFAAB}" srcOrd="1" destOrd="0" parTransId="{563D8129-028A-4C60-BD43-130F2079DE0F}" sibTransId="{9643BE64-F248-4EF2-9BC7-8EDBFD22E5D0}"/>
    <dgm:cxn modelId="{EDC1D327-501F-43DA-A3CE-E6FCE5B1B385}" srcId="{6E0BBDF8-7558-4C19-B1D9-BE24681C83F9}" destId="{F635BDBF-68FE-477B-8090-2D6576148D2B}" srcOrd="3" destOrd="0" parTransId="{078768F4-0F04-40E7-8812-F9A46AA386DD}" sibTransId="{522D9A69-7851-4B4D-8B5C-BF38DAB6C82A}"/>
    <dgm:cxn modelId="{CE8D412B-6BC6-43F0-B822-3150BE81672D}" type="presOf" srcId="{F635BDBF-68FE-477B-8090-2D6576148D2B}" destId="{3A72C1C9-65C1-4725-B129-92269A2E31A8}" srcOrd="0" destOrd="0" presId="urn:microsoft.com/office/officeart/2005/8/layout/matrix1"/>
    <dgm:cxn modelId="{6DF81D2F-6AF2-4DC2-8AC9-1D4FC75D905D}" type="presOf" srcId="{8C711E17-E83F-40E0-9DC5-44E79EA3F21C}" destId="{CD9F0207-EC01-46C2-9251-B22265907AA1}" srcOrd="0" destOrd="0" presId="urn:microsoft.com/office/officeart/2005/8/layout/matrix1"/>
    <dgm:cxn modelId="{7E549464-7D2C-4AF8-930D-06E3CBF0B7DF}" srcId="{8C711E17-E83F-40E0-9DC5-44E79EA3F21C}" destId="{6E0BBDF8-7558-4C19-B1D9-BE24681C83F9}" srcOrd="0" destOrd="0" parTransId="{F5ADE14A-F998-4728-B145-2971FAFC97A1}" sibTransId="{5F3E8CCC-FE29-4808-B4F1-D6A7C2F292AF}"/>
    <dgm:cxn modelId="{AB4ACD6A-56A6-4E70-B452-BBE31700EA51}" type="presOf" srcId="{F635BDBF-68FE-477B-8090-2D6576148D2B}" destId="{ABEBA167-6FAB-48F9-86B5-071711830BBF}" srcOrd="1" destOrd="0" presId="urn:microsoft.com/office/officeart/2005/8/layout/matrix1"/>
    <dgm:cxn modelId="{2CDDC490-7A00-4D38-84E2-B3E286460BD0}" type="presOf" srcId="{0C73BB43-0D48-4381-8AED-30FE019F1B23}" destId="{5F1520F8-E93D-4C5B-8AF3-7F82A916241F}" srcOrd="0" destOrd="0" presId="urn:microsoft.com/office/officeart/2005/8/layout/matrix1"/>
    <dgm:cxn modelId="{6381079B-8A01-46DE-B721-A25292DFE940}" type="presOf" srcId="{CA2099F2-2FC2-4C16-8A44-4C3804278179}" destId="{796D5534-555D-449D-B11E-BCFF90106AAD}" srcOrd="0" destOrd="0" presId="urn:microsoft.com/office/officeart/2005/8/layout/matrix1"/>
    <dgm:cxn modelId="{711B85B5-AB08-424B-B831-263B09ADA5FB}" type="presOf" srcId="{BE40DA43-9245-41BD-9FF1-AC42669EFAAB}" destId="{1BEF3893-00FB-45A4-8AB8-DABE1122A4F4}" srcOrd="0" destOrd="0" presId="urn:microsoft.com/office/officeart/2005/8/layout/matrix1"/>
    <dgm:cxn modelId="{F14CD5C3-25FC-4433-9D0B-5C1CD30FF3C4}" srcId="{6E0BBDF8-7558-4C19-B1D9-BE24681C83F9}" destId="{CA2099F2-2FC2-4C16-8A44-4C3804278179}" srcOrd="0" destOrd="0" parTransId="{993A35FE-3BAC-4825-B869-8B60C43A8949}" sibTransId="{03E5A9C8-5247-418D-B5BE-B85E1A75131F}"/>
    <dgm:cxn modelId="{70B5D7C5-F25C-4D27-BF02-B30F4AC200EA}" type="presOf" srcId="{0C73BB43-0D48-4381-8AED-30FE019F1B23}" destId="{55BD9233-BCF8-48FF-9072-B99BAF10E6C1}" srcOrd="1" destOrd="0" presId="urn:microsoft.com/office/officeart/2005/8/layout/matrix1"/>
    <dgm:cxn modelId="{172E64C6-BE5C-423B-8699-71325D1BBBC5}" srcId="{6E0BBDF8-7558-4C19-B1D9-BE24681C83F9}" destId="{0C73BB43-0D48-4381-8AED-30FE019F1B23}" srcOrd="2" destOrd="0" parTransId="{C6B708AB-FC4F-4545-BFE1-F65504D97CE8}" sibTransId="{E34E1F40-B6C2-43F6-8890-7C76CC1E7D29}"/>
    <dgm:cxn modelId="{F292F3CC-2C51-4293-9B28-0D713A7398A0}" type="presOf" srcId="{CA2099F2-2FC2-4C16-8A44-4C3804278179}" destId="{A2C8AD98-070F-45DA-88A5-F70418ED1E89}" srcOrd="1" destOrd="0" presId="urn:microsoft.com/office/officeart/2005/8/layout/matrix1"/>
    <dgm:cxn modelId="{8FE6C9E3-6942-4100-9866-193DE9067C2E}" type="presOf" srcId="{6E0BBDF8-7558-4C19-B1D9-BE24681C83F9}" destId="{4FB1F3E0-198C-4355-AE47-B587B2A82EAC}" srcOrd="0" destOrd="0" presId="urn:microsoft.com/office/officeart/2005/8/layout/matrix1"/>
    <dgm:cxn modelId="{0E69E61E-09C6-4BEF-92D4-616CAE49814B}" type="presParOf" srcId="{CD9F0207-EC01-46C2-9251-B22265907AA1}" destId="{F09BC064-90B3-4738-A96E-75E30F3AFDA0}" srcOrd="0" destOrd="0" presId="urn:microsoft.com/office/officeart/2005/8/layout/matrix1"/>
    <dgm:cxn modelId="{AA18380C-EA36-4250-BC40-8D457E58B3E1}" type="presParOf" srcId="{F09BC064-90B3-4738-A96E-75E30F3AFDA0}" destId="{796D5534-555D-449D-B11E-BCFF90106AAD}" srcOrd="0" destOrd="0" presId="urn:microsoft.com/office/officeart/2005/8/layout/matrix1"/>
    <dgm:cxn modelId="{9FC6C2C9-6CAB-4A87-8EE7-B055B2A019C6}" type="presParOf" srcId="{F09BC064-90B3-4738-A96E-75E30F3AFDA0}" destId="{A2C8AD98-070F-45DA-88A5-F70418ED1E89}" srcOrd="1" destOrd="0" presId="urn:microsoft.com/office/officeart/2005/8/layout/matrix1"/>
    <dgm:cxn modelId="{65629C3F-2EA3-4CB3-9746-B29473F57777}" type="presParOf" srcId="{F09BC064-90B3-4738-A96E-75E30F3AFDA0}" destId="{1BEF3893-00FB-45A4-8AB8-DABE1122A4F4}" srcOrd="2" destOrd="0" presId="urn:microsoft.com/office/officeart/2005/8/layout/matrix1"/>
    <dgm:cxn modelId="{4344CFFE-3F69-42E5-908E-B78029062E66}" type="presParOf" srcId="{F09BC064-90B3-4738-A96E-75E30F3AFDA0}" destId="{2DF871C2-C6A2-4CDC-8001-AD630B843EB9}" srcOrd="3" destOrd="0" presId="urn:microsoft.com/office/officeart/2005/8/layout/matrix1"/>
    <dgm:cxn modelId="{7898FE86-8E2D-430B-B89F-59F53FE25ABF}" type="presParOf" srcId="{F09BC064-90B3-4738-A96E-75E30F3AFDA0}" destId="{5F1520F8-E93D-4C5B-8AF3-7F82A916241F}" srcOrd="4" destOrd="0" presId="urn:microsoft.com/office/officeart/2005/8/layout/matrix1"/>
    <dgm:cxn modelId="{B7E6E5B0-4E42-4595-B4AC-BAD3747F0251}" type="presParOf" srcId="{F09BC064-90B3-4738-A96E-75E30F3AFDA0}" destId="{55BD9233-BCF8-48FF-9072-B99BAF10E6C1}" srcOrd="5" destOrd="0" presId="urn:microsoft.com/office/officeart/2005/8/layout/matrix1"/>
    <dgm:cxn modelId="{BB689091-B4C7-48B6-90CA-FAEFBD60BA25}" type="presParOf" srcId="{F09BC064-90B3-4738-A96E-75E30F3AFDA0}" destId="{3A72C1C9-65C1-4725-B129-92269A2E31A8}" srcOrd="6" destOrd="0" presId="urn:microsoft.com/office/officeart/2005/8/layout/matrix1"/>
    <dgm:cxn modelId="{7D3350B3-A42D-4C10-9A90-89B33322294E}" type="presParOf" srcId="{F09BC064-90B3-4738-A96E-75E30F3AFDA0}" destId="{ABEBA167-6FAB-48F9-86B5-071711830BBF}" srcOrd="7" destOrd="0" presId="urn:microsoft.com/office/officeart/2005/8/layout/matrix1"/>
    <dgm:cxn modelId="{F45B26C6-B2D2-4A8A-8880-2EA2BFCFBC9B}" type="presParOf" srcId="{CD9F0207-EC01-46C2-9251-B22265907AA1}" destId="{4FB1F3E0-198C-4355-AE47-B587B2A82EAC}"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EF2E3C4A-5D15-4DA3-889D-0369BECDAB77}" type="doc">
      <dgm:prSet loTypeId="urn:microsoft.com/office/officeart/2005/8/layout/process1" loCatId="process" qsTypeId="urn:microsoft.com/office/officeart/2005/8/quickstyle/simple4" qsCatId="simple" csTypeId="urn:microsoft.com/office/officeart/2005/8/colors/colorful5" csCatId="colorful" phldr="1"/>
      <dgm:spPr/>
    </dgm:pt>
    <dgm:pt modelId="{9F2262F8-CB84-454E-9FAE-12F342E51641}">
      <dgm:prSet phldrT="[Text]" custT="1"/>
      <dgm:spPr/>
      <dgm:t>
        <a:bodyPr/>
        <a:lstStyle/>
        <a:p>
          <a:r>
            <a:rPr lang="en-US" sz="2800" b="1" dirty="0"/>
            <a:t>Private Key</a:t>
          </a:r>
        </a:p>
        <a:p>
          <a:r>
            <a:rPr lang="en-US" sz="2000" dirty="0"/>
            <a:t>Known only to Alice</a:t>
          </a:r>
        </a:p>
        <a:p>
          <a:r>
            <a:rPr lang="en-US" sz="2000" b="0" i="0" dirty="0">
              <a:solidFill>
                <a:srgbClr val="FFFF00"/>
              </a:solidFill>
            </a:rPr>
            <a:t>KxTRGmkJwiwP5mWueT6oB8NN3ZJMnvz6pPyo1Z6CDDFo95YK9SnB</a:t>
          </a:r>
          <a:endParaRPr lang="en-US" sz="2000" dirty="0">
            <a:solidFill>
              <a:srgbClr val="FFFF00"/>
            </a:solidFill>
          </a:endParaRPr>
        </a:p>
      </dgm:t>
    </dgm:pt>
    <dgm:pt modelId="{A8E3B57C-451E-4819-8789-4D0AA22587C8}" type="parTrans" cxnId="{8C6939B5-E3D2-4E93-A644-17C697E5B8F4}">
      <dgm:prSet/>
      <dgm:spPr/>
      <dgm:t>
        <a:bodyPr/>
        <a:lstStyle/>
        <a:p>
          <a:endParaRPr lang="en-US"/>
        </a:p>
      </dgm:t>
    </dgm:pt>
    <dgm:pt modelId="{1763EBAA-3E8D-4A9F-AD70-C4F4C756677F}" type="sibTrans" cxnId="{8C6939B5-E3D2-4E93-A644-17C697E5B8F4}">
      <dgm:prSet/>
      <dgm:spPr/>
      <dgm:t>
        <a:bodyPr/>
        <a:lstStyle/>
        <a:p>
          <a:endParaRPr lang="en-US"/>
        </a:p>
      </dgm:t>
    </dgm:pt>
    <dgm:pt modelId="{AF1D7D5D-AF0B-4FB0-8AED-B55389C367FF}">
      <dgm:prSet phldrT="[Text]" custT="1"/>
      <dgm:spPr/>
      <dgm:t>
        <a:bodyPr/>
        <a:lstStyle/>
        <a:p>
          <a:r>
            <a:rPr lang="en-US" sz="2800" b="1" dirty="0"/>
            <a:t>Public Key</a:t>
          </a:r>
        </a:p>
        <a:p>
          <a:r>
            <a:rPr lang="en-US" sz="2000" dirty="0"/>
            <a:t>Revealed when Alice redeems her coins</a:t>
          </a:r>
        </a:p>
        <a:p>
          <a:r>
            <a:rPr lang="en-US" sz="2000" b="0" i="0" dirty="0">
              <a:solidFill>
                <a:srgbClr val="FFFF00"/>
              </a:solidFill>
            </a:rPr>
            <a:t>02347A9CC5A0DE6B4CED592C6BCECCFD940BFD11B42867836E338A4020E75A48AB</a:t>
          </a:r>
          <a:endParaRPr lang="en-US" sz="2000" dirty="0">
            <a:solidFill>
              <a:srgbClr val="FFFF00"/>
            </a:solidFill>
          </a:endParaRPr>
        </a:p>
      </dgm:t>
    </dgm:pt>
    <dgm:pt modelId="{7F86CA11-1C34-4EB6-A3FF-B6CBFF0EA9EF}" type="parTrans" cxnId="{14C64F58-356D-49DA-A4AF-BBE0B446D8E6}">
      <dgm:prSet/>
      <dgm:spPr/>
      <dgm:t>
        <a:bodyPr/>
        <a:lstStyle/>
        <a:p>
          <a:endParaRPr lang="en-US"/>
        </a:p>
      </dgm:t>
    </dgm:pt>
    <dgm:pt modelId="{50FFD821-DCFC-44A9-83CD-CF0BE3B6F24F}" type="sibTrans" cxnId="{14C64F58-356D-49DA-A4AF-BBE0B446D8E6}">
      <dgm:prSet/>
      <dgm:spPr/>
      <dgm:t>
        <a:bodyPr/>
        <a:lstStyle/>
        <a:p>
          <a:endParaRPr lang="en-US"/>
        </a:p>
      </dgm:t>
    </dgm:pt>
    <dgm:pt modelId="{6F09E154-D911-4609-B925-73AA9AB892BA}">
      <dgm:prSet phldrT="[Text]" custT="1"/>
      <dgm:spPr/>
      <dgm:t>
        <a:bodyPr/>
        <a:lstStyle/>
        <a:p>
          <a:r>
            <a:rPr lang="en-US" sz="2800" b="1" dirty="0"/>
            <a:t>Public Address</a:t>
          </a:r>
        </a:p>
        <a:p>
          <a:r>
            <a:rPr lang="en-US" sz="2000" dirty="0"/>
            <a:t>Publicly available on the blockchain. Not linked to Alice. Only Bob knows that is belongs to Alice.</a:t>
          </a:r>
        </a:p>
        <a:p>
          <a:r>
            <a:rPr lang="en-US" sz="2000" b="0" i="0" dirty="0">
              <a:solidFill>
                <a:srgbClr val="FFFF00"/>
              </a:solidFill>
            </a:rPr>
            <a:t>15L2F3ZToMtHJjQzLfw7o8e323XTcBxrm4</a:t>
          </a:r>
          <a:endParaRPr lang="en-US" sz="2000" dirty="0">
            <a:solidFill>
              <a:srgbClr val="FFFF00"/>
            </a:solidFill>
          </a:endParaRPr>
        </a:p>
      </dgm:t>
    </dgm:pt>
    <dgm:pt modelId="{24B2640D-B2C8-4DB6-9140-EFA16FFC440C}" type="parTrans" cxnId="{2F12EC5C-785B-4CA9-91ED-E743043CFE3E}">
      <dgm:prSet/>
      <dgm:spPr/>
      <dgm:t>
        <a:bodyPr/>
        <a:lstStyle/>
        <a:p>
          <a:endParaRPr lang="en-US"/>
        </a:p>
      </dgm:t>
    </dgm:pt>
    <dgm:pt modelId="{C1070665-CF37-472A-8045-77679A2581BD}" type="sibTrans" cxnId="{2F12EC5C-785B-4CA9-91ED-E743043CFE3E}">
      <dgm:prSet/>
      <dgm:spPr/>
      <dgm:t>
        <a:bodyPr/>
        <a:lstStyle/>
        <a:p>
          <a:endParaRPr lang="en-US"/>
        </a:p>
      </dgm:t>
    </dgm:pt>
    <dgm:pt modelId="{B5AB45B9-66FF-4204-8257-BD989FF82A0A}" type="pres">
      <dgm:prSet presAssocID="{EF2E3C4A-5D15-4DA3-889D-0369BECDAB77}" presName="Name0" presStyleCnt="0">
        <dgm:presLayoutVars>
          <dgm:dir/>
          <dgm:resizeHandles val="exact"/>
        </dgm:presLayoutVars>
      </dgm:prSet>
      <dgm:spPr/>
    </dgm:pt>
    <dgm:pt modelId="{F8ED8AAF-596D-47CC-8AA9-FE9A403D71B5}" type="pres">
      <dgm:prSet presAssocID="{9F2262F8-CB84-454E-9FAE-12F342E51641}" presName="node" presStyleLbl="node1" presStyleIdx="0" presStyleCnt="3">
        <dgm:presLayoutVars>
          <dgm:bulletEnabled val="1"/>
        </dgm:presLayoutVars>
      </dgm:prSet>
      <dgm:spPr/>
    </dgm:pt>
    <dgm:pt modelId="{EA4F222E-15F1-47FB-9D7C-355D31BC7A68}" type="pres">
      <dgm:prSet presAssocID="{1763EBAA-3E8D-4A9F-AD70-C4F4C756677F}" presName="sibTrans" presStyleLbl="sibTrans2D1" presStyleIdx="0" presStyleCnt="2"/>
      <dgm:spPr/>
    </dgm:pt>
    <dgm:pt modelId="{CAFD091F-0498-456E-A3EB-578B1027FDC0}" type="pres">
      <dgm:prSet presAssocID="{1763EBAA-3E8D-4A9F-AD70-C4F4C756677F}" presName="connectorText" presStyleLbl="sibTrans2D1" presStyleIdx="0" presStyleCnt="2"/>
      <dgm:spPr/>
    </dgm:pt>
    <dgm:pt modelId="{BBE0EBDE-874A-41F3-9DB8-19304A96A924}" type="pres">
      <dgm:prSet presAssocID="{AF1D7D5D-AF0B-4FB0-8AED-B55389C367FF}" presName="node" presStyleLbl="node1" presStyleIdx="1" presStyleCnt="3">
        <dgm:presLayoutVars>
          <dgm:bulletEnabled val="1"/>
        </dgm:presLayoutVars>
      </dgm:prSet>
      <dgm:spPr/>
    </dgm:pt>
    <dgm:pt modelId="{662AEF14-A6E0-4DE5-B42B-EB215E8E5522}" type="pres">
      <dgm:prSet presAssocID="{50FFD821-DCFC-44A9-83CD-CF0BE3B6F24F}" presName="sibTrans" presStyleLbl="sibTrans2D1" presStyleIdx="1" presStyleCnt="2"/>
      <dgm:spPr/>
    </dgm:pt>
    <dgm:pt modelId="{27E59CFA-E182-4A10-9DE6-6D9B403734F7}" type="pres">
      <dgm:prSet presAssocID="{50FFD821-DCFC-44A9-83CD-CF0BE3B6F24F}" presName="connectorText" presStyleLbl="sibTrans2D1" presStyleIdx="1" presStyleCnt="2"/>
      <dgm:spPr/>
    </dgm:pt>
    <dgm:pt modelId="{C99AFD6D-42F6-4905-BA3D-5CEC84A17F6A}" type="pres">
      <dgm:prSet presAssocID="{6F09E154-D911-4609-B925-73AA9AB892BA}" presName="node" presStyleLbl="node1" presStyleIdx="2" presStyleCnt="3">
        <dgm:presLayoutVars>
          <dgm:bulletEnabled val="1"/>
        </dgm:presLayoutVars>
      </dgm:prSet>
      <dgm:spPr/>
    </dgm:pt>
  </dgm:ptLst>
  <dgm:cxnLst>
    <dgm:cxn modelId="{41D2FD3D-F164-462A-BF51-B8B3FF222113}" type="presOf" srcId="{9F2262F8-CB84-454E-9FAE-12F342E51641}" destId="{F8ED8AAF-596D-47CC-8AA9-FE9A403D71B5}" srcOrd="0" destOrd="0" presId="urn:microsoft.com/office/officeart/2005/8/layout/process1"/>
    <dgm:cxn modelId="{2F12EC5C-785B-4CA9-91ED-E743043CFE3E}" srcId="{EF2E3C4A-5D15-4DA3-889D-0369BECDAB77}" destId="{6F09E154-D911-4609-B925-73AA9AB892BA}" srcOrd="2" destOrd="0" parTransId="{24B2640D-B2C8-4DB6-9140-EFA16FFC440C}" sibTransId="{C1070665-CF37-472A-8045-77679A2581BD}"/>
    <dgm:cxn modelId="{1B66EC4D-3F28-465A-925A-4F0E4FFDEABA}" type="presOf" srcId="{50FFD821-DCFC-44A9-83CD-CF0BE3B6F24F}" destId="{662AEF14-A6E0-4DE5-B42B-EB215E8E5522}" srcOrd="0" destOrd="0" presId="urn:microsoft.com/office/officeart/2005/8/layout/process1"/>
    <dgm:cxn modelId="{14C64F58-356D-49DA-A4AF-BBE0B446D8E6}" srcId="{EF2E3C4A-5D15-4DA3-889D-0369BECDAB77}" destId="{AF1D7D5D-AF0B-4FB0-8AED-B55389C367FF}" srcOrd="1" destOrd="0" parTransId="{7F86CA11-1C34-4EB6-A3FF-B6CBFF0EA9EF}" sibTransId="{50FFD821-DCFC-44A9-83CD-CF0BE3B6F24F}"/>
    <dgm:cxn modelId="{A7CD608A-589D-4F60-A04A-F12DA9344A43}" type="presOf" srcId="{6F09E154-D911-4609-B925-73AA9AB892BA}" destId="{C99AFD6D-42F6-4905-BA3D-5CEC84A17F6A}" srcOrd="0" destOrd="0" presId="urn:microsoft.com/office/officeart/2005/8/layout/process1"/>
    <dgm:cxn modelId="{FB307C8F-615D-42FB-B2CA-51041D47F17C}" type="presOf" srcId="{AF1D7D5D-AF0B-4FB0-8AED-B55389C367FF}" destId="{BBE0EBDE-874A-41F3-9DB8-19304A96A924}" srcOrd="0" destOrd="0" presId="urn:microsoft.com/office/officeart/2005/8/layout/process1"/>
    <dgm:cxn modelId="{2641C9A6-E96D-4454-9751-89A713477689}" type="presOf" srcId="{1763EBAA-3E8D-4A9F-AD70-C4F4C756677F}" destId="{EA4F222E-15F1-47FB-9D7C-355D31BC7A68}" srcOrd="0" destOrd="0" presId="urn:microsoft.com/office/officeart/2005/8/layout/process1"/>
    <dgm:cxn modelId="{8C6939B5-E3D2-4E93-A644-17C697E5B8F4}" srcId="{EF2E3C4A-5D15-4DA3-889D-0369BECDAB77}" destId="{9F2262F8-CB84-454E-9FAE-12F342E51641}" srcOrd="0" destOrd="0" parTransId="{A8E3B57C-451E-4819-8789-4D0AA22587C8}" sibTransId="{1763EBAA-3E8D-4A9F-AD70-C4F4C756677F}"/>
    <dgm:cxn modelId="{52922DDA-1936-49AF-AC2D-AA4EB7D0A682}" type="presOf" srcId="{1763EBAA-3E8D-4A9F-AD70-C4F4C756677F}" destId="{CAFD091F-0498-456E-A3EB-578B1027FDC0}" srcOrd="1" destOrd="0" presId="urn:microsoft.com/office/officeart/2005/8/layout/process1"/>
    <dgm:cxn modelId="{547949F4-7E42-4D96-9601-360A8408E0A0}" type="presOf" srcId="{50FFD821-DCFC-44A9-83CD-CF0BE3B6F24F}" destId="{27E59CFA-E182-4A10-9DE6-6D9B403734F7}" srcOrd="1" destOrd="0" presId="urn:microsoft.com/office/officeart/2005/8/layout/process1"/>
    <dgm:cxn modelId="{087977FD-6AD2-45CE-9B79-813C13DC1222}" type="presOf" srcId="{EF2E3C4A-5D15-4DA3-889D-0369BECDAB77}" destId="{B5AB45B9-66FF-4204-8257-BD989FF82A0A}" srcOrd="0" destOrd="0" presId="urn:microsoft.com/office/officeart/2005/8/layout/process1"/>
    <dgm:cxn modelId="{920BB6E5-7E56-448F-A625-00C9E21642CE}" type="presParOf" srcId="{B5AB45B9-66FF-4204-8257-BD989FF82A0A}" destId="{F8ED8AAF-596D-47CC-8AA9-FE9A403D71B5}" srcOrd="0" destOrd="0" presId="urn:microsoft.com/office/officeart/2005/8/layout/process1"/>
    <dgm:cxn modelId="{93A85F27-2B4F-4F36-A149-1F0E7FA43DD7}" type="presParOf" srcId="{B5AB45B9-66FF-4204-8257-BD989FF82A0A}" destId="{EA4F222E-15F1-47FB-9D7C-355D31BC7A68}" srcOrd="1" destOrd="0" presId="urn:microsoft.com/office/officeart/2005/8/layout/process1"/>
    <dgm:cxn modelId="{BE3A21B1-3F1A-4313-8349-7266B0927C95}" type="presParOf" srcId="{EA4F222E-15F1-47FB-9D7C-355D31BC7A68}" destId="{CAFD091F-0498-456E-A3EB-578B1027FDC0}" srcOrd="0" destOrd="0" presId="urn:microsoft.com/office/officeart/2005/8/layout/process1"/>
    <dgm:cxn modelId="{9D5FD3D3-A7C8-4588-AF61-C99CB530B907}" type="presParOf" srcId="{B5AB45B9-66FF-4204-8257-BD989FF82A0A}" destId="{BBE0EBDE-874A-41F3-9DB8-19304A96A924}" srcOrd="2" destOrd="0" presId="urn:microsoft.com/office/officeart/2005/8/layout/process1"/>
    <dgm:cxn modelId="{FF0D5EE5-0A1E-4975-86F7-2431721A79EF}" type="presParOf" srcId="{B5AB45B9-66FF-4204-8257-BD989FF82A0A}" destId="{662AEF14-A6E0-4DE5-B42B-EB215E8E5522}" srcOrd="3" destOrd="0" presId="urn:microsoft.com/office/officeart/2005/8/layout/process1"/>
    <dgm:cxn modelId="{68E8FC00-2211-449D-8968-68B48C114DF7}" type="presParOf" srcId="{662AEF14-A6E0-4DE5-B42B-EB215E8E5522}" destId="{27E59CFA-E182-4A10-9DE6-6D9B403734F7}" srcOrd="0" destOrd="0" presId="urn:microsoft.com/office/officeart/2005/8/layout/process1"/>
    <dgm:cxn modelId="{E5B45F4B-7039-42B3-B9BE-6790B289552B}" type="presParOf" srcId="{B5AB45B9-66FF-4204-8257-BD989FF82A0A}" destId="{C99AFD6D-42F6-4905-BA3D-5CEC84A17F6A}"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73C2FD64-A8AC-471A-A4FB-EAD1770EE5A0}" type="doc">
      <dgm:prSet loTypeId="urn:microsoft.com/office/officeart/2005/8/layout/default" loCatId="list" qsTypeId="urn:microsoft.com/office/officeart/2005/8/quickstyle/simple5" qsCatId="simple" csTypeId="urn:microsoft.com/office/officeart/2005/8/colors/colorful3" csCatId="colorful" phldr="1"/>
      <dgm:spPr/>
      <dgm:t>
        <a:bodyPr/>
        <a:lstStyle/>
        <a:p>
          <a:endParaRPr lang="en-US"/>
        </a:p>
      </dgm:t>
    </dgm:pt>
    <dgm:pt modelId="{5718D6F1-4EA1-4330-98B1-778206FB21AF}">
      <dgm:prSet phldrT="[Text]" custT="1"/>
      <dgm:spPr/>
      <dgm:t>
        <a:bodyPr/>
        <a:lstStyle/>
        <a:p>
          <a:r>
            <a:rPr lang="en-US" sz="2400" dirty="0" err="1"/>
            <a:t>Tx</a:t>
          </a:r>
          <a:endParaRPr lang="en-US" sz="2400" dirty="0"/>
        </a:p>
      </dgm:t>
    </dgm:pt>
    <dgm:pt modelId="{EA4182D2-CED0-47AC-B8DE-E3823FD08B83}" type="parTrans" cxnId="{4ADB4A86-F2DE-461C-8A25-AEE26C1D34E4}">
      <dgm:prSet/>
      <dgm:spPr/>
      <dgm:t>
        <a:bodyPr/>
        <a:lstStyle/>
        <a:p>
          <a:endParaRPr lang="en-US"/>
        </a:p>
      </dgm:t>
    </dgm:pt>
    <dgm:pt modelId="{1ADCCD6B-F86E-48F0-9526-71B81887D5AF}" type="sibTrans" cxnId="{4ADB4A86-F2DE-461C-8A25-AEE26C1D34E4}">
      <dgm:prSet/>
      <dgm:spPr/>
      <dgm:t>
        <a:bodyPr/>
        <a:lstStyle/>
        <a:p>
          <a:endParaRPr lang="en-US"/>
        </a:p>
      </dgm:t>
    </dgm:pt>
    <dgm:pt modelId="{37E0A595-02A4-4678-A880-5E36FC62C9FA}">
      <dgm:prSet phldrT="[Text]" custT="1"/>
      <dgm:spPr/>
      <dgm:t>
        <a:bodyPr/>
        <a:lstStyle/>
        <a:p>
          <a:r>
            <a:rPr lang="en-US" sz="2000" dirty="0"/>
            <a:t>Send .9 BTC</a:t>
          </a:r>
        </a:p>
      </dgm:t>
    </dgm:pt>
    <dgm:pt modelId="{D3A1F991-4128-425D-8DB1-A0414673833E}" type="parTrans" cxnId="{8F37A102-D98C-4851-8C80-EA12BA344982}">
      <dgm:prSet/>
      <dgm:spPr/>
      <dgm:t>
        <a:bodyPr/>
        <a:lstStyle/>
        <a:p>
          <a:endParaRPr lang="en-US"/>
        </a:p>
      </dgm:t>
    </dgm:pt>
    <dgm:pt modelId="{80F55903-2D37-4993-AADC-FFD672CB072A}" type="sibTrans" cxnId="{8F37A102-D98C-4851-8C80-EA12BA344982}">
      <dgm:prSet/>
      <dgm:spPr/>
      <dgm:t>
        <a:bodyPr/>
        <a:lstStyle/>
        <a:p>
          <a:endParaRPr lang="en-US"/>
        </a:p>
      </dgm:t>
    </dgm:pt>
    <dgm:pt modelId="{94B3EADF-C268-4EA5-A4BE-52B9411D6F09}" type="pres">
      <dgm:prSet presAssocID="{73C2FD64-A8AC-471A-A4FB-EAD1770EE5A0}" presName="diagram" presStyleCnt="0">
        <dgm:presLayoutVars>
          <dgm:dir/>
          <dgm:resizeHandles val="exact"/>
        </dgm:presLayoutVars>
      </dgm:prSet>
      <dgm:spPr/>
    </dgm:pt>
    <dgm:pt modelId="{0FC98577-9720-4B53-BD8F-59407FA52E71}" type="pres">
      <dgm:prSet presAssocID="{5718D6F1-4EA1-4330-98B1-778206FB21AF}" presName="node" presStyleLbl="node1" presStyleIdx="0" presStyleCnt="1" custScaleX="158094" custScaleY="125801" custLinFactNeighborX="59616" custLinFactNeighborY="-6654">
        <dgm:presLayoutVars>
          <dgm:bulletEnabled val="1"/>
        </dgm:presLayoutVars>
      </dgm:prSet>
      <dgm:spPr/>
    </dgm:pt>
  </dgm:ptLst>
  <dgm:cxnLst>
    <dgm:cxn modelId="{8F37A102-D98C-4851-8C80-EA12BA344982}" srcId="{5718D6F1-4EA1-4330-98B1-778206FB21AF}" destId="{37E0A595-02A4-4678-A880-5E36FC62C9FA}" srcOrd="0" destOrd="0" parTransId="{D3A1F991-4128-425D-8DB1-A0414673833E}" sibTransId="{80F55903-2D37-4993-AADC-FFD672CB072A}"/>
    <dgm:cxn modelId="{019B8931-22CE-446D-9513-54BD577AB3D0}" type="presOf" srcId="{5718D6F1-4EA1-4330-98B1-778206FB21AF}" destId="{0FC98577-9720-4B53-BD8F-59407FA52E71}" srcOrd="0" destOrd="0" presId="urn:microsoft.com/office/officeart/2005/8/layout/default"/>
    <dgm:cxn modelId="{4ADB4A86-F2DE-461C-8A25-AEE26C1D34E4}" srcId="{73C2FD64-A8AC-471A-A4FB-EAD1770EE5A0}" destId="{5718D6F1-4EA1-4330-98B1-778206FB21AF}" srcOrd="0" destOrd="0" parTransId="{EA4182D2-CED0-47AC-B8DE-E3823FD08B83}" sibTransId="{1ADCCD6B-F86E-48F0-9526-71B81887D5AF}"/>
    <dgm:cxn modelId="{55FFC387-40D5-426B-95C4-B45A909E46EA}" type="presOf" srcId="{73C2FD64-A8AC-471A-A4FB-EAD1770EE5A0}" destId="{94B3EADF-C268-4EA5-A4BE-52B9411D6F09}" srcOrd="0" destOrd="0" presId="urn:microsoft.com/office/officeart/2005/8/layout/default"/>
    <dgm:cxn modelId="{434BB2EB-15A2-4727-8702-AA6029E5754C}" type="presOf" srcId="{37E0A595-02A4-4678-A880-5E36FC62C9FA}" destId="{0FC98577-9720-4B53-BD8F-59407FA52E71}" srcOrd="0" destOrd="1" presId="urn:microsoft.com/office/officeart/2005/8/layout/default"/>
    <dgm:cxn modelId="{D41C2444-9F7E-410D-849F-81F7DCCB3ED1}" type="presParOf" srcId="{94B3EADF-C268-4EA5-A4BE-52B9411D6F09}" destId="{0FC98577-9720-4B53-BD8F-59407FA52E71}"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7CDE38BB-6B3E-4B55-9727-3F876A0AFB46}" type="doc">
      <dgm:prSet loTypeId="urn:microsoft.com/office/officeart/2005/8/layout/process1" loCatId="process" qsTypeId="urn:microsoft.com/office/officeart/2005/8/quickstyle/simple4" qsCatId="simple" csTypeId="urn:microsoft.com/office/officeart/2005/8/colors/colorful5" csCatId="colorful" phldr="1"/>
      <dgm:spPr/>
      <dgm:t>
        <a:bodyPr/>
        <a:lstStyle/>
        <a:p>
          <a:endParaRPr lang="en-US"/>
        </a:p>
      </dgm:t>
    </dgm:pt>
    <dgm:pt modelId="{B73F555A-054C-4DE8-B022-B91E5237B2BC}">
      <dgm:prSet phldrT="[Text]"/>
      <dgm:spPr/>
      <dgm:t>
        <a:bodyPr/>
        <a:lstStyle/>
        <a:p>
          <a:r>
            <a:rPr lang="en-US" dirty="0"/>
            <a:t>Create keys</a:t>
          </a:r>
        </a:p>
      </dgm:t>
    </dgm:pt>
    <dgm:pt modelId="{F4D2A7E8-15FE-489B-8B9A-5150FDBBA3E3}" type="parTrans" cxnId="{89616EEA-9ED0-431D-8A9B-12B9D1312AA3}">
      <dgm:prSet/>
      <dgm:spPr/>
      <dgm:t>
        <a:bodyPr/>
        <a:lstStyle/>
        <a:p>
          <a:endParaRPr lang="en-US"/>
        </a:p>
      </dgm:t>
    </dgm:pt>
    <dgm:pt modelId="{F74C147B-BC68-4A37-9A60-AC505AF9150F}" type="sibTrans" cxnId="{89616EEA-9ED0-431D-8A9B-12B9D1312AA3}">
      <dgm:prSet/>
      <dgm:spPr/>
      <dgm:t>
        <a:bodyPr/>
        <a:lstStyle/>
        <a:p>
          <a:endParaRPr lang="en-US"/>
        </a:p>
      </dgm:t>
    </dgm:pt>
    <dgm:pt modelId="{0B5CD2EF-83E3-433C-9572-54669D188CB0}">
      <dgm:prSet phldrT="[Text]"/>
      <dgm:spPr/>
      <dgm:t>
        <a:bodyPr/>
        <a:lstStyle/>
        <a:p>
          <a:r>
            <a:rPr lang="en-US" dirty="0"/>
            <a:t>Alice chooses a size and generates a private key</a:t>
          </a:r>
        </a:p>
      </dgm:t>
    </dgm:pt>
    <dgm:pt modelId="{01109C24-B44D-4366-9E76-472A75B82012}" type="parTrans" cxnId="{2F8F7D29-A4AB-4474-9714-5AF8831B2901}">
      <dgm:prSet/>
      <dgm:spPr/>
      <dgm:t>
        <a:bodyPr/>
        <a:lstStyle/>
        <a:p>
          <a:endParaRPr lang="en-US"/>
        </a:p>
      </dgm:t>
    </dgm:pt>
    <dgm:pt modelId="{3223B200-FD3F-478F-B7AF-353A551FCEA6}" type="sibTrans" cxnId="{2F8F7D29-A4AB-4474-9714-5AF8831B2901}">
      <dgm:prSet/>
      <dgm:spPr/>
      <dgm:t>
        <a:bodyPr/>
        <a:lstStyle/>
        <a:p>
          <a:endParaRPr lang="en-US"/>
        </a:p>
      </dgm:t>
    </dgm:pt>
    <dgm:pt modelId="{C1FEB41B-2E6B-4C02-AFE6-9E542E9EA4CC}">
      <dgm:prSet phldrT="[Text]"/>
      <dgm:spPr/>
      <dgm:t>
        <a:bodyPr/>
        <a:lstStyle/>
        <a:p>
          <a:r>
            <a:rPr lang="en-US" dirty="0"/>
            <a:t>Create Signature</a:t>
          </a:r>
        </a:p>
      </dgm:t>
    </dgm:pt>
    <dgm:pt modelId="{5F6B0B69-02C3-4CBD-861A-07C392524299}" type="parTrans" cxnId="{5D8B30B7-A17A-415A-885B-8303F6C5E11B}">
      <dgm:prSet/>
      <dgm:spPr/>
      <dgm:t>
        <a:bodyPr/>
        <a:lstStyle/>
        <a:p>
          <a:endParaRPr lang="en-US"/>
        </a:p>
      </dgm:t>
    </dgm:pt>
    <dgm:pt modelId="{8B54E3FE-730A-42B3-B99A-6F03EE6FCFFD}" type="sibTrans" cxnId="{5D8B30B7-A17A-415A-885B-8303F6C5E11B}">
      <dgm:prSet/>
      <dgm:spPr/>
      <dgm:t>
        <a:bodyPr/>
        <a:lstStyle/>
        <a:p>
          <a:endParaRPr lang="en-US"/>
        </a:p>
      </dgm:t>
    </dgm:pt>
    <dgm:pt modelId="{BFB318C1-8D80-4CF7-9B14-3ADF8ECDC52D}">
      <dgm:prSet phldrT="[Text]"/>
      <dgm:spPr/>
      <dgm:t>
        <a:bodyPr/>
        <a:lstStyle/>
        <a:p>
          <a:r>
            <a:rPr lang="en-US" dirty="0"/>
            <a:t>Alice uses the private key to sign a message (document)</a:t>
          </a:r>
        </a:p>
      </dgm:t>
    </dgm:pt>
    <dgm:pt modelId="{0364D439-2B32-44CD-ADCB-E0CD56820633}" type="parTrans" cxnId="{376D3C67-2074-459B-857C-7C6D628BBA54}">
      <dgm:prSet/>
      <dgm:spPr/>
      <dgm:t>
        <a:bodyPr/>
        <a:lstStyle/>
        <a:p>
          <a:endParaRPr lang="en-US"/>
        </a:p>
      </dgm:t>
    </dgm:pt>
    <dgm:pt modelId="{66E87933-32CC-4C17-A1EA-10A8BDA43A39}" type="sibTrans" cxnId="{376D3C67-2074-459B-857C-7C6D628BBA54}">
      <dgm:prSet/>
      <dgm:spPr/>
      <dgm:t>
        <a:bodyPr/>
        <a:lstStyle/>
        <a:p>
          <a:endParaRPr lang="en-US"/>
        </a:p>
      </dgm:t>
    </dgm:pt>
    <dgm:pt modelId="{78127655-E9BC-4EFC-9C2A-0BB5215F6980}">
      <dgm:prSet phldrT="[Text]"/>
      <dgm:spPr/>
      <dgm:t>
        <a:bodyPr/>
        <a:lstStyle/>
        <a:p>
          <a:r>
            <a:rPr lang="en-US" dirty="0"/>
            <a:t>Verify</a:t>
          </a:r>
        </a:p>
      </dgm:t>
    </dgm:pt>
    <dgm:pt modelId="{88EE817F-2319-4ED0-AF3D-8DD8319BA977}" type="parTrans" cxnId="{6F4FF6D8-D40A-4970-AF3B-EA035CAB6ECD}">
      <dgm:prSet/>
      <dgm:spPr/>
      <dgm:t>
        <a:bodyPr/>
        <a:lstStyle/>
        <a:p>
          <a:endParaRPr lang="en-US"/>
        </a:p>
      </dgm:t>
    </dgm:pt>
    <dgm:pt modelId="{11E30358-E408-40B4-BB21-A7BF06DA7138}" type="sibTrans" cxnId="{6F4FF6D8-D40A-4970-AF3B-EA035CAB6ECD}">
      <dgm:prSet/>
      <dgm:spPr/>
      <dgm:t>
        <a:bodyPr/>
        <a:lstStyle/>
        <a:p>
          <a:endParaRPr lang="en-US"/>
        </a:p>
      </dgm:t>
    </dgm:pt>
    <dgm:pt modelId="{15F37478-5ABD-4B85-8370-ED9E2B4DA4E9}">
      <dgm:prSet phldrT="[Text]"/>
      <dgm:spPr/>
      <dgm:t>
        <a:bodyPr/>
        <a:lstStyle/>
        <a:p>
          <a:r>
            <a:rPr lang="en-US" dirty="0"/>
            <a:t>Bob uses the signature, message and public key to verify that Alice must have known the private key (to the public key)</a:t>
          </a:r>
        </a:p>
      </dgm:t>
    </dgm:pt>
    <dgm:pt modelId="{B122A351-CE8F-4BF6-A673-09C7057909C1}" type="parTrans" cxnId="{57486D2B-F84A-4F17-850D-4D527D059165}">
      <dgm:prSet/>
      <dgm:spPr/>
      <dgm:t>
        <a:bodyPr/>
        <a:lstStyle/>
        <a:p>
          <a:endParaRPr lang="en-US"/>
        </a:p>
      </dgm:t>
    </dgm:pt>
    <dgm:pt modelId="{2CEBC07C-7DDD-4FDC-A4FE-CA2A71B8D730}" type="sibTrans" cxnId="{57486D2B-F84A-4F17-850D-4D527D059165}">
      <dgm:prSet/>
      <dgm:spPr/>
      <dgm:t>
        <a:bodyPr/>
        <a:lstStyle/>
        <a:p>
          <a:endParaRPr lang="en-US"/>
        </a:p>
      </dgm:t>
    </dgm:pt>
    <dgm:pt modelId="{4D2DC921-8689-456B-8FF3-EBA4F806D630}">
      <dgm:prSet phldrT="[Text]"/>
      <dgm:spPr/>
      <dgm:t>
        <a:bodyPr/>
        <a:lstStyle/>
        <a:p>
          <a:r>
            <a:rPr lang="en-US" dirty="0"/>
            <a:t>Then Alice uses the private key to generate a paired public key</a:t>
          </a:r>
        </a:p>
      </dgm:t>
    </dgm:pt>
    <dgm:pt modelId="{F4BF3008-40CC-4528-BA43-9B5CFE7AB0CA}" type="parTrans" cxnId="{07885DFD-C4CB-44DB-BB3B-23FB47087FD1}">
      <dgm:prSet/>
      <dgm:spPr/>
      <dgm:t>
        <a:bodyPr/>
        <a:lstStyle/>
        <a:p>
          <a:endParaRPr lang="en-US"/>
        </a:p>
      </dgm:t>
    </dgm:pt>
    <dgm:pt modelId="{67294045-91C6-46E4-A39F-FA9F28E35267}" type="sibTrans" cxnId="{07885DFD-C4CB-44DB-BB3B-23FB47087FD1}">
      <dgm:prSet/>
      <dgm:spPr/>
      <dgm:t>
        <a:bodyPr/>
        <a:lstStyle/>
        <a:p>
          <a:endParaRPr lang="en-US"/>
        </a:p>
      </dgm:t>
    </dgm:pt>
    <dgm:pt modelId="{2E5B6CDF-A4D7-487C-8E79-31A6C5335C60}">
      <dgm:prSet phldrT="[Text]"/>
      <dgm:spPr/>
      <dgm:t>
        <a:bodyPr/>
        <a:lstStyle/>
        <a:p>
          <a:r>
            <a:rPr lang="en-US" dirty="0"/>
            <a:t>This creates a unique signature</a:t>
          </a:r>
        </a:p>
      </dgm:t>
    </dgm:pt>
    <dgm:pt modelId="{9CDC9811-86BB-4C76-8CCA-39EF1F7DA5CB}" type="parTrans" cxnId="{7012CA8C-3FC2-48DA-BF7C-336D767A1E2A}">
      <dgm:prSet/>
      <dgm:spPr/>
      <dgm:t>
        <a:bodyPr/>
        <a:lstStyle/>
        <a:p>
          <a:endParaRPr lang="en-US"/>
        </a:p>
      </dgm:t>
    </dgm:pt>
    <dgm:pt modelId="{C3C40597-F8B9-44D8-A130-0F6B2B86A026}" type="sibTrans" cxnId="{7012CA8C-3FC2-48DA-BF7C-336D767A1E2A}">
      <dgm:prSet/>
      <dgm:spPr/>
      <dgm:t>
        <a:bodyPr/>
        <a:lstStyle/>
        <a:p>
          <a:endParaRPr lang="en-US"/>
        </a:p>
      </dgm:t>
    </dgm:pt>
    <dgm:pt modelId="{25CA346C-3298-4F20-8C83-114770C308C1}">
      <dgm:prSet phldrT="[Text]"/>
      <dgm:spPr/>
      <dgm:t>
        <a:bodyPr/>
        <a:lstStyle/>
        <a:p>
          <a:r>
            <a:rPr lang="en-US" dirty="0"/>
            <a:t>Alice sends the signature, message and public key to Bob</a:t>
          </a:r>
        </a:p>
      </dgm:t>
    </dgm:pt>
    <dgm:pt modelId="{36A15691-14F5-4586-84ED-80DABC804140}" type="parTrans" cxnId="{6D64DFBB-9CFE-4208-B5BC-007C9A7BD5A0}">
      <dgm:prSet/>
      <dgm:spPr/>
      <dgm:t>
        <a:bodyPr/>
        <a:lstStyle/>
        <a:p>
          <a:endParaRPr lang="en-US"/>
        </a:p>
      </dgm:t>
    </dgm:pt>
    <dgm:pt modelId="{2D8C4068-DAB5-4AAE-86F0-7E533112C334}" type="sibTrans" cxnId="{6D64DFBB-9CFE-4208-B5BC-007C9A7BD5A0}">
      <dgm:prSet/>
      <dgm:spPr/>
      <dgm:t>
        <a:bodyPr/>
        <a:lstStyle/>
        <a:p>
          <a:endParaRPr lang="en-US"/>
        </a:p>
      </dgm:t>
    </dgm:pt>
    <dgm:pt modelId="{1A038FD3-C8A5-4F5B-B82C-175F441052A0}">
      <dgm:prSet phldrT="[Text]"/>
      <dgm:spPr/>
      <dgm:t>
        <a:bodyPr/>
        <a:lstStyle/>
        <a:p>
          <a:r>
            <a:rPr lang="en-US" dirty="0"/>
            <a:t>Therefore Alice is the </a:t>
          </a:r>
          <a:r>
            <a:rPr lang="en-US" dirty="0" err="1"/>
            <a:t>bonafide</a:t>
          </a:r>
          <a:r>
            <a:rPr lang="en-US" dirty="0"/>
            <a:t> signee</a:t>
          </a:r>
        </a:p>
      </dgm:t>
    </dgm:pt>
    <dgm:pt modelId="{5C5B2636-4652-4A74-941A-AF77F81EA8EC}" type="parTrans" cxnId="{B4F4023D-05E6-48DF-A8C3-72C89F5AD417}">
      <dgm:prSet/>
      <dgm:spPr/>
      <dgm:t>
        <a:bodyPr/>
        <a:lstStyle/>
        <a:p>
          <a:endParaRPr lang="en-US"/>
        </a:p>
      </dgm:t>
    </dgm:pt>
    <dgm:pt modelId="{70DDF74C-9E44-40C8-B3F1-DD8E6B8766B2}" type="sibTrans" cxnId="{B4F4023D-05E6-48DF-A8C3-72C89F5AD417}">
      <dgm:prSet/>
      <dgm:spPr/>
      <dgm:t>
        <a:bodyPr/>
        <a:lstStyle/>
        <a:p>
          <a:endParaRPr lang="en-US"/>
        </a:p>
      </dgm:t>
    </dgm:pt>
    <dgm:pt modelId="{F2EBB3E3-FFFF-4440-BC36-D83DFE42041D}" type="pres">
      <dgm:prSet presAssocID="{7CDE38BB-6B3E-4B55-9727-3F876A0AFB46}" presName="Name0" presStyleCnt="0">
        <dgm:presLayoutVars>
          <dgm:dir/>
          <dgm:resizeHandles val="exact"/>
        </dgm:presLayoutVars>
      </dgm:prSet>
      <dgm:spPr/>
    </dgm:pt>
    <dgm:pt modelId="{AE5D0553-645B-4A73-BC58-4D3B4821876E}" type="pres">
      <dgm:prSet presAssocID="{B73F555A-054C-4DE8-B022-B91E5237B2BC}" presName="node" presStyleLbl="node1" presStyleIdx="0" presStyleCnt="3">
        <dgm:presLayoutVars>
          <dgm:bulletEnabled val="1"/>
        </dgm:presLayoutVars>
      </dgm:prSet>
      <dgm:spPr/>
    </dgm:pt>
    <dgm:pt modelId="{882FEAC3-9BC5-4984-A4C3-65B3FD8538E1}" type="pres">
      <dgm:prSet presAssocID="{F74C147B-BC68-4A37-9A60-AC505AF9150F}" presName="sibTrans" presStyleLbl="sibTrans2D1" presStyleIdx="0" presStyleCnt="2"/>
      <dgm:spPr/>
    </dgm:pt>
    <dgm:pt modelId="{2F0439FB-8358-46DC-B741-2204C6A44A6B}" type="pres">
      <dgm:prSet presAssocID="{F74C147B-BC68-4A37-9A60-AC505AF9150F}" presName="connectorText" presStyleLbl="sibTrans2D1" presStyleIdx="0" presStyleCnt="2"/>
      <dgm:spPr/>
    </dgm:pt>
    <dgm:pt modelId="{F530A767-A704-4CBE-913F-E91F32B8AC6F}" type="pres">
      <dgm:prSet presAssocID="{C1FEB41B-2E6B-4C02-AFE6-9E542E9EA4CC}" presName="node" presStyleLbl="node1" presStyleIdx="1" presStyleCnt="3">
        <dgm:presLayoutVars>
          <dgm:bulletEnabled val="1"/>
        </dgm:presLayoutVars>
      </dgm:prSet>
      <dgm:spPr/>
    </dgm:pt>
    <dgm:pt modelId="{B9250C3A-158B-4CC2-8B9D-3432F701855C}" type="pres">
      <dgm:prSet presAssocID="{8B54E3FE-730A-42B3-B99A-6F03EE6FCFFD}" presName="sibTrans" presStyleLbl="sibTrans2D1" presStyleIdx="1" presStyleCnt="2"/>
      <dgm:spPr/>
    </dgm:pt>
    <dgm:pt modelId="{B63170DF-EC35-40DA-B696-341F181C6CB3}" type="pres">
      <dgm:prSet presAssocID="{8B54E3FE-730A-42B3-B99A-6F03EE6FCFFD}" presName="connectorText" presStyleLbl="sibTrans2D1" presStyleIdx="1" presStyleCnt="2"/>
      <dgm:spPr/>
    </dgm:pt>
    <dgm:pt modelId="{F435E16F-BC5B-4E9D-B5B0-4FC8185E2128}" type="pres">
      <dgm:prSet presAssocID="{78127655-E9BC-4EFC-9C2A-0BB5215F6980}" presName="node" presStyleLbl="node1" presStyleIdx="2" presStyleCnt="3">
        <dgm:presLayoutVars>
          <dgm:bulletEnabled val="1"/>
        </dgm:presLayoutVars>
      </dgm:prSet>
      <dgm:spPr/>
    </dgm:pt>
  </dgm:ptLst>
  <dgm:cxnLst>
    <dgm:cxn modelId="{183E3004-0C15-493E-BABD-02BA76140449}" type="presOf" srcId="{C1FEB41B-2E6B-4C02-AFE6-9E542E9EA4CC}" destId="{F530A767-A704-4CBE-913F-E91F32B8AC6F}" srcOrd="0" destOrd="0" presId="urn:microsoft.com/office/officeart/2005/8/layout/process1"/>
    <dgm:cxn modelId="{FAF1870D-D87F-40C2-A49D-43F7153DC9A2}" type="presOf" srcId="{8B54E3FE-730A-42B3-B99A-6F03EE6FCFFD}" destId="{B9250C3A-158B-4CC2-8B9D-3432F701855C}" srcOrd="0" destOrd="0" presId="urn:microsoft.com/office/officeart/2005/8/layout/process1"/>
    <dgm:cxn modelId="{ABFD930D-D316-4434-8CE8-5D0C33822D76}" type="presOf" srcId="{0B5CD2EF-83E3-433C-9572-54669D188CB0}" destId="{AE5D0553-645B-4A73-BC58-4D3B4821876E}" srcOrd="0" destOrd="1" presId="urn:microsoft.com/office/officeart/2005/8/layout/process1"/>
    <dgm:cxn modelId="{04066D1F-F89A-4FF2-993F-D7E4A614B877}" type="presOf" srcId="{7CDE38BB-6B3E-4B55-9727-3F876A0AFB46}" destId="{F2EBB3E3-FFFF-4440-BC36-D83DFE42041D}" srcOrd="0" destOrd="0" presId="urn:microsoft.com/office/officeart/2005/8/layout/process1"/>
    <dgm:cxn modelId="{6FDF4120-7D30-4CD9-8616-DABF284993B0}" type="presOf" srcId="{BFB318C1-8D80-4CF7-9B14-3ADF8ECDC52D}" destId="{F530A767-A704-4CBE-913F-E91F32B8AC6F}" srcOrd="0" destOrd="1" presId="urn:microsoft.com/office/officeart/2005/8/layout/process1"/>
    <dgm:cxn modelId="{2F8F7D29-A4AB-4474-9714-5AF8831B2901}" srcId="{B73F555A-054C-4DE8-B022-B91E5237B2BC}" destId="{0B5CD2EF-83E3-433C-9572-54669D188CB0}" srcOrd="0" destOrd="0" parTransId="{01109C24-B44D-4366-9E76-472A75B82012}" sibTransId="{3223B200-FD3F-478F-B7AF-353A551FCEA6}"/>
    <dgm:cxn modelId="{57486D2B-F84A-4F17-850D-4D527D059165}" srcId="{78127655-E9BC-4EFC-9C2A-0BB5215F6980}" destId="{15F37478-5ABD-4B85-8370-ED9E2B4DA4E9}" srcOrd="0" destOrd="0" parTransId="{B122A351-CE8F-4BF6-A673-09C7057909C1}" sibTransId="{2CEBC07C-7DDD-4FDC-A4FE-CA2A71B8D730}"/>
    <dgm:cxn modelId="{113A153C-6365-4230-9025-1EC2D07E1A1D}" type="presOf" srcId="{1A038FD3-C8A5-4F5B-B82C-175F441052A0}" destId="{F435E16F-BC5B-4E9D-B5B0-4FC8185E2128}" srcOrd="0" destOrd="2" presId="urn:microsoft.com/office/officeart/2005/8/layout/process1"/>
    <dgm:cxn modelId="{B4F4023D-05E6-48DF-A8C3-72C89F5AD417}" srcId="{78127655-E9BC-4EFC-9C2A-0BB5215F6980}" destId="{1A038FD3-C8A5-4F5B-B82C-175F441052A0}" srcOrd="1" destOrd="0" parTransId="{5C5B2636-4652-4A74-941A-AF77F81EA8EC}" sibTransId="{70DDF74C-9E44-40C8-B3F1-DD8E6B8766B2}"/>
    <dgm:cxn modelId="{376D3C67-2074-459B-857C-7C6D628BBA54}" srcId="{C1FEB41B-2E6B-4C02-AFE6-9E542E9EA4CC}" destId="{BFB318C1-8D80-4CF7-9B14-3ADF8ECDC52D}" srcOrd="0" destOrd="0" parTransId="{0364D439-2B32-44CD-ADCB-E0CD56820633}" sibTransId="{66E87933-32CC-4C17-A1EA-10A8BDA43A39}"/>
    <dgm:cxn modelId="{E3B94B74-D7ED-46CB-BD84-792CD457BC41}" type="presOf" srcId="{F74C147B-BC68-4A37-9A60-AC505AF9150F}" destId="{882FEAC3-9BC5-4984-A4C3-65B3FD8538E1}" srcOrd="0" destOrd="0" presId="urn:microsoft.com/office/officeart/2005/8/layout/process1"/>
    <dgm:cxn modelId="{D6923C56-894B-4820-9BCB-4387949E28F7}" type="presOf" srcId="{8B54E3FE-730A-42B3-B99A-6F03EE6FCFFD}" destId="{B63170DF-EC35-40DA-B696-341F181C6CB3}" srcOrd="1" destOrd="0" presId="urn:microsoft.com/office/officeart/2005/8/layout/process1"/>
    <dgm:cxn modelId="{1D75B98A-965F-4468-99EF-EDC6EDCBECBF}" type="presOf" srcId="{F74C147B-BC68-4A37-9A60-AC505AF9150F}" destId="{2F0439FB-8358-46DC-B741-2204C6A44A6B}" srcOrd="1" destOrd="0" presId="urn:microsoft.com/office/officeart/2005/8/layout/process1"/>
    <dgm:cxn modelId="{7012CA8C-3FC2-48DA-BF7C-336D767A1E2A}" srcId="{C1FEB41B-2E6B-4C02-AFE6-9E542E9EA4CC}" destId="{2E5B6CDF-A4D7-487C-8E79-31A6C5335C60}" srcOrd="1" destOrd="0" parTransId="{9CDC9811-86BB-4C76-8CCA-39EF1F7DA5CB}" sibTransId="{C3C40597-F8B9-44D8-A130-0F6B2B86A026}"/>
    <dgm:cxn modelId="{14FB2BAE-39FE-42A0-91E9-E5FECF56734D}" type="presOf" srcId="{4D2DC921-8689-456B-8FF3-EBA4F806D630}" destId="{AE5D0553-645B-4A73-BC58-4D3B4821876E}" srcOrd="0" destOrd="2" presId="urn:microsoft.com/office/officeart/2005/8/layout/process1"/>
    <dgm:cxn modelId="{5D8B30B7-A17A-415A-885B-8303F6C5E11B}" srcId="{7CDE38BB-6B3E-4B55-9727-3F876A0AFB46}" destId="{C1FEB41B-2E6B-4C02-AFE6-9E542E9EA4CC}" srcOrd="1" destOrd="0" parTransId="{5F6B0B69-02C3-4CBD-861A-07C392524299}" sibTransId="{8B54E3FE-730A-42B3-B99A-6F03EE6FCFFD}"/>
    <dgm:cxn modelId="{6D64DFBB-9CFE-4208-B5BC-007C9A7BD5A0}" srcId="{C1FEB41B-2E6B-4C02-AFE6-9E542E9EA4CC}" destId="{25CA346C-3298-4F20-8C83-114770C308C1}" srcOrd="2" destOrd="0" parTransId="{36A15691-14F5-4586-84ED-80DABC804140}" sibTransId="{2D8C4068-DAB5-4AAE-86F0-7E533112C334}"/>
    <dgm:cxn modelId="{139A14BF-B76C-4B18-BF05-A469586017C8}" type="presOf" srcId="{2E5B6CDF-A4D7-487C-8E79-31A6C5335C60}" destId="{F530A767-A704-4CBE-913F-E91F32B8AC6F}" srcOrd="0" destOrd="2" presId="urn:microsoft.com/office/officeart/2005/8/layout/process1"/>
    <dgm:cxn modelId="{383781C4-1FC8-4FEC-B5D9-C764B0552AC3}" type="presOf" srcId="{25CA346C-3298-4F20-8C83-114770C308C1}" destId="{F530A767-A704-4CBE-913F-E91F32B8AC6F}" srcOrd="0" destOrd="3" presId="urn:microsoft.com/office/officeart/2005/8/layout/process1"/>
    <dgm:cxn modelId="{60B4ECC6-2B2E-4B12-BDA5-E68CA8FB459B}" type="presOf" srcId="{B73F555A-054C-4DE8-B022-B91E5237B2BC}" destId="{AE5D0553-645B-4A73-BC58-4D3B4821876E}" srcOrd="0" destOrd="0" presId="urn:microsoft.com/office/officeart/2005/8/layout/process1"/>
    <dgm:cxn modelId="{1B386AC8-224F-4A23-89D2-F7806B98DDE8}" type="presOf" srcId="{78127655-E9BC-4EFC-9C2A-0BB5215F6980}" destId="{F435E16F-BC5B-4E9D-B5B0-4FC8185E2128}" srcOrd="0" destOrd="0" presId="urn:microsoft.com/office/officeart/2005/8/layout/process1"/>
    <dgm:cxn modelId="{A550A2C8-143F-44BD-8027-D20E8DA5CD2A}" type="presOf" srcId="{15F37478-5ABD-4B85-8370-ED9E2B4DA4E9}" destId="{F435E16F-BC5B-4E9D-B5B0-4FC8185E2128}" srcOrd="0" destOrd="1" presId="urn:microsoft.com/office/officeart/2005/8/layout/process1"/>
    <dgm:cxn modelId="{6F4FF6D8-D40A-4970-AF3B-EA035CAB6ECD}" srcId="{7CDE38BB-6B3E-4B55-9727-3F876A0AFB46}" destId="{78127655-E9BC-4EFC-9C2A-0BB5215F6980}" srcOrd="2" destOrd="0" parTransId="{88EE817F-2319-4ED0-AF3D-8DD8319BA977}" sibTransId="{11E30358-E408-40B4-BB21-A7BF06DA7138}"/>
    <dgm:cxn modelId="{89616EEA-9ED0-431D-8A9B-12B9D1312AA3}" srcId="{7CDE38BB-6B3E-4B55-9727-3F876A0AFB46}" destId="{B73F555A-054C-4DE8-B022-B91E5237B2BC}" srcOrd="0" destOrd="0" parTransId="{F4D2A7E8-15FE-489B-8B9A-5150FDBBA3E3}" sibTransId="{F74C147B-BC68-4A37-9A60-AC505AF9150F}"/>
    <dgm:cxn modelId="{07885DFD-C4CB-44DB-BB3B-23FB47087FD1}" srcId="{B73F555A-054C-4DE8-B022-B91E5237B2BC}" destId="{4D2DC921-8689-456B-8FF3-EBA4F806D630}" srcOrd="1" destOrd="0" parTransId="{F4BF3008-40CC-4528-BA43-9B5CFE7AB0CA}" sibTransId="{67294045-91C6-46E4-A39F-FA9F28E35267}"/>
    <dgm:cxn modelId="{809A0E69-9DDF-4812-BBC7-D99748164DAF}" type="presParOf" srcId="{F2EBB3E3-FFFF-4440-BC36-D83DFE42041D}" destId="{AE5D0553-645B-4A73-BC58-4D3B4821876E}" srcOrd="0" destOrd="0" presId="urn:microsoft.com/office/officeart/2005/8/layout/process1"/>
    <dgm:cxn modelId="{19AA01DE-B3C8-4CFF-996A-66E6966ADF81}" type="presParOf" srcId="{F2EBB3E3-FFFF-4440-BC36-D83DFE42041D}" destId="{882FEAC3-9BC5-4984-A4C3-65B3FD8538E1}" srcOrd="1" destOrd="0" presId="urn:microsoft.com/office/officeart/2005/8/layout/process1"/>
    <dgm:cxn modelId="{EDC1D41D-B5FA-4705-A251-55EA87BBA8AA}" type="presParOf" srcId="{882FEAC3-9BC5-4984-A4C3-65B3FD8538E1}" destId="{2F0439FB-8358-46DC-B741-2204C6A44A6B}" srcOrd="0" destOrd="0" presId="urn:microsoft.com/office/officeart/2005/8/layout/process1"/>
    <dgm:cxn modelId="{99EF99DD-6337-43B8-BF4F-603B55C9F57C}" type="presParOf" srcId="{F2EBB3E3-FFFF-4440-BC36-D83DFE42041D}" destId="{F530A767-A704-4CBE-913F-E91F32B8AC6F}" srcOrd="2" destOrd="0" presId="urn:microsoft.com/office/officeart/2005/8/layout/process1"/>
    <dgm:cxn modelId="{63A6A6F6-3283-4C67-A9A2-000A18B437CF}" type="presParOf" srcId="{F2EBB3E3-FFFF-4440-BC36-D83DFE42041D}" destId="{B9250C3A-158B-4CC2-8B9D-3432F701855C}" srcOrd="3" destOrd="0" presId="urn:microsoft.com/office/officeart/2005/8/layout/process1"/>
    <dgm:cxn modelId="{B03F689F-7936-4793-8E1D-A502256F8540}" type="presParOf" srcId="{B9250C3A-158B-4CC2-8B9D-3432F701855C}" destId="{B63170DF-EC35-40DA-B696-341F181C6CB3}" srcOrd="0" destOrd="0" presId="urn:microsoft.com/office/officeart/2005/8/layout/process1"/>
    <dgm:cxn modelId="{087C3276-5FD8-40D0-A300-8C7A67AA6105}" type="presParOf" srcId="{F2EBB3E3-FFFF-4440-BC36-D83DFE42041D}" destId="{F435E16F-BC5B-4E9D-B5B0-4FC8185E2128}"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A7AEA03-215C-4B63-95BA-F7F437E87A6E}"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C21FC538-EC4B-4858-8D7A-0F87D3F7C3B6}">
      <dgm:prSet phldrT="[Text]" custT="1"/>
      <dgm:spPr/>
      <dgm:t>
        <a:bodyPr/>
        <a:lstStyle/>
        <a:p>
          <a:r>
            <a:rPr lang="en-US" sz="2800" dirty="0"/>
            <a:t>Block size (in Bytes)</a:t>
          </a:r>
          <a:br>
            <a:rPr lang="en-US" sz="2800" dirty="0"/>
          </a:br>
          <a:r>
            <a:rPr lang="en-US" sz="2800" dirty="0"/>
            <a:t>Block header</a:t>
          </a:r>
          <a:br>
            <a:rPr lang="en-US" sz="2800" dirty="0"/>
          </a:br>
          <a:r>
            <a:rPr lang="en-US" sz="2800" dirty="0"/>
            <a:t>Transaction counter (number)</a:t>
          </a:r>
          <a:br>
            <a:rPr lang="en-US" sz="2800" dirty="0"/>
          </a:br>
          <a:r>
            <a:rPr lang="en-US" sz="2800" dirty="0"/>
            <a:t>List of transactions</a:t>
          </a:r>
        </a:p>
      </dgm:t>
    </dgm:pt>
    <dgm:pt modelId="{863ECA5F-1E3A-4B53-A3A4-7A5E9344C5F7}" type="parTrans" cxnId="{06201BEE-7D73-43A5-9394-3A13B5AFC38F}">
      <dgm:prSet/>
      <dgm:spPr/>
      <dgm:t>
        <a:bodyPr/>
        <a:lstStyle/>
        <a:p>
          <a:endParaRPr lang="en-US"/>
        </a:p>
      </dgm:t>
    </dgm:pt>
    <dgm:pt modelId="{74E407CE-153B-444C-A6D9-33E52FDB6BFC}" type="sibTrans" cxnId="{06201BEE-7D73-43A5-9394-3A13B5AFC38F}">
      <dgm:prSet/>
      <dgm:spPr/>
      <dgm:t>
        <a:bodyPr/>
        <a:lstStyle/>
        <a:p>
          <a:endParaRPr lang="en-US"/>
        </a:p>
      </dgm:t>
    </dgm:pt>
    <dgm:pt modelId="{595BF806-883A-423F-BFE9-579E32902602}">
      <dgm:prSet phldrT="[Text]"/>
      <dgm:spPr/>
      <dgm:t>
        <a:bodyPr/>
        <a:lstStyle/>
        <a:p>
          <a:r>
            <a:rPr lang="en-US" dirty="0"/>
            <a:t>Tx1</a:t>
          </a:r>
        </a:p>
      </dgm:t>
    </dgm:pt>
    <dgm:pt modelId="{AA2C94A9-944E-4BF8-9BEC-69CBD102858D}" type="parTrans" cxnId="{8BB2EC28-F958-4A46-ACF6-7275CDDDB12C}">
      <dgm:prSet/>
      <dgm:spPr/>
      <dgm:t>
        <a:bodyPr/>
        <a:lstStyle/>
        <a:p>
          <a:endParaRPr lang="en-US"/>
        </a:p>
      </dgm:t>
    </dgm:pt>
    <dgm:pt modelId="{0263D529-A16E-4124-B5C0-2C88AE68BBFD}" type="sibTrans" cxnId="{8BB2EC28-F958-4A46-ACF6-7275CDDDB12C}">
      <dgm:prSet/>
      <dgm:spPr/>
      <dgm:t>
        <a:bodyPr/>
        <a:lstStyle/>
        <a:p>
          <a:endParaRPr lang="en-US"/>
        </a:p>
      </dgm:t>
    </dgm:pt>
    <dgm:pt modelId="{1E1A244E-B045-4F06-955A-B6A45AD24496}">
      <dgm:prSet phldrT="[Text]"/>
      <dgm:spPr/>
      <dgm:t>
        <a:bodyPr/>
        <a:lstStyle/>
        <a:p>
          <a:r>
            <a:rPr lang="en-US" dirty="0"/>
            <a:t>Tx2</a:t>
          </a:r>
        </a:p>
      </dgm:t>
    </dgm:pt>
    <dgm:pt modelId="{0A85C941-4FB1-4851-8E92-59EC926938E4}" type="parTrans" cxnId="{8EA3503B-444C-4C55-B580-D7E1F253DE2D}">
      <dgm:prSet/>
      <dgm:spPr/>
      <dgm:t>
        <a:bodyPr/>
        <a:lstStyle/>
        <a:p>
          <a:endParaRPr lang="en-US"/>
        </a:p>
      </dgm:t>
    </dgm:pt>
    <dgm:pt modelId="{A1D57419-1E40-439B-9F82-0819E9F308E5}" type="sibTrans" cxnId="{8EA3503B-444C-4C55-B580-D7E1F253DE2D}">
      <dgm:prSet/>
      <dgm:spPr/>
      <dgm:t>
        <a:bodyPr/>
        <a:lstStyle/>
        <a:p>
          <a:endParaRPr lang="en-US"/>
        </a:p>
      </dgm:t>
    </dgm:pt>
    <dgm:pt modelId="{FBADE4C8-9A5F-46F8-9B2D-7A43A7CCC118}">
      <dgm:prSet phldrT="[Text]"/>
      <dgm:spPr/>
      <dgm:t>
        <a:bodyPr/>
        <a:lstStyle/>
        <a:p>
          <a:r>
            <a:rPr lang="en-US" dirty="0"/>
            <a:t>Tx3</a:t>
          </a:r>
        </a:p>
      </dgm:t>
    </dgm:pt>
    <dgm:pt modelId="{B30FB9E2-D4F3-427C-82CC-F569E8FCACB6}" type="parTrans" cxnId="{048AA571-BDED-490D-B0D0-45C0A87085A2}">
      <dgm:prSet/>
      <dgm:spPr/>
      <dgm:t>
        <a:bodyPr/>
        <a:lstStyle/>
        <a:p>
          <a:endParaRPr lang="en-US"/>
        </a:p>
      </dgm:t>
    </dgm:pt>
    <dgm:pt modelId="{FF9E2FF4-BDA8-49AC-9BA5-EEFDC02E4465}" type="sibTrans" cxnId="{048AA571-BDED-490D-B0D0-45C0A87085A2}">
      <dgm:prSet/>
      <dgm:spPr/>
      <dgm:t>
        <a:bodyPr/>
        <a:lstStyle/>
        <a:p>
          <a:endParaRPr lang="en-US"/>
        </a:p>
      </dgm:t>
    </dgm:pt>
    <dgm:pt modelId="{D7DB3305-DD78-4B08-A832-F5C0D0B87291}">
      <dgm:prSet phldrT="[Text]"/>
      <dgm:spPr/>
      <dgm:t>
        <a:bodyPr/>
        <a:lstStyle/>
        <a:p>
          <a:r>
            <a:rPr lang="en-US" dirty="0"/>
            <a:t>…</a:t>
          </a:r>
        </a:p>
      </dgm:t>
    </dgm:pt>
    <dgm:pt modelId="{ED127C44-C8D0-4F4B-AFCA-DF46736FEEB1}" type="parTrans" cxnId="{7DF1B728-0D7F-41B7-ACB3-C2F4D1D5A9BE}">
      <dgm:prSet/>
      <dgm:spPr/>
      <dgm:t>
        <a:bodyPr/>
        <a:lstStyle/>
        <a:p>
          <a:endParaRPr lang="en-US"/>
        </a:p>
      </dgm:t>
    </dgm:pt>
    <dgm:pt modelId="{D78B92C9-EC44-4CE9-84F1-D61F320CC2FA}" type="sibTrans" cxnId="{7DF1B728-0D7F-41B7-ACB3-C2F4D1D5A9BE}">
      <dgm:prSet/>
      <dgm:spPr/>
      <dgm:t>
        <a:bodyPr/>
        <a:lstStyle/>
        <a:p>
          <a:endParaRPr lang="en-US"/>
        </a:p>
      </dgm:t>
    </dgm:pt>
    <dgm:pt modelId="{D856B067-79C6-4D6D-B991-BE83914AFB3A}" type="pres">
      <dgm:prSet presAssocID="{6A7AEA03-215C-4B63-95BA-F7F437E87A6E}" presName="composite" presStyleCnt="0">
        <dgm:presLayoutVars>
          <dgm:chMax val="1"/>
          <dgm:dir/>
          <dgm:resizeHandles val="exact"/>
        </dgm:presLayoutVars>
      </dgm:prSet>
      <dgm:spPr/>
    </dgm:pt>
    <dgm:pt modelId="{A5E236C9-F075-4B20-809B-96A1EAADFB93}" type="pres">
      <dgm:prSet presAssocID="{C21FC538-EC4B-4858-8D7A-0F87D3F7C3B6}" presName="roof" presStyleLbl="dkBgShp" presStyleIdx="0" presStyleCnt="2" custScaleY="145389"/>
      <dgm:spPr/>
    </dgm:pt>
    <dgm:pt modelId="{A22A7FDE-E53F-4C33-8B3B-BFBF4E12B185}" type="pres">
      <dgm:prSet presAssocID="{C21FC538-EC4B-4858-8D7A-0F87D3F7C3B6}" presName="pillars" presStyleCnt="0"/>
      <dgm:spPr/>
    </dgm:pt>
    <dgm:pt modelId="{9EF5E2D7-033F-4DBF-AE33-F918BEEF7B50}" type="pres">
      <dgm:prSet presAssocID="{C21FC538-EC4B-4858-8D7A-0F87D3F7C3B6}" presName="pillar1" presStyleLbl="node1" presStyleIdx="0" presStyleCnt="4" custLinFactNeighborY="5038">
        <dgm:presLayoutVars>
          <dgm:bulletEnabled val="1"/>
        </dgm:presLayoutVars>
      </dgm:prSet>
      <dgm:spPr/>
    </dgm:pt>
    <dgm:pt modelId="{362084D0-18BB-4BD2-9ADE-7DA49FE976E1}" type="pres">
      <dgm:prSet presAssocID="{1E1A244E-B045-4F06-955A-B6A45AD24496}" presName="pillarX" presStyleLbl="node1" presStyleIdx="1" presStyleCnt="4" custLinFactNeighborY="5038">
        <dgm:presLayoutVars>
          <dgm:bulletEnabled val="1"/>
        </dgm:presLayoutVars>
      </dgm:prSet>
      <dgm:spPr/>
    </dgm:pt>
    <dgm:pt modelId="{B1DCB617-022C-46C5-9D19-5E7942F8FFED}" type="pres">
      <dgm:prSet presAssocID="{FBADE4C8-9A5F-46F8-9B2D-7A43A7CCC118}" presName="pillarX" presStyleLbl="node1" presStyleIdx="2" presStyleCnt="4" custLinFactNeighborY="5038">
        <dgm:presLayoutVars>
          <dgm:bulletEnabled val="1"/>
        </dgm:presLayoutVars>
      </dgm:prSet>
      <dgm:spPr/>
    </dgm:pt>
    <dgm:pt modelId="{5235E597-3D07-4886-8697-D7F082691EAB}" type="pres">
      <dgm:prSet presAssocID="{D7DB3305-DD78-4B08-A832-F5C0D0B87291}" presName="pillarX" presStyleLbl="node1" presStyleIdx="3" presStyleCnt="4" custLinFactNeighborY="5038">
        <dgm:presLayoutVars>
          <dgm:bulletEnabled val="1"/>
        </dgm:presLayoutVars>
      </dgm:prSet>
      <dgm:spPr/>
    </dgm:pt>
    <dgm:pt modelId="{2DA1031C-60B5-439E-9C70-7E0E1D5ACB01}" type="pres">
      <dgm:prSet presAssocID="{C21FC538-EC4B-4858-8D7A-0F87D3F7C3B6}" presName="base" presStyleLbl="dkBgShp" presStyleIdx="1" presStyleCnt="2"/>
      <dgm:spPr/>
    </dgm:pt>
  </dgm:ptLst>
  <dgm:cxnLst>
    <dgm:cxn modelId="{E3E12818-80B7-483F-82DE-567F90988312}" type="presOf" srcId="{1E1A244E-B045-4F06-955A-B6A45AD24496}" destId="{362084D0-18BB-4BD2-9ADE-7DA49FE976E1}" srcOrd="0" destOrd="0" presId="urn:microsoft.com/office/officeart/2005/8/layout/hList3"/>
    <dgm:cxn modelId="{7DF1B728-0D7F-41B7-ACB3-C2F4D1D5A9BE}" srcId="{C21FC538-EC4B-4858-8D7A-0F87D3F7C3B6}" destId="{D7DB3305-DD78-4B08-A832-F5C0D0B87291}" srcOrd="3" destOrd="0" parTransId="{ED127C44-C8D0-4F4B-AFCA-DF46736FEEB1}" sibTransId="{D78B92C9-EC44-4CE9-84F1-D61F320CC2FA}"/>
    <dgm:cxn modelId="{8BB2EC28-F958-4A46-ACF6-7275CDDDB12C}" srcId="{C21FC538-EC4B-4858-8D7A-0F87D3F7C3B6}" destId="{595BF806-883A-423F-BFE9-579E32902602}" srcOrd="0" destOrd="0" parTransId="{AA2C94A9-944E-4BF8-9BEC-69CBD102858D}" sibTransId="{0263D529-A16E-4124-B5C0-2C88AE68BBFD}"/>
    <dgm:cxn modelId="{8EA3503B-444C-4C55-B580-D7E1F253DE2D}" srcId="{C21FC538-EC4B-4858-8D7A-0F87D3F7C3B6}" destId="{1E1A244E-B045-4F06-955A-B6A45AD24496}" srcOrd="1" destOrd="0" parTransId="{0A85C941-4FB1-4851-8E92-59EC926938E4}" sibTransId="{A1D57419-1E40-439B-9F82-0819E9F308E5}"/>
    <dgm:cxn modelId="{048AA571-BDED-490D-B0D0-45C0A87085A2}" srcId="{C21FC538-EC4B-4858-8D7A-0F87D3F7C3B6}" destId="{FBADE4C8-9A5F-46F8-9B2D-7A43A7CCC118}" srcOrd="2" destOrd="0" parTransId="{B30FB9E2-D4F3-427C-82CC-F569E8FCACB6}" sibTransId="{FF9E2FF4-BDA8-49AC-9BA5-EEFDC02E4465}"/>
    <dgm:cxn modelId="{6DAEC175-84B8-41C1-B987-A4C924F53925}" type="presOf" srcId="{C21FC538-EC4B-4858-8D7A-0F87D3F7C3B6}" destId="{A5E236C9-F075-4B20-809B-96A1EAADFB93}" srcOrd="0" destOrd="0" presId="urn:microsoft.com/office/officeart/2005/8/layout/hList3"/>
    <dgm:cxn modelId="{D11C3EA0-E8FC-4783-BF40-1A2E4E068E1F}" type="presOf" srcId="{6A7AEA03-215C-4B63-95BA-F7F437E87A6E}" destId="{D856B067-79C6-4D6D-B991-BE83914AFB3A}" srcOrd="0" destOrd="0" presId="urn:microsoft.com/office/officeart/2005/8/layout/hList3"/>
    <dgm:cxn modelId="{00B8D3B7-5192-44C1-B6B7-B1BE33F7BA55}" type="presOf" srcId="{D7DB3305-DD78-4B08-A832-F5C0D0B87291}" destId="{5235E597-3D07-4886-8697-D7F082691EAB}" srcOrd="0" destOrd="0" presId="urn:microsoft.com/office/officeart/2005/8/layout/hList3"/>
    <dgm:cxn modelId="{26AF24C6-68CA-450E-99B4-3F1E88106BE8}" type="presOf" srcId="{FBADE4C8-9A5F-46F8-9B2D-7A43A7CCC118}" destId="{B1DCB617-022C-46C5-9D19-5E7942F8FFED}" srcOrd="0" destOrd="0" presId="urn:microsoft.com/office/officeart/2005/8/layout/hList3"/>
    <dgm:cxn modelId="{06201BEE-7D73-43A5-9394-3A13B5AFC38F}" srcId="{6A7AEA03-215C-4B63-95BA-F7F437E87A6E}" destId="{C21FC538-EC4B-4858-8D7A-0F87D3F7C3B6}" srcOrd="0" destOrd="0" parTransId="{863ECA5F-1E3A-4B53-A3A4-7A5E9344C5F7}" sibTransId="{74E407CE-153B-444C-A6D9-33E52FDB6BFC}"/>
    <dgm:cxn modelId="{F5ED5EF9-C0BC-4D90-B6F4-5FF716023ADE}" type="presOf" srcId="{595BF806-883A-423F-BFE9-579E32902602}" destId="{9EF5E2D7-033F-4DBF-AE33-F918BEEF7B50}" srcOrd="0" destOrd="0" presId="urn:microsoft.com/office/officeart/2005/8/layout/hList3"/>
    <dgm:cxn modelId="{D3C9082D-9542-4B0E-9E3E-0D300B442D7C}" type="presParOf" srcId="{D856B067-79C6-4D6D-B991-BE83914AFB3A}" destId="{A5E236C9-F075-4B20-809B-96A1EAADFB93}" srcOrd="0" destOrd="0" presId="urn:microsoft.com/office/officeart/2005/8/layout/hList3"/>
    <dgm:cxn modelId="{D68049B4-57D7-45F5-A1AE-E73F4E334D2D}" type="presParOf" srcId="{D856B067-79C6-4D6D-B991-BE83914AFB3A}" destId="{A22A7FDE-E53F-4C33-8B3B-BFBF4E12B185}" srcOrd="1" destOrd="0" presId="urn:microsoft.com/office/officeart/2005/8/layout/hList3"/>
    <dgm:cxn modelId="{76CA2E5C-F208-44CE-B244-E92ABE41D4CE}" type="presParOf" srcId="{A22A7FDE-E53F-4C33-8B3B-BFBF4E12B185}" destId="{9EF5E2D7-033F-4DBF-AE33-F918BEEF7B50}" srcOrd="0" destOrd="0" presId="urn:microsoft.com/office/officeart/2005/8/layout/hList3"/>
    <dgm:cxn modelId="{AB1CBDA7-1B3B-436E-99E1-D73B3EAF1D08}" type="presParOf" srcId="{A22A7FDE-E53F-4C33-8B3B-BFBF4E12B185}" destId="{362084D0-18BB-4BD2-9ADE-7DA49FE976E1}" srcOrd="1" destOrd="0" presId="urn:microsoft.com/office/officeart/2005/8/layout/hList3"/>
    <dgm:cxn modelId="{1D33B602-5066-445D-B564-C2E2531EF79E}" type="presParOf" srcId="{A22A7FDE-E53F-4C33-8B3B-BFBF4E12B185}" destId="{B1DCB617-022C-46C5-9D19-5E7942F8FFED}" srcOrd="2" destOrd="0" presId="urn:microsoft.com/office/officeart/2005/8/layout/hList3"/>
    <dgm:cxn modelId="{3EEA4A92-54FC-4EEF-9AFB-31D4F33AB4C0}" type="presParOf" srcId="{A22A7FDE-E53F-4C33-8B3B-BFBF4E12B185}" destId="{5235E597-3D07-4886-8697-D7F082691EAB}" srcOrd="3" destOrd="0" presId="urn:microsoft.com/office/officeart/2005/8/layout/hList3"/>
    <dgm:cxn modelId="{AD49188C-1695-4F66-B36F-C4F59A28C06F}" type="presParOf" srcId="{D856B067-79C6-4D6D-B991-BE83914AFB3A}" destId="{2DA1031C-60B5-439E-9C70-7E0E1D5ACB01}"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AFC52D53-AD3A-448B-9763-D6602FDEA86F}" type="doc">
      <dgm:prSet loTypeId="urn:microsoft.com/office/officeart/2005/8/layout/default" loCatId="list" qsTypeId="urn:microsoft.com/office/officeart/2005/8/quickstyle/simple4" qsCatId="simple" csTypeId="urn:microsoft.com/office/officeart/2005/8/colors/colorful5" csCatId="colorful" phldr="1"/>
      <dgm:spPr/>
      <dgm:t>
        <a:bodyPr/>
        <a:lstStyle/>
        <a:p>
          <a:endParaRPr lang="en-US"/>
        </a:p>
      </dgm:t>
    </dgm:pt>
    <dgm:pt modelId="{57B41EF0-ECF4-4A24-9B74-D3BB440479FB}">
      <dgm:prSet phldrT="[Text]"/>
      <dgm:spPr/>
      <dgm:t>
        <a:bodyPr/>
        <a:lstStyle/>
        <a:p>
          <a:r>
            <a:rPr lang="en-US" dirty="0"/>
            <a:t>Version (number)</a:t>
          </a:r>
          <a:br>
            <a:rPr lang="en-US" dirty="0"/>
          </a:br>
          <a:r>
            <a:rPr lang="en-US" dirty="0"/>
            <a:t>Hash of previous block</a:t>
          </a:r>
          <a:br>
            <a:rPr lang="en-US" dirty="0"/>
          </a:br>
          <a:r>
            <a:rPr lang="en-US" dirty="0" err="1"/>
            <a:t>Merkle</a:t>
          </a:r>
          <a:r>
            <a:rPr lang="en-US" dirty="0"/>
            <a:t> root (fingerprint of all transactions)</a:t>
          </a:r>
          <a:br>
            <a:rPr lang="en-US" dirty="0"/>
          </a:br>
          <a:r>
            <a:rPr lang="en-US" i="1" dirty="0"/>
            <a:t>Timestamp*</a:t>
          </a:r>
          <a:br>
            <a:rPr lang="en-US" i="1" dirty="0"/>
          </a:br>
          <a:r>
            <a:rPr lang="en-US" i="1" dirty="0"/>
            <a:t>Difficulty target*</a:t>
          </a:r>
          <a:br>
            <a:rPr lang="en-US" i="1" dirty="0"/>
          </a:br>
          <a:r>
            <a:rPr lang="en-US" i="1" dirty="0"/>
            <a:t>Nonce*</a:t>
          </a:r>
        </a:p>
      </dgm:t>
    </dgm:pt>
    <dgm:pt modelId="{192641D0-3686-49C4-95D3-9CE9582A65A1}" type="parTrans" cxnId="{DC640922-4BEA-42D0-8D81-86E404B84210}">
      <dgm:prSet/>
      <dgm:spPr/>
      <dgm:t>
        <a:bodyPr/>
        <a:lstStyle/>
        <a:p>
          <a:endParaRPr lang="en-US"/>
        </a:p>
      </dgm:t>
    </dgm:pt>
    <dgm:pt modelId="{56EB7188-2F18-4D46-B1B9-45AFE4CDE0E9}" type="sibTrans" cxnId="{DC640922-4BEA-42D0-8D81-86E404B84210}">
      <dgm:prSet/>
      <dgm:spPr/>
      <dgm:t>
        <a:bodyPr/>
        <a:lstStyle/>
        <a:p>
          <a:endParaRPr lang="en-US"/>
        </a:p>
      </dgm:t>
    </dgm:pt>
    <dgm:pt modelId="{85CE9B94-F93B-4E0A-AD70-4F81DE2189EB}" type="pres">
      <dgm:prSet presAssocID="{AFC52D53-AD3A-448B-9763-D6602FDEA86F}" presName="diagram" presStyleCnt="0">
        <dgm:presLayoutVars>
          <dgm:dir/>
          <dgm:resizeHandles val="exact"/>
        </dgm:presLayoutVars>
      </dgm:prSet>
      <dgm:spPr/>
    </dgm:pt>
    <dgm:pt modelId="{16DAB5AD-349B-415B-AC54-9EC1EEE41472}" type="pres">
      <dgm:prSet presAssocID="{57B41EF0-ECF4-4A24-9B74-D3BB440479FB}" presName="node" presStyleLbl="node1" presStyleIdx="0" presStyleCnt="1" custScaleX="149927" custLinFactNeighborX="-40675" custLinFactNeighborY="-3582">
        <dgm:presLayoutVars>
          <dgm:bulletEnabled val="1"/>
        </dgm:presLayoutVars>
      </dgm:prSet>
      <dgm:spPr/>
    </dgm:pt>
  </dgm:ptLst>
  <dgm:cxnLst>
    <dgm:cxn modelId="{72B28B21-E6B0-474F-B88A-C172A6D8598B}" type="presOf" srcId="{AFC52D53-AD3A-448B-9763-D6602FDEA86F}" destId="{85CE9B94-F93B-4E0A-AD70-4F81DE2189EB}" srcOrd="0" destOrd="0" presId="urn:microsoft.com/office/officeart/2005/8/layout/default"/>
    <dgm:cxn modelId="{DC640922-4BEA-42D0-8D81-86E404B84210}" srcId="{AFC52D53-AD3A-448B-9763-D6602FDEA86F}" destId="{57B41EF0-ECF4-4A24-9B74-D3BB440479FB}" srcOrd="0" destOrd="0" parTransId="{192641D0-3686-49C4-95D3-9CE9582A65A1}" sibTransId="{56EB7188-2F18-4D46-B1B9-45AFE4CDE0E9}"/>
    <dgm:cxn modelId="{EAD9B6AA-66A9-4689-BF77-1A6E8A78DACA}" type="presOf" srcId="{57B41EF0-ECF4-4A24-9B74-D3BB440479FB}" destId="{16DAB5AD-349B-415B-AC54-9EC1EEE41472}" srcOrd="0" destOrd="0" presId="urn:microsoft.com/office/officeart/2005/8/layout/default"/>
    <dgm:cxn modelId="{51B1C567-35D9-4421-9EBB-D05F39C43870}" type="presParOf" srcId="{85CE9B94-F93B-4E0A-AD70-4F81DE2189EB}" destId="{16DAB5AD-349B-415B-AC54-9EC1EEE41472}"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73C2FD64-A8AC-471A-A4FB-EAD1770EE5A0}" type="doc">
      <dgm:prSet loTypeId="urn:microsoft.com/office/officeart/2005/8/layout/default" loCatId="list" qsTypeId="urn:microsoft.com/office/officeart/2005/8/quickstyle/simple5" qsCatId="simple" csTypeId="urn:microsoft.com/office/officeart/2005/8/colors/colorful3" csCatId="colorful" phldr="1"/>
      <dgm:spPr/>
      <dgm:t>
        <a:bodyPr/>
        <a:lstStyle/>
        <a:p>
          <a:endParaRPr lang="en-US"/>
        </a:p>
      </dgm:t>
    </dgm:pt>
    <dgm:pt modelId="{5718D6F1-4EA1-4330-98B1-778206FB21AF}">
      <dgm:prSet phldrT="[Text]"/>
      <dgm:spPr/>
      <dgm:t>
        <a:bodyPr/>
        <a:lstStyle/>
        <a:p>
          <a:r>
            <a:rPr lang="en-US" dirty="0"/>
            <a:t>Tx1</a:t>
          </a:r>
        </a:p>
      </dgm:t>
    </dgm:pt>
    <dgm:pt modelId="{EA4182D2-CED0-47AC-B8DE-E3823FD08B83}" type="parTrans" cxnId="{4ADB4A86-F2DE-461C-8A25-AEE26C1D34E4}">
      <dgm:prSet/>
      <dgm:spPr/>
      <dgm:t>
        <a:bodyPr/>
        <a:lstStyle/>
        <a:p>
          <a:endParaRPr lang="en-US"/>
        </a:p>
      </dgm:t>
    </dgm:pt>
    <dgm:pt modelId="{1ADCCD6B-F86E-48F0-9526-71B81887D5AF}" type="sibTrans" cxnId="{4ADB4A86-F2DE-461C-8A25-AEE26C1D34E4}">
      <dgm:prSet/>
      <dgm:spPr/>
      <dgm:t>
        <a:bodyPr/>
        <a:lstStyle/>
        <a:p>
          <a:endParaRPr lang="en-US"/>
        </a:p>
      </dgm:t>
    </dgm:pt>
    <dgm:pt modelId="{94B3EADF-C268-4EA5-A4BE-52B9411D6F09}" type="pres">
      <dgm:prSet presAssocID="{73C2FD64-A8AC-471A-A4FB-EAD1770EE5A0}" presName="diagram" presStyleCnt="0">
        <dgm:presLayoutVars>
          <dgm:dir/>
          <dgm:resizeHandles val="exact"/>
        </dgm:presLayoutVars>
      </dgm:prSet>
      <dgm:spPr/>
    </dgm:pt>
    <dgm:pt modelId="{0FC98577-9720-4B53-BD8F-59407FA52E71}" type="pres">
      <dgm:prSet presAssocID="{5718D6F1-4EA1-4330-98B1-778206FB21AF}" presName="node" presStyleLbl="node1" presStyleIdx="0" presStyleCnt="1" custLinFactNeighborX="59616" custLinFactNeighborY="-6654">
        <dgm:presLayoutVars>
          <dgm:bulletEnabled val="1"/>
        </dgm:presLayoutVars>
      </dgm:prSet>
      <dgm:spPr/>
    </dgm:pt>
  </dgm:ptLst>
  <dgm:cxnLst>
    <dgm:cxn modelId="{019B8931-22CE-446D-9513-54BD577AB3D0}" type="presOf" srcId="{5718D6F1-4EA1-4330-98B1-778206FB21AF}" destId="{0FC98577-9720-4B53-BD8F-59407FA52E71}" srcOrd="0" destOrd="0" presId="urn:microsoft.com/office/officeart/2005/8/layout/default"/>
    <dgm:cxn modelId="{4ADB4A86-F2DE-461C-8A25-AEE26C1D34E4}" srcId="{73C2FD64-A8AC-471A-A4FB-EAD1770EE5A0}" destId="{5718D6F1-4EA1-4330-98B1-778206FB21AF}" srcOrd="0" destOrd="0" parTransId="{EA4182D2-CED0-47AC-B8DE-E3823FD08B83}" sibTransId="{1ADCCD6B-F86E-48F0-9526-71B81887D5AF}"/>
    <dgm:cxn modelId="{55FFC387-40D5-426B-95C4-B45A909E46EA}" type="presOf" srcId="{73C2FD64-A8AC-471A-A4FB-EAD1770EE5A0}" destId="{94B3EADF-C268-4EA5-A4BE-52B9411D6F09}" srcOrd="0" destOrd="0" presId="urn:microsoft.com/office/officeart/2005/8/layout/default"/>
    <dgm:cxn modelId="{D41C2444-9F7E-410D-849F-81F7DCCB3ED1}" type="presParOf" srcId="{94B3EADF-C268-4EA5-A4BE-52B9411D6F09}" destId="{0FC98577-9720-4B53-BD8F-59407FA52E71}"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58C174A1-3EF5-42C6-8B57-EAD84F5DFF59}"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543742FA-4399-40E0-9746-27877EE8B885}">
      <dgm:prSet phldrT="[Text]"/>
      <dgm:spPr/>
      <dgm:t>
        <a:bodyPr/>
        <a:lstStyle/>
        <a:p>
          <a:r>
            <a:rPr lang="en-US" dirty="0"/>
            <a:t>Block</a:t>
          </a:r>
        </a:p>
      </dgm:t>
    </dgm:pt>
    <dgm:pt modelId="{6C4C8B69-D09D-43C7-931A-5398ECC2F700}" type="parTrans" cxnId="{AD159B21-A7C2-468C-A375-41DDAB546AEE}">
      <dgm:prSet/>
      <dgm:spPr/>
      <dgm:t>
        <a:bodyPr/>
        <a:lstStyle/>
        <a:p>
          <a:endParaRPr lang="en-US"/>
        </a:p>
      </dgm:t>
    </dgm:pt>
    <dgm:pt modelId="{096F9312-E6DC-424C-A2EF-78D8BA2E432F}" type="sibTrans" cxnId="{AD159B21-A7C2-468C-A375-41DDAB546AEE}">
      <dgm:prSet/>
      <dgm:spPr/>
      <dgm:t>
        <a:bodyPr/>
        <a:lstStyle/>
        <a:p>
          <a:endParaRPr lang="en-US"/>
        </a:p>
      </dgm:t>
    </dgm:pt>
    <dgm:pt modelId="{608813BC-EED7-4242-B8A9-C6DA8F96BB52}">
      <dgm:prSet phldrT="[Text]"/>
      <dgm:spPr/>
      <dgm:t>
        <a:bodyPr/>
        <a:lstStyle/>
        <a:p>
          <a:r>
            <a:rPr lang="en-US" dirty="0"/>
            <a:t>TX1</a:t>
          </a:r>
        </a:p>
      </dgm:t>
    </dgm:pt>
    <dgm:pt modelId="{8AE6E69C-30DC-4A6A-940D-228057C8C075}" type="parTrans" cxnId="{34C8151A-C238-45C0-98D6-9A7EC9FE8E24}">
      <dgm:prSet/>
      <dgm:spPr/>
      <dgm:t>
        <a:bodyPr/>
        <a:lstStyle/>
        <a:p>
          <a:endParaRPr lang="en-US"/>
        </a:p>
      </dgm:t>
    </dgm:pt>
    <dgm:pt modelId="{38C1950F-1A77-4507-8751-52F551AA0F02}" type="sibTrans" cxnId="{34C8151A-C238-45C0-98D6-9A7EC9FE8E24}">
      <dgm:prSet/>
      <dgm:spPr/>
      <dgm:t>
        <a:bodyPr/>
        <a:lstStyle/>
        <a:p>
          <a:endParaRPr lang="en-US"/>
        </a:p>
      </dgm:t>
    </dgm:pt>
    <dgm:pt modelId="{145FB613-B642-4570-B65B-27F2755018EF}">
      <dgm:prSet phldrT="[Text]"/>
      <dgm:spPr/>
      <dgm:t>
        <a:bodyPr/>
        <a:lstStyle/>
        <a:p>
          <a:r>
            <a:rPr lang="en-US" dirty="0"/>
            <a:t>TX2</a:t>
          </a:r>
        </a:p>
      </dgm:t>
    </dgm:pt>
    <dgm:pt modelId="{F20816CA-1C13-4587-BB98-368CD52FD80A}" type="parTrans" cxnId="{CEAEB131-DF6D-4CA0-A58E-5E370EA0CCA1}">
      <dgm:prSet/>
      <dgm:spPr/>
      <dgm:t>
        <a:bodyPr/>
        <a:lstStyle/>
        <a:p>
          <a:endParaRPr lang="en-US"/>
        </a:p>
      </dgm:t>
    </dgm:pt>
    <dgm:pt modelId="{84C470BC-F61D-45DE-B7F0-19123D3FDF8D}" type="sibTrans" cxnId="{CEAEB131-DF6D-4CA0-A58E-5E370EA0CCA1}">
      <dgm:prSet/>
      <dgm:spPr/>
      <dgm:t>
        <a:bodyPr/>
        <a:lstStyle/>
        <a:p>
          <a:endParaRPr lang="en-US"/>
        </a:p>
      </dgm:t>
    </dgm:pt>
    <dgm:pt modelId="{E8D2FEF5-904F-4A9E-8A33-8FF546173AD0}">
      <dgm:prSet phldrT="[Text]"/>
      <dgm:spPr/>
      <dgm:t>
        <a:bodyPr/>
        <a:lstStyle/>
        <a:p>
          <a:r>
            <a:rPr lang="en-US" dirty="0"/>
            <a:t>TX3</a:t>
          </a:r>
        </a:p>
      </dgm:t>
    </dgm:pt>
    <dgm:pt modelId="{AB92E484-1B38-4A4B-B748-9229E6ACED98}" type="parTrans" cxnId="{857623AE-21EE-4CD1-AC52-B86CB14D3C06}">
      <dgm:prSet/>
      <dgm:spPr/>
      <dgm:t>
        <a:bodyPr/>
        <a:lstStyle/>
        <a:p>
          <a:endParaRPr lang="en-US"/>
        </a:p>
      </dgm:t>
    </dgm:pt>
    <dgm:pt modelId="{6578E2DE-80D7-4A05-A214-5CC4E18B4845}" type="sibTrans" cxnId="{857623AE-21EE-4CD1-AC52-B86CB14D3C06}">
      <dgm:prSet/>
      <dgm:spPr/>
      <dgm:t>
        <a:bodyPr/>
        <a:lstStyle/>
        <a:p>
          <a:endParaRPr lang="en-US"/>
        </a:p>
      </dgm:t>
    </dgm:pt>
    <dgm:pt modelId="{F69ED84A-B809-4320-A19F-A197BAD3665C}">
      <dgm:prSet phldrT="[Text]"/>
      <dgm:spPr/>
      <dgm:t>
        <a:bodyPr/>
        <a:lstStyle/>
        <a:p>
          <a:r>
            <a:rPr lang="en-US" dirty="0"/>
            <a:t>TX4</a:t>
          </a:r>
        </a:p>
      </dgm:t>
    </dgm:pt>
    <dgm:pt modelId="{876B4835-77CE-4FE9-A864-5FA7596FAB31}" type="parTrans" cxnId="{5901B02B-6675-4FE2-8D96-3FF5897A48E9}">
      <dgm:prSet/>
      <dgm:spPr/>
      <dgm:t>
        <a:bodyPr/>
        <a:lstStyle/>
        <a:p>
          <a:endParaRPr lang="en-US"/>
        </a:p>
      </dgm:t>
    </dgm:pt>
    <dgm:pt modelId="{DFDD9891-F84C-40FB-9FC3-E83E1A2B3794}" type="sibTrans" cxnId="{5901B02B-6675-4FE2-8D96-3FF5897A48E9}">
      <dgm:prSet/>
      <dgm:spPr/>
      <dgm:t>
        <a:bodyPr/>
        <a:lstStyle/>
        <a:p>
          <a:endParaRPr lang="en-US"/>
        </a:p>
      </dgm:t>
    </dgm:pt>
    <dgm:pt modelId="{24C99585-75E2-4B9D-9D81-B4AE353B595D}">
      <dgm:prSet phldrT="[Text]"/>
      <dgm:spPr/>
      <dgm:t>
        <a:bodyPr/>
        <a:lstStyle/>
        <a:p>
          <a:r>
            <a:rPr lang="en-US" dirty="0"/>
            <a:t>TX5</a:t>
          </a:r>
        </a:p>
      </dgm:t>
    </dgm:pt>
    <dgm:pt modelId="{2EA844B9-197B-4EBF-B6C4-2EBB66BDCB17}" type="parTrans" cxnId="{CB290D39-2E1C-421B-80F4-A1DED5F33B0C}">
      <dgm:prSet/>
      <dgm:spPr/>
      <dgm:t>
        <a:bodyPr/>
        <a:lstStyle/>
        <a:p>
          <a:endParaRPr lang="en-US"/>
        </a:p>
      </dgm:t>
    </dgm:pt>
    <dgm:pt modelId="{8AB73B3F-A0F1-4A54-B024-5C98EC3D7A8E}" type="sibTrans" cxnId="{CB290D39-2E1C-421B-80F4-A1DED5F33B0C}">
      <dgm:prSet/>
      <dgm:spPr/>
      <dgm:t>
        <a:bodyPr/>
        <a:lstStyle/>
        <a:p>
          <a:endParaRPr lang="en-US"/>
        </a:p>
      </dgm:t>
    </dgm:pt>
    <dgm:pt modelId="{B9FC7B13-3E57-4D32-BF3E-FAC9D251BC35}" type="pres">
      <dgm:prSet presAssocID="{58C174A1-3EF5-42C6-8B57-EAD84F5DFF59}" presName="diagram" presStyleCnt="0">
        <dgm:presLayoutVars>
          <dgm:dir/>
          <dgm:resizeHandles val="exact"/>
        </dgm:presLayoutVars>
      </dgm:prSet>
      <dgm:spPr/>
    </dgm:pt>
    <dgm:pt modelId="{9A6B6FDF-20A3-4877-A2D1-0718E6509028}" type="pres">
      <dgm:prSet presAssocID="{543742FA-4399-40E0-9746-27877EE8B885}" presName="node" presStyleLbl="node1" presStyleIdx="0" presStyleCnt="1" custScaleY="286157" custLinFactNeighborX="45652" custLinFactNeighborY="0">
        <dgm:presLayoutVars>
          <dgm:bulletEnabled val="1"/>
        </dgm:presLayoutVars>
      </dgm:prSet>
      <dgm:spPr/>
    </dgm:pt>
  </dgm:ptLst>
  <dgm:cxnLst>
    <dgm:cxn modelId="{3992690C-7543-466C-A1D3-D1401C7B3CA5}" type="presOf" srcId="{F69ED84A-B809-4320-A19F-A197BAD3665C}" destId="{9A6B6FDF-20A3-4877-A2D1-0718E6509028}" srcOrd="0" destOrd="4" presId="urn:microsoft.com/office/officeart/2005/8/layout/default"/>
    <dgm:cxn modelId="{256C4011-CA89-425B-8052-7EEC3BDFB729}" type="presOf" srcId="{608813BC-EED7-4242-B8A9-C6DA8F96BB52}" destId="{9A6B6FDF-20A3-4877-A2D1-0718E6509028}" srcOrd="0" destOrd="1" presId="urn:microsoft.com/office/officeart/2005/8/layout/default"/>
    <dgm:cxn modelId="{34C8151A-C238-45C0-98D6-9A7EC9FE8E24}" srcId="{543742FA-4399-40E0-9746-27877EE8B885}" destId="{608813BC-EED7-4242-B8A9-C6DA8F96BB52}" srcOrd="0" destOrd="0" parTransId="{8AE6E69C-30DC-4A6A-940D-228057C8C075}" sibTransId="{38C1950F-1A77-4507-8751-52F551AA0F02}"/>
    <dgm:cxn modelId="{AD159B21-A7C2-468C-A375-41DDAB546AEE}" srcId="{58C174A1-3EF5-42C6-8B57-EAD84F5DFF59}" destId="{543742FA-4399-40E0-9746-27877EE8B885}" srcOrd="0" destOrd="0" parTransId="{6C4C8B69-D09D-43C7-931A-5398ECC2F700}" sibTransId="{096F9312-E6DC-424C-A2EF-78D8BA2E432F}"/>
    <dgm:cxn modelId="{DF60DE2A-611E-4B92-927D-B7513FE02FCA}" type="presOf" srcId="{58C174A1-3EF5-42C6-8B57-EAD84F5DFF59}" destId="{B9FC7B13-3E57-4D32-BF3E-FAC9D251BC35}" srcOrd="0" destOrd="0" presId="urn:microsoft.com/office/officeart/2005/8/layout/default"/>
    <dgm:cxn modelId="{5901B02B-6675-4FE2-8D96-3FF5897A48E9}" srcId="{543742FA-4399-40E0-9746-27877EE8B885}" destId="{F69ED84A-B809-4320-A19F-A197BAD3665C}" srcOrd="3" destOrd="0" parTransId="{876B4835-77CE-4FE9-A864-5FA7596FAB31}" sibTransId="{DFDD9891-F84C-40FB-9FC3-E83E1A2B3794}"/>
    <dgm:cxn modelId="{CEAEB131-DF6D-4CA0-A58E-5E370EA0CCA1}" srcId="{543742FA-4399-40E0-9746-27877EE8B885}" destId="{145FB613-B642-4570-B65B-27F2755018EF}" srcOrd="1" destOrd="0" parTransId="{F20816CA-1C13-4587-BB98-368CD52FD80A}" sibTransId="{84C470BC-F61D-45DE-B7F0-19123D3FDF8D}"/>
    <dgm:cxn modelId="{DCFE9338-6679-41B3-A6EA-F5FE0A6EC2D2}" type="presOf" srcId="{145FB613-B642-4570-B65B-27F2755018EF}" destId="{9A6B6FDF-20A3-4877-A2D1-0718E6509028}" srcOrd="0" destOrd="2" presId="urn:microsoft.com/office/officeart/2005/8/layout/default"/>
    <dgm:cxn modelId="{CB290D39-2E1C-421B-80F4-A1DED5F33B0C}" srcId="{543742FA-4399-40E0-9746-27877EE8B885}" destId="{24C99585-75E2-4B9D-9D81-B4AE353B595D}" srcOrd="4" destOrd="0" parTransId="{2EA844B9-197B-4EBF-B6C4-2EBB66BDCB17}" sibTransId="{8AB73B3F-A0F1-4A54-B024-5C98EC3D7A8E}"/>
    <dgm:cxn modelId="{D8140984-D71F-425C-89E4-94720AA3DF31}" type="presOf" srcId="{543742FA-4399-40E0-9746-27877EE8B885}" destId="{9A6B6FDF-20A3-4877-A2D1-0718E6509028}" srcOrd="0" destOrd="0" presId="urn:microsoft.com/office/officeart/2005/8/layout/default"/>
    <dgm:cxn modelId="{857623AE-21EE-4CD1-AC52-B86CB14D3C06}" srcId="{543742FA-4399-40E0-9746-27877EE8B885}" destId="{E8D2FEF5-904F-4A9E-8A33-8FF546173AD0}" srcOrd="2" destOrd="0" parTransId="{AB92E484-1B38-4A4B-B748-9229E6ACED98}" sibTransId="{6578E2DE-80D7-4A05-A214-5CC4E18B4845}"/>
    <dgm:cxn modelId="{9CB878AF-61C6-4D3D-900E-9567FF2A25A6}" type="presOf" srcId="{E8D2FEF5-904F-4A9E-8A33-8FF546173AD0}" destId="{9A6B6FDF-20A3-4877-A2D1-0718E6509028}" srcOrd="0" destOrd="3" presId="urn:microsoft.com/office/officeart/2005/8/layout/default"/>
    <dgm:cxn modelId="{8C3276F5-280E-4CD7-9706-1E9E4037E8F3}" type="presOf" srcId="{24C99585-75E2-4B9D-9D81-B4AE353B595D}" destId="{9A6B6FDF-20A3-4877-A2D1-0718E6509028}" srcOrd="0" destOrd="5" presId="urn:microsoft.com/office/officeart/2005/8/layout/default"/>
    <dgm:cxn modelId="{ECE839CB-EA86-42F0-82F8-00E429B4D841}" type="presParOf" srcId="{B9FC7B13-3E57-4D32-BF3E-FAC9D251BC35}" destId="{9A6B6FDF-20A3-4877-A2D1-0718E6509028}" srcOrd="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19AD8E7-DA85-4C98-9A55-52A9188D6D04}" type="doc">
      <dgm:prSet loTypeId="urn:microsoft.com/office/officeart/2005/8/layout/process5" loCatId="process" qsTypeId="urn:microsoft.com/office/officeart/2005/8/quickstyle/simple5" qsCatId="simple" csTypeId="urn:microsoft.com/office/officeart/2005/8/colors/colorful5" csCatId="colorful" phldr="1"/>
      <dgm:spPr/>
      <dgm:t>
        <a:bodyPr/>
        <a:lstStyle/>
        <a:p>
          <a:endParaRPr lang="en-US"/>
        </a:p>
      </dgm:t>
    </dgm:pt>
    <dgm:pt modelId="{7E916C26-3F25-41C2-A46C-B41844329016}">
      <dgm:prSet phldrT="[Text]"/>
      <dgm:spPr/>
      <dgm:t>
        <a:bodyPr/>
        <a:lstStyle/>
        <a:p>
          <a:r>
            <a:rPr lang="en-US" dirty="0"/>
            <a:t>Block 4</a:t>
          </a:r>
        </a:p>
      </dgm:t>
    </dgm:pt>
    <dgm:pt modelId="{E5F12A20-90EF-48CE-B454-B4E3296C5128}" type="parTrans" cxnId="{10692ECB-CE37-48BE-A7AB-DAAB26AF2233}">
      <dgm:prSet/>
      <dgm:spPr/>
      <dgm:t>
        <a:bodyPr/>
        <a:lstStyle/>
        <a:p>
          <a:endParaRPr lang="en-US"/>
        </a:p>
      </dgm:t>
    </dgm:pt>
    <dgm:pt modelId="{5FE072CC-9190-4957-B3C6-993807B2CB81}" type="sibTrans" cxnId="{10692ECB-CE37-48BE-A7AB-DAAB26AF2233}">
      <dgm:prSet/>
      <dgm:spPr/>
      <dgm:t>
        <a:bodyPr/>
        <a:lstStyle/>
        <a:p>
          <a:endParaRPr lang="en-US"/>
        </a:p>
      </dgm:t>
    </dgm:pt>
    <dgm:pt modelId="{65A39311-3078-4E4D-B5D8-860748C68A4D}">
      <dgm:prSet phldrT="[Text]"/>
      <dgm:spPr/>
      <dgm:t>
        <a:bodyPr/>
        <a:lstStyle/>
        <a:p>
          <a:r>
            <a:rPr lang="en-US" dirty="0"/>
            <a:t>Block 3</a:t>
          </a:r>
        </a:p>
      </dgm:t>
    </dgm:pt>
    <dgm:pt modelId="{5926CB4C-638C-4C87-8B82-84029A8B58D5}" type="parTrans" cxnId="{98B53AC1-475B-4337-B405-4AC96B247CBA}">
      <dgm:prSet/>
      <dgm:spPr/>
      <dgm:t>
        <a:bodyPr/>
        <a:lstStyle/>
        <a:p>
          <a:endParaRPr lang="en-US"/>
        </a:p>
      </dgm:t>
    </dgm:pt>
    <dgm:pt modelId="{73BB8396-8C2A-4A06-8F2F-46A5FAAF4D4E}" type="sibTrans" cxnId="{98B53AC1-475B-4337-B405-4AC96B247CBA}">
      <dgm:prSet/>
      <dgm:spPr/>
      <dgm:t>
        <a:bodyPr/>
        <a:lstStyle/>
        <a:p>
          <a:endParaRPr lang="en-US"/>
        </a:p>
      </dgm:t>
    </dgm:pt>
    <dgm:pt modelId="{A9D728AA-50D2-43AD-9C73-1183794AFA11}">
      <dgm:prSet phldrT="[Text]"/>
      <dgm:spPr/>
      <dgm:t>
        <a:bodyPr/>
        <a:lstStyle/>
        <a:p>
          <a:r>
            <a:rPr lang="en-US" dirty="0"/>
            <a:t>Block 2</a:t>
          </a:r>
        </a:p>
      </dgm:t>
    </dgm:pt>
    <dgm:pt modelId="{31FB9B22-DB46-4400-914C-D74CFC1E283F}" type="parTrans" cxnId="{8ECE5152-50A6-492A-ADC1-AEED5AAD0F34}">
      <dgm:prSet/>
      <dgm:spPr/>
      <dgm:t>
        <a:bodyPr/>
        <a:lstStyle/>
        <a:p>
          <a:endParaRPr lang="en-US"/>
        </a:p>
      </dgm:t>
    </dgm:pt>
    <dgm:pt modelId="{5B46D43D-6E0C-4111-AA0D-CE03E7245CC3}" type="sibTrans" cxnId="{8ECE5152-50A6-492A-ADC1-AEED5AAD0F34}">
      <dgm:prSet/>
      <dgm:spPr/>
      <dgm:t>
        <a:bodyPr/>
        <a:lstStyle/>
        <a:p>
          <a:endParaRPr lang="en-US"/>
        </a:p>
      </dgm:t>
    </dgm:pt>
    <dgm:pt modelId="{94B9A7C6-EFF0-4389-A8DB-FDD1E11D42AC}">
      <dgm:prSet phldrT="[Text]"/>
      <dgm:spPr/>
      <dgm:t>
        <a:bodyPr/>
        <a:lstStyle/>
        <a:p>
          <a:r>
            <a:rPr lang="en-US" dirty="0"/>
            <a:t>Block 1</a:t>
          </a:r>
        </a:p>
      </dgm:t>
    </dgm:pt>
    <dgm:pt modelId="{E8904130-46B0-4ED1-BEBF-756E05108EE6}" type="parTrans" cxnId="{E8E4F6B5-7350-494A-B3EE-A9D2040DE339}">
      <dgm:prSet/>
      <dgm:spPr/>
      <dgm:t>
        <a:bodyPr/>
        <a:lstStyle/>
        <a:p>
          <a:endParaRPr lang="en-US"/>
        </a:p>
      </dgm:t>
    </dgm:pt>
    <dgm:pt modelId="{2283EC59-DCB1-4871-B73F-3662475554E8}" type="sibTrans" cxnId="{E8E4F6B5-7350-494A-B3EE-A9D2040DE339}">
      <dgm:prSet/>
      <dgm:spPr/>
      <dgm:t>
        <a:bodyPr/>
        <a:lstStyle/>
        <a:p>
          <a:endParaRPr lang="en-US"/>
        </a:p>
      </dgm:t>
    </dgm:pt>
    <dgm:pt modelId="{614FF907-DE96-4F53-891F-12F3087F1A7C}">
      <dgm:prSet phldrT="[Text]"/>
      <dgm:spPr/>
      <dgm:t>
        <a:bodyPr/>
        <a:lstStyle/>
        <a:p>
          <a:r>
            <a:rPr lang="en-US" dirty="0"/>
            <a:t>Block 0</a:t>
          </a:r>
        </a:p>
      </dgm:t>
    </dgm:pt>
    <dgm:pt modelId="{0A2089F5-FDD9-4586-AE2B-36EA442159B3}" type="parTrans" cxnId="{038740BC-7057-4E45-A6C0-8143372B7DEC}">
      <dgm:prSet/>
      <dgm:spPr/>
      <dgm:t>
        <a:bodyPr/>
        <a:lstStyle/>
        <a:p>
          <a:endParaRPr lang="en-US"/>
        </a:p>
      </dgm:t>
    </dgm:pt>
    <dgm:pt modelId="{ABFC60B6-3E60-47F6-A113-3FBB4C9F2239}" type="sibTrans" cxnId="{038740BC-7057-4E45-A6C0-8143372B7DEC}">
      <dgm:prSet/>
      <dgm:spPr/>
      <dgm:t>
        <a:bodyPr/>
        <a:lstStyle/>
        <a:p>
          <a:endParaRPr lang="en-US"/>
        </a:p>
      </dgm:t>
    </dgm:pt>
    <dgm:pt modelId="{7D0C889B-5249-438C-BC9B-2C476521AE10}" type="pres">
      <dgm:prSet presAssocID="{219AD8E7-DA85-4C98-9A55-52A9188D6D04}" presName="diagram" presStyleCnt="0">
        <dgm:presLayoutVars>
          <dgm:dir/>
          <dgm:resizeHandles val="exact"/>
        </dgm:presLayoutVars>
      </dgm:prSet>
      <dgm:spPr/>
    </dgm:pt>
    <dgm:pt modelId="{C6E28224-E15C-4D1F-B2C0-F33C74DE4695}" type="pres">
      <dgm:prSet presAssocID="{7E916C26-3F25-41C2-A46C-B41844329016}" presName="node" presStyleLbl="node1" presStyleIdx="0" presStyleCnt="5">
        <dgm:presLayoutVars>
          <dgm:bulletEnabled val="1"/>
        </dgm:presLayoutVars>
      </dgm:prSet>
      <dgm:spPr/>
    </dgm:pt>
    <dgm:pt modelId="{940471B9-744B-4D9B-A499-A763A7DF19C0}" type="pres">
      <dgm:prSet presAssocID="{5FE072CC-9190-4957-B3C6-993807B2CB81}" presName="sibTrans" presStyleLbl="sibTrans2D1" presStyleIdx="0" presStyleCnt="4"/>
      <dgm:spPr/>
    </dgm:pt>
    <dgm:pt modelId="{19CE0BA4-2485-4F1F-BFF7-56A8CC02EF3A}" type="pres">
      <dgm:prSet presAssocID="{5FE072CC-9190-4957-B3C6-993807B2CB81}" presName="connectorText" presStyleLbl="sibTrans2D1" presStyleIdx="0" presStyleCnt="4"/>
      <dgm:spPr/>
    </dgm:pt>
    <dgm:pt modelId="{7C2E10AC-59E7-4CD2-9387-A79414701974}" type="pres">
      <dgm:prSet presAssocID="{65A39311-3078-4E4D-B5D8-860748C68A4D}" presName="node" presStyleLbl="node1" presStyleIdx="1" presStyleCnt="5">
        <dgm:presLayoutVars>
          <dgm:bulletEnabled val="1"/>
        </dgm:presLayoutVars>
      </dgm:prSet>
      <dgm:spPr/>
    </dgm:pt>
    <dgm:pt modelId="{F838F4A0-E84C-433C-8DB8-4832537345A3}" type="pres">
      <dgm:prSet presAssocID="{73BB8396-8C2A-4A06-8F2F-46A5FAAF4D4E}" presName="sibTrans" presStyleLbl="sibTrans2D1" presStyleIdx="1" presStyleCnt="4"/>
      <dgm:spPr/>
    </dgm:pt>
    <dgm:pt modelId="{B0F52ED5-E972-42E1-AA6D-80B61593567E}" type="pres">
      <dgm:prSet presAssocID="{73BB8396-8C2A-4A06-8F2F-46A5FAAF4D4E}" presName="connectorText" presStyleLbl="sibTrans2D1" presStyleIdx="1" presStyleCnt="4"/>
      <dgm:spPr/>
    </dgm:pt>
    <dgm:pt modelId="{B8517952-6C83-4CCC-8EC4-6EAB65C2FF1C}" type="pres">
      <dgm:prSet presAssocID="{A9D728AA-50D2-43AD-9C73-1183794AFA11}" presName="node" presStyleLbl="node1" presStyleIdx="2" presStyleCnt="5">
        <dgm:presLayoutVars>
          <dgm:bulletEnabled val="1"/>
        </dgm:presLayoutVars>
      </dgm:prSet>
      <dgm:spPr/>
    </dgm:pt>
    <dgm:pt modelId="{8F721480-5647-4B1F-9333-2CB93EF5DE18}" type="pres">
      <dgm:prSet presAssocID="{5B46D43D-6E0C-4111-AA0D-CE03E7245CC3}" presName="sibTrans" presStyleLbl="sibTrans2D1" presStyleIdx="2" presStyleCnt="4"/>
      <dgm:spPr/>
    </dgm:pt>
    <dgm:pt modelId="{0BB76A35-4280-4ED0-AB3F-69FD87C2BFE1}" type="pres">
      <dgm:prSet presAssocID="{5B46D43D-6E0C-4111-AA0D-CE03E7245CC3}" presName="connectorText" presStyleLbl="sibTrans2D1" presStyleIdx="2" presStyleCnt="4"/>
      <dgm:spPr/>
    </dgm:pt>
    <dgm:pt modelId="{2C38D92E-C86A-4C42-A8BF-5157757EBEEA}" type="pres">
      <dgm:prSet presAssocID="{94B9A7C6-EFF0-4389-A8DB-FDD1E11D42AC}" presName="node" presStyleLbl="node1" presStyleIdx="3" presStyleCnt="5">
        <dgm:presLayoutVars>
          <dgm:bulletEnabled val="1"/>
        </dgm:presLayoutVars>
      </dgm:prSet>
      <dgm:spPr/>
    </dgm:pt>
    <dgm:pt modelId="{9228D13A-DF69-4910-99BD-6983DEB0B6FE}" type="pres">
      <dgm:prSet presAssocID="{2283EC59-DCB1-4871-B73F-3662475554E8}" presName="sibTrans" presStyleLbl="sibTrans2D1" presStyleIdx="3" presStyleCnt="4"/>
      <dgm:spPr/>
    </dgm:pt>
    <dgm:pt modelId="{2DE6B191-F15C-4E42-A883-2D97D0AFF09F}" type="pres">
      <dgm:prSet presAssocID="{2283EC59-DCB1-4871-B73F-3662475554E8}" presName="connectorText" presStyleLbl="sibTrans2D1" presStyleIdx="3" presStyleCnt="4"/>
      <dgm:spPr/>
    </dgm:pt>
    <dgm:pt modelId="{60E64AD6-BD96-4696-9E4A-3DADEE55E866}" type="pres">
      <dgm:prSet presAssocID="{614FF907-DE96-4F53-891F-12F3087F1A7C}" presName="node" presStyleLbl="node1" presStyleIdx="4" presStyleCnt="5">
        <dgm:presLayoutVars>
          <dgm:bulletEnabled val="1"/>
        </dgm:presLayoutVars>
      </dgm:prSet>
      <dgm:spPr/>
    </dgm:pt>
  </dgm:ptLst>
  <dgm:cxnLst>
    <dgm:cxn modelId="{69C86E22-B51D-45C2-9478-B1246B433F13}" type="presOf" srcId="{7E916C26-3F25-41C2-A46C-B41844329016}" destId="{C6E28224-E15C-4D1F-B2C0-F33C74DE4695}" srcOrd="0" destOrd="0" presId="urn:microsoft.com/office/officeart/2005/8/layout/process5"/>
    <dgm:cxn modelId="{079FB822-E7DA-4D44-8AD2-7808B2C7890A}" type="presOf" srcId="{614FF907-DE96-4F53-891F-12F3087F1A7C}" destId="{60E64AD6-BD96-4696-9E4A-3DADEE55E866}" srcOrd="0" destOrd="0" presId="urn:microsoft.com/office/officeart/2005/8/layout/process5"/>
    <dgm:cxn modelId="{77F1D128-CCB5-43AC-B857-79B94FE2CA14}" type="presOf" srcId="{5B46D43D-6E0C-4111-AA0D-CE03E7245CC3}" destId="{0BB76A35-4280-4ED0-AB3F-69FD87C2BFE1}" srcOrd="1" destOrd="0" presId="urn:microsoft.com/office/officeart/2005/8/layout/process5"/>
    <dgm:cxn modelId="{A282873D-1753-49D3-8680-12BF2A208B3E}" type="presOf" srcId="{5B46D43D-6E0C-4111-AA0D-CE03E7245CC3}" destId="{8F721480-5647-4B1F-9333-2CB93EF5DE18}" srcOrd="0" destOrd="0" presId="urn:microsoft.com/office/officeart/2005/8/layout/process5"/>
    <dgm:cxn modelId="{8ECE5152-50A6-492A-ADC1-AEED5AAD0F34}" srcId="{219AD8E7-DA85-4C98-9A55-52A9188D6D04}" destId="{A9D728AA-50D2-43AD-9C73-1183794AFA11}" srcOrd="2" destOrd="0" parTransId="{31FB9B22-DB46-4400-914C-D74CFC1E283F}" sibTransId="{5B46D43D-6E0C-4111-AA0D-CE03E7245CC3}"/>
    <dgm:cxn modelId="{000DEB86-1CB8-46C1-ADF3-863F17DA17D4}" type="presOf" srcId="{2283EC59-DCB1-4871-B73F-3662475554E8}" destId="{9228D13A-DF69-4910-99BD-6983DEB0B6FE}" srcOrd="0" destOrd="0" presId="urn:microsoft.com/office/officeart/2005/8/layout/process5"/>
    <dgm:cxn modelId="{56A86C8E-8B19-445F-9810-CDFB64B0ED86}" type="presOf" srcId="{5FE072CC-9190-4957-B3C6-993807B2CB81}" destId="{940471B9-744B-4D9B-A499-A763A7DF19C0}" srcOrd="0" destOrd="0" presId="urn:microsoft.com/office/officeart/2005/8/layout/process5"/>
    <dgm:cxn modelId="{40E25D94-1BF2-43CD-A1BF-F2B62FD74A7B}" type="presOf" srcId="{219AD8E7-DA85-4C98-9A55-52A9188D6D04}" destId="{7D0C889B-5249-438C-BC9B-2C476521AE10}" srcOrd="0" destOrd="0" presId="urn:microsoft.com/office/officeart/2005/8/layout/process5"/>
    <dgm:cxn modelId="{0A820EA3-7BC2-4BBB-87B2-E94F1A049035}" type="presOf" srcId="{5FE072CC-9190-4957-B3C6-993807B2CB81}" destId="{19CE0BA4-2485-4F1F-BFF7-56A8CC02EF3A}" srcOrd="1" destOrd="0" presId="urn:microsoft.com/office/officeart/2005/8/layout/process5"/>
    <dgm:cxn modelId="{E8E4F6B5-7350-494A-B3EE-A9D2040DE339}" srcId="{219AD8E7-DA85-4C98-9A55-52A9188D6D04}" destId="{94B9A7C6-EFF0-4389-A8DB-FDD1E11D42AC}" srcOrd="3" destOrd="0" parTransId="{E8904130-46B0-4ED1-BEBF-756E05108EE6}" sibTransId="{2283EC59-DCB1-4871-B73F-3662475554E8}"/>
    <dgm:cxn modelId="{038740BC-7057-4E45-A6C0-8143372B7DEC}" srcId="{219AD8E7-DA85-4C98-9A55-52A9188D6D04}" destId="{614FF907-DE96-4F53-891F-12F3087F1A7C}" srcOrd="4" destOrd="0" parTransId="{0A2089F5-FDD9-4586-AE2B-36EA442159B3}" sibTransId="{ABFC60B6-3E60-47F6-A113-3FBB4C9F2239}"/>
    <dgm:cxn modelId="{F9ADAFBC-50C8-4D50-A79A-1E46790965AE}" type="presOf" srcId="{94B9A7C6-EFF0-4389-A8DB-FDD1E11D42AC}" destId="{2C38D92E-C86A-4C42-A8BF-5157757EBEEA}" srcOrd="0" destOrd="0" presId="urn:microsoft.com/office/officeart/2005/8/layout/process5"/>
    <dgm:cxn modelId="{98B53AC1-475B-4337-B405-4AC96B247CBA}" srcId="{219AD8E7-DA85-4C98-9A55-52A9188D6D04}" destId="{65A39311-3078-4E4D-B5D8-860748C68A4D}" srcOrd="1" destOrd="0" parTransId="{5926CB4C-638C-4C87-8B82-84029A8B58D5}" sibTransId="{73BB8396-8C2A-4A06-8F2F-46A5FAAF4D4E}"/>
    <dgm:cxn modelId="{10692ECB-CE37-48BE-A7AB-DAAB26AF2233}" srcId="{219AD8E7-DA85-4C98-9A55-52A9188D6D04}" destId="{7E916C26-3F25-41C2-A46C-B41844329016}" srcOrd="0" destOrd="0" parTransId="{E5F12A20-90EF-48CE-B454-B4E3296C5128}" sibTransId="{5FE072CC-9190-4957-B3C6-993807B2CB81}"/>
    <dgm:cxn modelId="{D9F4CFD2-1CAC-45C0-AB56-9ACDD49619EF}" type="presOf" srcId="{65A39311-3078-4E4D-B5D8-860748C68A4D}" destId="{7C2E10AC-59E7-4CD2-9387-A79414701974}" srcOrd="0" destOrd="0" presId="urn:microsoft.com/office/officeart/2005/8/layout/process5"/>
    <dgm:cxn modelId="{684A8FD4-5D3A-417F-AEB5-6FF9ADCC827E}" type="presOf" srcId="{A9D728AA-50D2-43AD-9C73-1183794AFA11}" destId="{B8517952-6C83-4CCC-8EC4-6EAB65C2FF1C}" srcOrd="0" destOrd="0" presId="urn:microsoft.com/office/officeart/2005/8/layout/process5"/>
    <dgm:cxn modelId="{27F5A3DE-3364-4988-A02D-2067AE4C151E}" type="presOf" srcId="{2283EC59-DCB1-4871-B73F-3662475554E8}" destId="{2DE6B191-F15C-4E42-A883-2D97D0AFF09F}" srcOrd="1" destOrd="0" presId="urn:microsoft.com/office/officeart/2005/8/layout/process5"/>
    <dgm:cxn modelId="{A9C256E6-9F8F-44EB-BB29-C9A89DE1078D}" type="presOf" srcId="{73BB8396-8C2A-4A06-8F2F-46A5FAAF4D4E}" destId="{F838F4A0-E84C-433C-8DB8-4832537345A3}" srcOrd="0" destOrd="0" presId="urn:microsoft.com/office/officeart/2005/8/layout/process5"/>
    <dgm:cxn modelId="{09E04CED-A87D-4783-8440-42A054CCD674}" type="presOf" srcId="{73BB8396-8C2A-4A06-8F2F-46A5FAAF4D4E}" destId="{B0F52ED5-E972-42E1-AA6D-80B61593567E}" srcOrd="1" destOrd="0" presId="urn:microsoft.com/office/officeart/2005/8/layout/process5"/>
    <dgm:cxn modelId="{888638B5-431D-4361-9BE7-EA541C439A35}" type="presParOf" srcId="{7D0C889B-5249-438C-BC9B-2C476521AE10}" destId="{C6E28224-E15C-4D1F-B2C0-F33C74DE4695}" srcOrd="0" destOrd="0" presId="urn:microsoft.com/office/officeart/2005/8/layout/process5"/>
    <dgm:cxn modelId="{65A5630E-B622-4A78-A6B2-B0BF34CC14C1}" type="presParOf" srcId="{7D0C889B-5249-438C-BC9B-2C476521AE10}" destId="{940471B9-744B-4D9B-A499-A763A7DF19C0}" srcOrd="1" destOrd="0" presId="urn:microsoft.com/office/officeart/2005/8/layout/process5"/>
    <dgm:cxn modelId="{AFC59BC5-C981-4530-B9A6-E46D9D849121}" type="presParOf" srcId="{940471B9-744B-4D9B-A499-A763A7DF19C0}" destId="{19CE0BA4-2485-4F1F-BFF7-56A8CC02EF3A}" srcOrd="0" destOrd="0" presId="urn:microsoft.com/office/officeart/2005/8/layout/process5"/>
    <dgm:cxn modelId="{78CB1B72-E33A-438F-BC40-C2894ED0179A}" type="presParOf" srcId="{7D0C889B-5249-438C-BC9B-2C476521AE10}" destId="{7C2E10AC-59E7-4CD2-9387-A79414701974}" srcOrd="2" destOrd="0" presId="urn:microsoft.com/office/officeart/2005/8/layout/process5"/>
    <dgm:cxn modelId="{178D7510-F65E-4617-A6EE-F2910844AAD0}" type="presParOf" srcId="{7D0C889B-5249-438C-BC9B-2C476521AE10}" destId="{F838F4A0-E84C-433C-8DB8-4832537345A3}" srcOrd="3" destOrd="0" presId="urn:microsoft.com/office/officeart/2005/8/layout/process5"/>
    <dgm:cxn modelId="{FA6E3B31-7077-45B1-AEED-05034A6DFA80}" type="presParOf" srcId="{F838F4A0-E84C-433C-8DB8-4832537345A3}" destId="{B0F52ED5-E972-42E1-AA6D-80B61593567E}" srcOrd="0" destOrd="0" presId="urn:microsoft.com/office/officeart/2005/8/layout/process5"/>
    <dgm:cxn modelId="{B6425FC2-90F9-4FE5-A1D0-A565D0869312}" type="presParOf" srcId="{7D0C889B-5249-438C-BC9B-2C476521AE10}" destId="{B8517952-6C83-4CCC-8EC4-6EAB65C2FF1C}" srcOrd="4" destOrd="0" presId="urn:microsoft.com/office/officeart/2005/8/layout/process5"/>
    <dgm:cxn modelId="{2D244CCE-53EF-42BF-97AA-21F3C439537C}" type="presParOf" srcId="{7D0C889B-5249-438C-BC9B-2C476521AE10}" destId="{8F721480-5647-4B1F-9333-2CB93EF5DE18}" srcOrd="5" destOrd="0" presId="urn:microsoft.com/office/officeart/2005/8/layout/process5"/>
    <dgm:cxn modelId="{A0495549-8B32-4C32-91C6-BF49D09C3BD3}" type="presParOf" srcId="{8F721480-5647-4B1F-9333-2CB93EF5DE18}" destId="{0BB76A35-4280-4ED0-AB3F-69FD87C2BFE1}" srcOrd="0" destOrd="0" presId="urn:microsoft.com/office/officeart/2005/8/layout/process5"/>
    <dgm:cxn modelId="{A900C3AF-AF8F-4554-A30D-A8C5A036017F}" type="presParOf" srcId="{7D0C889B-5249-438C-BC9B-2C476521AE10}" destId="{2C38D92E-C86A-4C42-A8BF-5157757EBEEA}" srcOrd="6" destOrd="0" presId="urn:microsoft.com/office/officeart/2005/8/layout/process5"/>
    <dgm:cxn modelId="{AADFD161-ADB2-4466-B734-B7CE0EC92B47}" type="presParOf" srcId="{7D0C889B-5249-438C-BC9B-2C476521AE10}" destId="{9228D13A-DF69-4910-99BD-6983DEB0B6FE}" srcOrd="7" destOrd="0" presId="urn:microsoft.com/office/officeart/2005/8/layout/process5"/>
    <dgm:cxn modelId="{633E2726-5345-4F7E-8779-0EB5FCF71608}" type="presParOf" srcId="{9228D13A-DF69-4910-99BD-6983DEB0B6FE}" destId="{2DE6B191-F15C-4E42-A883-2D97D0AFF09F}" srcOrd="0" destOrd="0" presId="urn:microsoft.com/office/officeart/2005/8/layout/process5"/>
    <dgm:cxn modelId="{7F90A93B-0994-4ED7-9A01-84DB526579B6}" type="presParOf" srcId="{7D0C889B-5249-438C-BC9B-2C476521AE10}" destId="{60E64AD6-BD96-4696-9E4A-3DADEE55E866}" srcOrd="8" destOrd="0" presId="urn:microsoft.com/office/officeart/2005/8/layout/process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F0CF98C0-4086-4D09-9124-0EC5FEBC7C68}" type="doc">
      <dgm:prSet loTypeId="urn:microsoft.com/office/officeart/2005/8/layout/default" loCatId="list" qsTypeId="urn:microsoft.com/office/officeart/2005/8/quickstyle/simple5" qsCatId="simple" csTypeId="urn:microsoft.com/office/officeart/2005/8/colors/accent6_2" csCatId="accent6" phldr="1"/>
      <dgm:spPr/>
      <dgm:t>
        <a:bodyPr/>
        <a:lstStyle/>
        <a:p>
          <a:endParaRPr lang="en-US"/>
        </a:p>
      </dgm:t>
    </dgm:pt>
    <dgm:pt modelId="{E253C436-CECC-4D48-95BD-4FD441455A1C}">
      <dgm:prSet phldrT="[Text]"/>
      <dgm:spPr/>
      <dgm:t>
        <a:bodyPr/>
        <a:lstStyle/>
        <a:p>
          <a:r>
            <a:rPr lang="en-US" dirty="0"/>
            <a:t>Miner</a:t>
          </a:r>
        </a:p>
      </dgm:t>
    </dgm:pt>
    <dgm:pt modelId="{057793C6-D9BA-4ED2-B4B4-7A7C83B3A5DE}" type="parTrans" cxnId="{A3F2FDF8-8FF2-4CC9-9FFD-17E225111CEC}">
      <dgm:prSet/>
      <dgm:spPr/>
      <dgm:t>
        <a:bodyPr/>
        <a:lstStyle/>
        <a:p>
          <a:endParaRPr lang="en-US"/>
        </a:p>
      </dgm:t>
    </dgm:pt>
    <dgm:pt modelId="{BD5DF6FA-A807-49CB-9B12-46CD6DC1F4BB}" type="sibTrans" cxnId="{A3F2FDF8-8FF2-4CC9-9FFD-17E225111CEC}">
      <dgm:prSet/>
      <dgm:spPr/>
      <dgm:t>
        <a:bodyPr/>
        <a:lstStyle/>
        <a:p>
          <a:endParaRPr lang="en-US"/>
        </a:p>
      </dgm:t>
    </dgm:pt>
    <dgm:pt modelId="{A2D121D3-B9B6-41C7-8315-FFAE24A58CA8}">
      <dgm:prSet phldrT="[Text]"/>
      <dgm:spPr/>
      <dgm:t>
        <a:bodyPr/>
        <a:lstStyle/>
        <a:p>
          <a:r>
            <a:rPr lang="en-US" dirty="0"/>
            <a:t>Stuff transactions into a block</a:t>
          </a:r>
        </a:p>
      </dgm:t>
    </dgm:pt>
    <dgm:pt modelId="{6B789D15-A26C-4AE1-9104-7476EFCA37F0}" type="parTrans" cxnId="{F98149EF-8913-4440-B67B-83ABC14F4227}">
      <dgm:prSet/>
      <dgm:spPr/>
      <dgm:t>
        <a:bodyPr/>
        <a:lstStyle/>
        <a:p>
          <a:endParaRPr lang="en-US"/>
        </a:p>
      </dgm:t>
    </dgm:pt>
    <dgm:pt modelId="{1DC1E5FC-0BEA-48B9-8081-88A87CCDC19B}" type="sibTrans" cxnId="{F98149EF-8913-4440-B67B-83ABC14F4227}">
      <dgm:prSet/>
      <dgm:spPr/>
      <dgm:t>
        <a:bodyPr/>
        <a:lstStyle/>
        <a:p>
          <a:endParaRPr lang="en-US"/>
        </a:p>
      </dgm:t>
    </dgm:pt>
    <dgm:pt modelId="{AD1056A9-26FD-4061-B404-6C0853AEB5B4}">
      <dgm:prSet phldrT="[Text]"/>
      <dgm:spPr/>
      <dgm:t>
        <a:bodyPr/>
        <a:lstStyle/>
        <a:p>
          <a:r>
            <a:rPr lang="en-US" dirty="0"/>
            <a:t>Solve a math puzzle Proof of Work</a:t>
          </a:r>
        </a:p>
      </dgm:t>
    </dgm:pt>
    <dgm:pt modelId="{2D113467-D064-439F-9020-664CD9F01489}" type="parTrans" cxnId="{C96EC534-8458-4DEF-8AE0-C10347D13101}">
      <dgm:prSet/>
      <dgm:spPr/>
      <dgm:t>
        <a:bodyPr/>
        <a:lstStyle/>
        <a:p>
          <a:endParaRPr lang="en-US"/>
        </a:p>
      </dgm:t>
    </dgm:pt>
    <dgm:pt modelId="{B02E68E5-03CC-4C7A-874F-151EE62102C9}" type="sibTrans" cxnId="{C96EC534-8458-4DEF-8AE0-C10347D13101}">
      <dgm:prSet/>
      <dgm:spPr/>
      <dgm:t>
        <a:bodyPr/>
        <a:lstStyle/>
        <a:p>
          <a:endParaRPr lang="en-US"/>
        </a:p>
      </dgm:t>
    </dgm:pt>
    <dgm:pt modelId="{C8E9B183-8535-45C4-8A51-9DB4EC4078F5}">
      <dgm:prSet phldrT="[Text]"/>
      <dgm:spPr/>
      <dgm:t>
        <a:bodyPr/>
        <a:lstStyle/>
        <a:p>
          <a:r>
            <a:rPr lang="en-US" dirty="0"/>
            <a:t>Add the block to the blockchain</a:t>
          </a:r>
        </a:p>
      </dgm:t>
    </dgm:pt>
    <dgm:pt modelId="{D6070ACD-1C78-4942-B7C3-AB938747F9C4}" type="parTrans" cxnId="{B1769855-8377-4801-931E-A5E97AF2D573}">
      <dgm:prSet/>
      <dgm:spPr/>
      <dgm:t>
        <a:bodyPr/>
        <a:lstStyle/>
        <a:p>
          <a:endParaRPr lang="en-US"/>
        </a:p>
      </dgm:t>
    </dgm:pt>
    <dgm:pt modelId="{C78D683B-23A2-456B-8E87-716C4F5244B7}" type="sibTrans" cxnId="{B1769855-8377-4801-931E-A5E97AF2D573}">
      <dgm:prSet/>
      <dgm:spPr/>
      <dgm:t>
        <a:bodyPr/>
        <a:lstStyle/>
        <a:p>
          <a:endParaRPr lang="en-US"/>
        </a:p>
      </dgm:t>
    </dgm:pt>
    <dgm:pt modelId="{21BBA9CB-2179-4929-A76D-B53F704904FD}">
      <dgm:prSet phldrT="[Text]"/>
      <dgm:spPr/>
      <dgm:t>
        <a:bodyPr/>
        <a:lstStyle/>
        <a:p>
          <a:r>
            <a:rPr lang="en-US"/>
            <a:t>Verify </a:t>
          </a:r>
          <a:r>
            <a:rPr lang="en-US" dirty="0"/>
            <a:t>all transactions</a:t>
          </a:r>
        </a:p>
      </dgm:t>
    </dgm:pt>
    <dgm:pt modelId="{5B3ADB7E-434C-45C2-9F3A-8115E20F7D3E}" type="parTrans" cxnId="{5A62A2BE-23ED-42E9-A25C-BE2EA466F21E}">
      <dgm:prSet/>
      <dgm:spPr/>
      <dgm:t>
        <a:bodyPr/>
        <a:lstStyle/>
        <a:p>
          <a:endParaRPr lang="en-US"/>
        </a:p>
      </dgm:t>
    </dgm:pt>
    <dgm:pt modelId="{1012F2FC-2634-4B24-8B1C-099098C7B8FE}" type="sibTrans" cxnId="{5A62A2BE-23ED-42E9-A25C-BE2EA466F21E}">
      <dgm:prSet/>
      <dgm:spPr/>
      <dgm:t>
        <a:bodyPr/>
        <a:lstStyle/>
        <a:p>
          <a:endParaRPr lang="en-US"/>
        </a:p>
      </dgm:t>
    </dgm:pt>
    <dgm:pt modelId="{42785C0F-BAE6-43CA-8A0C-E81355E88154}" type="pres">
      <dgm:prSet presAssocID="{F0CF98C0-4086-4D09-9124-0EC5FEBC7C68}" presName="diagram" presStyleCnt="0">
        <dgm:presLayoutVars>
          <dgm:dir/>
          <dgm:resizeHandles val="exact"/>
        </dgm:presLayoutVars>
      </dgm:prSet>
      <dgm:spPr/>
    </dgm:pt>
    <dgm:pt modelId="{8B239B43-5277-4B55-9634-9E76CFD5F86F}" type="pres">
      <dgm:prSet presAssocID="{E253C436-CECC-4D48-95BD-4FD441455A1C}" presName="node" presStyleLbl="node1" presStyleIdx="0" presStyleCnt="1">
        <dgm:presLayoutVars>
          <dgm:bulletEnabled val="1"/>
        </dgm:presLayoutVars>
      </dgm:prSet>
      <dgm:spPr/>
    </dgm:pt>
  </dgm:ptLst>
  <dgm:cxnLst>
    <dgm:cxn modelId="{0F1A1E34-0919-46E5-A9E3-003ED663FECC}" type="presOf" srcId="{F0CF98C0-4086-4D09-9124-0EC5FEBC7C68}" destId="{42785C0F-BAE6-43CA-8A0C-E81355E88154}" srcOrd="0" destOrd="0" presId="urn:microsoft.com/office/officeart/2005/8/layout/default"/>
    <dgm:cxn modelId="{C96EC534-8458-4DEF-8AE0-C10347D13101}" srcId="{E253C436-CECC-4D48-95BD-4FD441455A1C}" destId="{AD1056A9-26FD-4061-B404-6C0853AEB5B4}" srcOrd="2" destOrd="0" parTransId="{2D113467-D064-439F-9020-664CD9F01489}" sibTransId="{B02E68E5-03CC-4C7A-874F-151EE62102C9}"/>
    <dgm:cxn modelId="{86CE263B-F599-498E-91F7-CCE644BECA2B}" type="presOf" srcId="{AD1056A9-26FD-4061-B404-6C0853AEB5B4}" destId="{8B239B43-5277-4B55-9634-9E76CFD5F86F}" srcOrd="0" destOrd="3" presId="urn:microsoft.com/office/officeart/2005/8/layout/default"/>
    <dgm:cxn modelId="{B0B68766-A253-4CD9-826A-C4A2C5CC5667}" type="presOf" srcId="{E253C436-CECC-4D48-95BD-4FD441455A1C}" destId="{8B239B43-5277-4B55-9634-9E76CFD5F86F}" srcOrd="0" destOrd="0" presId="urn:microsoft.com/office/officeart/2005/8/layout/default"/>
    <dgm:cxn modelId="{242E5469-D2D6-4C21-BB2F-CAFB313C77CF}" type="presOf" srcId="{A2D121D3-B9B6-41C7-8315-FFAE24A58CA8}" destId="{8B239B43-5277-4B55-9634-9E76CFD5F86F}" srcOrd="0" destOrd="2" presId="urn:microsoft.com/office/officeart/2005/8/layout/default"/>
    <dgm:cxn modelId="{B1769855-8377-4801-931E-A5E97AF2D573}" srcId="{E253C436-CECC-4D48-95BD-4FD441455A1C}" destId="{C8E9B183-8535-45C4-8A51-9DB4EC4078F5}" srcOrd="3" destOrd="0" parTransId="{D6070ACD-1C78-4942-B7C3-AB938747F9C4}" sibTransId="{C78D683B-23A2-456B-8E87-716C4F5244B7}"/>
    <dgm:cxn modelId="{5A62A2BE-23ED-42E9-A25C-BE2EA466F21E}" srcId="{E253C436-CECC-4D48-95BD-4FD441455A1C}" destId="{21BBA9CB-2179-4929-A76D-B53F704904FD}" srcOrd="0" destOrd="0" parTransId="{5B3ADB7E-434C-45C2-9F3A-8115E20F7D3E}" sibTransId="{1012F2FC-2634-4B24-8B1C-099098C7B8FE}"/>
    <dgm:cxn modelId="{8FCDA7D8-66E0-41E4-8A5A-625470D2D4B3}" type="presOf" srcId="{21BBA9CB-2179-4929-A76D-B53F704904FD}" destId="{8B239B43-5277-4B55-9634-9E76CFD5F86F}" srcOrd="0" destOrd="1" presId="urn:microsoft.com/office/officeart/2005/8/layout/default"/>
    <dgm:cxn modelId="{F98149EF-8913-4440-B67B-83ABC14F4227}" srcId="{E253C436-CECC-4D48-95BD-4FD441455A1C}" destId="{A2D121D3-B9B6-41C7-8315-FFAE24A58CA8}" srcOrd="1" destOrd="0" parTransId="{6B789D15-A26C-4AE1-9104-7476EFCA37F0}" sibTransId="{1DC1E5FC-0BEA-48B9-8081-88A87CCDC19B}"/>
    <dgm:cxn modelId="{A3F2FDF8-8FF2-4CC9-9FFD-17E225111CEC}" srcId="{F0CF98C0-4086-4D09-9124-0EC5FEBC7C68}" destId="{E253C436-CECC-4D48-95BD-4FD441455A1C}" srcOrd="0" destOrd="0" parTransId="{057793C6-D9BA-4ED2-B4B4-7A7C83B3A5DE}" sibTransId="{BD5DF6FA-A807-49CB-9B12-46CD6DC1F4BB}"/>
    <dgm:cxn modelId="{E11F0DFF-2FFC-47B1-8FDF-766C99B2CFC7}" type="presOf" srcId="{C8E9B183-8535-45C4-8A51-9DB4EC4078F5}" destId="{8B239B43-5277-4B55-9634-9E76CFD5F86F}" srcOrd="0" destOrd="4" presId="urn:microsoft.com/office/officeart/2005/8/layout/default"/>
    <dgm:cxn modelId="{6ACF9629-0FAC-4490-B043-17943FC225E7}" type="presParOf" srcId="{42785C0F-BAE6-43CA-8A0C-E81355E88154}" destId="{8B239B43-5277-4B55-9634-9E76CFD5F86F}" srcOrd="0" destOrd="0" presId="urn:microsoft.com/office/officeart/2005/8/layout/defaul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4EA3D484-93B6-4181-88BE-54AF83919B9F}" type="doc">
      <dgm:prSet loTypeId="urn:microsoft.com/office/officeart/2005/8/layout/vProcess5" loCatId="process" qsTypeId="urn:microsoft.com/office/officeart/2005/8/quickstyle/simple4" qsCatId="simple" csTypeId="urn:microsoft.com/office/officeart/2005/8/colors/colorful3" csCatId="colorful" phldr="1"/>
      <dgm:spPr/>
      <dgm:t>
        <a:bodyPr/>
        <a:lstStyle/>
        <a:p>
          <a:endParaRPr lang="en-US"/>
        </a:p>
      </dgm:t>
    </dgm:pt>
    <dgm:pt modelId="{CF8EAEA8-BDAF-4589-B8AE-9D0B61DADAF3}">
      <dgm:prSet phldrT="[Text]"/>
      <dgm:spPr/>
      <dgm:t>
        <a:bodyPr/>
        <a:lstStyle/>
        <a:p>
          <a:r>
            <a:rPr lang="en-US" dirty="0"/>
            <a:t>Sun</a:t>
          </a:r>
        </a:p>
      </dgm:t>
    </dgm:pt>
    <dgm:pt modelId="{5C360B3F-DD87-4327-BA5C-6D7FB15B7B5B}" type="parTrans" cxnId="{DA819D61-B235-4AC0-B92E-99C823C6B5A5}">
      <dgm:prSet/>
      <dgm:spPr/>
      <dgm:t>
        <a:bodyPr/>
        <a:lstStyle/>
        <a:p>
          <a:endParaRPr lang="en-US"/>
        </a:p>
      </dgm:t>
    </dgm:pt>
    <dgm:pt modelId="{A84DFBF2-DCBA-422A-A2EC-4ECCF04BDA5D}" type="sibTrans" cxnId="{DA819D61-B235-4AC0-B92E-99C823C6B5A5}">
      <dgm:prSet/>
      <dgm:spPr/>
      <dgm:t>
        <a:bodyPr/>
        <a:lstStyle/>
        <a:p>
          <a:endParaRPr lang="en-US"/>
        </a:p>
      </dgm:t>
    </dgm:pt>
    <dgm:pt modelId="{695118B3-D65F-4CAA-B1E4-55F098BFF44B}">
      <dgm:prSet phldrT="[Text]"/>
      <dgm:spPr/>
      <dgm:t>
        <a:bodyPr/>
        <a:lstStyle/>
        <a:p>
          <a:r>
            <a:rPr lang="en-US" dirty="0"/>
            <a:t>Up</a:t>
          </a:r>
        </a:p>
      </dgm:t>
    </dgm:pt>
    <dgm:pt modelId="{93AB4AE0-5F23-4391-A124-9B46868866A9}" type="parTrans" cxnId="{59215C2E-A77E-4497-B539-5D142BD90785}">
      <dgm:prSet/>
      <dgm:spPr/>
      <dgm:t>
        <a:bodyPr/>
        <a:lstStyle/>
        <a:p>
          <a:endParaRPr lang="en-US"/>
        </a:p>
      </dgm:t>
    </dgm:pt>
    <dgm:pt modelId="{AB3C66F7-E5FB-4287-A6E2-4B82B2681371}" type="sibTrans" cxnId="{59215C2E-A77E-4497-B539-5D142BD90785}">
      <dgm:prSet/>
      <dgm:spPr/>
      <dgm:t>
        <a:bodyPr/>
        <a:lstStyle/>
        <a:p>
          <a:endParaRPr lang="en-US"/>
        </a:p>
      </dgm:t>
    </dgm:pt>
    <dgm:pt modelId="{87D91D88-F4A9-4D91-99E6-6FE26FC5CB46}">
      <dgm:prSet phldrT="[Text]"/>
      <dgm:spPr/>
      <dgm:t>
        <a:bodyPr/>
        <a:lstStyle/>
        <a:p>
          <a:r>
            <a:rPr lang="en-US" dirty="0"/>
            <a:t>Town</a:t>
          </a:r>
        </a:p>
      </dgm:t>
    </dgm:pt>
    <dgm:pt modelId="{59C4EB6E-0EB4-41E3-ADE5-4F16B2CD2114}" type="parTrans" cxnId="{5F26BC9E-C7D4-413E-8401-5044EFA40062}">
      <dgm:prSet/>
      <dgm:spPr/>
      <dgm:t>
        <a:bodyPr/>
        <a:lstStyle/>
        <a:p>
          <a:endParaRPr lang="en-US"/>
        </a:p>
      </dgm:t>
    </dgm:pt>
    <dgm:pt modelId="{416431A5-0116-4187-9939-108384804A3E}" type="sibTrans" cxnId="{5F26BC9E-C7D4-413E-8401-5044EFA40062}">
      <dgm:prSet/>
      <dgm:spPr/>
      <dgm:t>
        <a:bodyPr/>
        <a:lstStyle/>
        <a:p>
          <a:endParaRPr lang="en-US"/>
        </a:p>
      </dgm:t>
    </dgm:pt>
    <dgm:pt modelId="{940AF5F0-9A90-49A9-A340-C8848FF75298}">
      <dgm:prSet phldrT="[Text]"/>
      <dgm:spPr/>
      <dgm:t>
        <a:bodyPr/>
        <a:lstStyle/>
        <a:p>
          <a:r>
            <a:rPr lang="en-US" dirty="0"/>
            <a:t>Set</a:t>
          </a:r>
        </a:p>
      </dgm:t>
    </dgm:pt>
    <dgm:pt modelId="{91E08C6E-1DA0-40DA-8109-95E4A7AD2316}" type="parTrans" cxnId="{BA6B6952-E401-4D0A-B7E2-4EF2C6CC3111}">
      <dgm:prSet/>
      <dgm:spPr/>
      <dgm:t>
        <a:bodyPr/>
        <a:lstStyle/>
        <a:p>
          <a:endParaRPr lang="en-US"/>
        </a:p>
      </dgm:t>
    </dgm:pt>
    <dgm:pt modelId="{24A480BD-8FAC-4F82-B041-C0A785E4E473}" type="sibTrans" cxnId="{BA6B6952-E401-4D0A-B7E2-4EF2C6CC3111}">
      <dgm:prSet/>
      <dgm:spPr/>
      <dgm:t>
        <a:bodyPr/>
        <a:lstStyle/>
        <a:p>
          <a:endParaRPr lang="en-US"/>
        </a:p>
      </dgm:t>
    </dgm:pt>
    <dgm:pt modelId="{8E76C518-45F5-41B7-A3E5-BA184EABFFAD}">
      <dgm:prSet phldrT="[Text]"/>
      <dgm:spPr/>
      <dgm:t>
        <a:bodyPr/>
        <a:lstStyle/>
        <a:p>
          <a:r>
            <a:rPr lang="en-US" dirty="0"/>
            <a:t>Center</a:t>
          </a:r>
        </a:p>
      </dgm:t>
    </dgm:pt>
    <dgm:pt modelId="{45D54A7E-07D5-4D6D-ADF5-74B751E2AB7C}" type="parTrans" cxnId="{4771E929-31A6-475C-9C7A-91AD5CC59280}">
      <dgm:prSet/>
      <dgm:spPr/>
      <dgm:t>
        <a:bodyPr/>
        <a:lstStyle/>
        <a:p>
          <a:endParaRPr lang="en-US"/>
        </a:p>
      </dgm:t>
    </dgm:pt>
    <dgm:pt modelId="{2B1ECC95-F764-42C2-8A04-7D4B6EC3CA91}" type="sibTrans" cxnId="{4771E929-31A6-475C-9C7A-91AD5CC59280}">
      <dgm:prSet/>
      <dgm:spPr/>
      <dgm:t>
        <a:bodyPr/>
        <a:lstStyle/>
        <a:p>
          <a:endParaRPr lang="en-US"/>
        </a:p>
      </dgm:t>
    </dgm:pt>
    <dgm:pt modelId="{9B3AB8B8-961A-41DA-A2D3-43EE86B46E84}" type="pres">
      <dgm:prSet presAssocID="{4EA3D484-93B6-4181-88BE-54AF83919B9F}" presName="outerComposite" presStyleCnt="0">
        <dgm:presLayoutVars>
          <dgm:chMax val="5"/>
          <dgm:dir/>
          <dgm:resizeHandles val="exact"/>
        </dgm:presLayoutVars>
      </dgm:prSet>
      <dgm:spPr/>
    </dgm:pt>
    <dgm:pt modelId="{930479B7-B118-4826-BA48-2326B10E108D}" type="pres">
      <dgm:prSet presAssocID="{4EA3D484-93B6-4181-88BE-54AF83919B9F}" presName="dummyMaxCanvas" presStyleCnt="0">
        <dgm:presLayoutVars/>
      </dgm:prSet>
      <dgm:spPr/>
    </dgm:pt>
    <dgm:pt modelId="{0AFF9EB3-CDCF-4CDD-823F-F3E2FD01D445}" type="pres">
      <dgm:prSet presAssocID="{4EA3D484-93B6-4181-88BE-54AF83919B9F}" presName="FiveNodes_1" presStyleLbl="node1" presStyleIdx="0" presStyleCnt="5">
        <dgm:presLayoutVars>
          <dgm:bulletEnabled val="1"/>
        </dgm:presLayoutVars>
      </dgm:prSet>
      <dgm:spPr/>
    </dgm:pt>
    <dgm:pt modelId="{735465FD-BC8F-4FCD-92B7-B841141A670B}" type="pres">
      <dgm:prSet presAssocID="{4EA3D484-93B6-4181-88BE-54AF83919B9F}" presName="FiveNodes_2" presStyleLbl="node1" presStyleIdx="1" presStyleCnt="5">
        <dgm:presLayoutVars>
          <dgm:bulletEnabled val="1"/>
        </dgm:presLayoutVars>
      </dgm:prSet>
      <dgm:spPr/>
    </dgm:pt>
    <dgm:pt modelId="{3AD0FA0B-F679-4079-92EA-7332F86611C0}" type="pres">
      <dgm:prSet presAssocID="{4EA3D484-93B6-4181-88BE-54AF83919B9F}" presName="FiveNodes_3" presStyleLbl="node1" presStyleIdx="2" presStyleCnt="5">
        <dgm:presLayoutVars>
          <dgm:bulletEnabled val="1"/>
        </dgm:presLayoutVars>
      </dgm:prSet>
      <dgm:spPr/>
    </dgm:pt>
    <dgm:pt modelId="{8F9184A3-2FE4-45A7-9085-F4560A442613}" type="pres">
      <dgm:prSet presAssocID="{4EA3D484-93B6-4181-88BE-54AF83919B9F}" presName="FiveNodes_4" presStyleLbl="node1" presStyleIdx="3" presStyleCnt="5">
        <dgm:presLayoutVars>
          <dgm:bulletEnabled val="1"/>
        </dgm:presLayoutVars>
      </dgm:prSet>
      <dgm:spPr/>
    </dgm:pt>
    <dgm:pt modelId="{4BEFBAB4-3FCA-4CF8-A2B3-6F16E30141D8}" type="pres">
      <dgm:prSet presAssocID="{4EA3D484-93B6-4181-88BE-54AF83919B9F}" presName="FiveNodes_5" presStyleLbl="node1" presStyleIdx="4" presStyleCnt="5">
        <dgm:presLayoutVars>
          <dgm:bulletEnabled val="1"/>
        </dgm:presLayoutVars>
      </dgm:prSet>
      <dgm:spPr/>
    </dgm:pt>
    <dgm:pt modelId="{40BB69CC-4D80-4DD2-BDA7-E00D2A44291F}" type="pres">
      <dgm:prSet presAssocID="{4EA3D484-93B6-4181-88BE-54AF83919B9F}" presName="FiveConn_1-2" presStyleLbl="fgAccFollowNode1" presStyleIdx="0" presStyleCnt="4">
        <dgm:presLayoutVars>
          <dgm:bulletEnabled val="1"/>
        </dgm:presLayoutVars>
      </dgm:prSet>
      <dgm:spPr/>
    </dgm:pt>
    <dgm:pt modelId="{62ADDC3E-2D3C-4FC5-A367-5B14C5BC56BD}" type="pres">
      <dgm:prSet presAssocID="{4EA3D484-93B6-4181-88BE-54AF83919B9F}" presName="FiveConn_2-3" presStyleLbl="fgAccFollowNode1" presStyleIdx="1" presStyleCnt="4">
        <dgm:presLayoutVars>
          <dgm:bulletEnabled val="1"/>
        </dgm:presLayoutVars>
      </dgm:prSet>
      <dgm:spPr/>
    </dgm:pt>
    <dgm:pt modelId="{F19DD225-8042-4D66-B31F-63180B720AFF}" type="pres">
      <dgm:prSet presAssocID="{4EA3D484-93B6-4181-88BE-54AF83919B9F}" presName="FiveConn_3-4" presStyleLbl="fgAccFollowNode1" presStyleIdx="2" presStyleCnt="4">
        <dgm:presLayoutVars>
          <dgm:bulletEnabled val="1"/>
        </dgm:presLayoutVars>
      </dgm:prSet>
      <dgm:spPr/>
    </dgm:pt>
    <dgm:pt modelId="{2E271E4C-DC88-4130-9FE6-3D267946943E}" type="pres">
      <dgm:prSet presAssocID="{4EA3D484-93B6-4181-88BE-54AF83919B9F}" presName="FiveConn_4-5" presStyleLbl="fgAccFollowNode1" presStyleIdx="3" presStyleCnt="4">
        <dgm:presLayoutVars>
          <dgm:bulletEnabled val="1"/>
        </dgm:presLayoutVars>
      </dgm:prSet>
      <dgm:spPr/>
    </dgm:pt>
    <dgm:pt modelId="{8751F5E1-C583-444A-AE04-183B70656731}" type="pres">
      <dgm:prSet presAssocID="{4EA3D484-93B6-4181-88BE-54AF83919B9F}" presName="FiveNodes_1_text" presStyleLbl="node1" presStyleIdx="4" presStyleCnt="5">
        <dgm:presLayoutVars>
          <dgm:bulletEnabled val="1"/>
        </dgm:presLayoutVars>
      </dgm:prSet>
      <dgm:spPr/>
    </dgm:pt>
    <dgm:pt modelId="{FD96CD48-B1C2-4AFD-B09F-B1E20716979B}" type="pres">
      <dgm:prSet presAssocID="{4EA3D484-93B6-4181-88BE-54AF83919B9F}" presName="FiveNodes_2_text" presStyleLbl="node1" presStyleIdx="4" presStyleCnt="5">
        <dgm:presLayoutVars>
          <dgm:bulletEnabled val="1"/>
        </dgm:presLayoutVars>
      </dgm:prSet>
      <dgm:spPr/>
    </dgm:pt>
    <dgm:pt modelId="{6FDECDA7-8173-4095-9BB0-3A7A449B0ACC}" type="pres">
      <dgm:prSet presAssocID="{4EA3D484-93B6-4181-88BE-54AF83919B9F}" presName="FiveNodes_3_text" presStyleLbl="node1" presStyleIdx="4" presStyleCnt="5">
        <dgm:presLayoutVars>
          <dgm:bulletEnabled val="1"/>
        </dgm:presLayoutVars>
      </dgm:prSet>
      <dgm:spPr/>
    </dgm:pt>
    <dgm:pt modelId="{FDD8D9B4-32B8-4FE3-8950-6C7B2B61D7C8}" type="pres">
      <dgm:prSet presAssocID="{4EA3D484-93B6-4181-88BE-54AF83919B9F}" presName="FiveNodes_4_text" presStyleLbl="node1" presStyleIdx="4" presStyleCnt="5">
        <dgm:presLayoutVars>
          <dgm:bulletEnabled val="1"/>
        </dgm:presLayoutVars>
      </dgm:prSet>
      <dgm:spPr/>
    </dgm:pt>
    <dgm:pt modelId="{95F58503-A392-4059-9F96-AD88D25E5365}" type="pres">
      <dgm:prSet presAssocID="{4EA3D484-93B6-4181-88BE-54AF83919B9F}" presName="FiveNodes_5_text" presStyleLbl="node1" presStyleIdx="4" presStyleCnt="5">
        <dgm:presLayoutVars>
          <dgm:bulletEnabled val="1"/>
        </dgm:presLayoutVars>
      </dgm:prSet>
      <dgm:spPr/>
    </dgm:pt>
  </dgm:ptLst>
  <dgm:cxnLst>
    <dgm:cxn modelId="{259E850B-0368-498E-B6FF-A94E6DDB158B}" type="presOf" srcId="{940AF5F0-9A90-49A9-A340-C8848FF75298}" destId="{FD96CD48-B1C2-4AFD-B09F-B1E20716979B}" srcOrd="1" destOrd="0" presId="urn:microsoft.com/office/officeart/2005/8/layout/vProcess5"/>
    <dgm:cxn modelId="{C118E010-8374-4BD8-801D-DF0A8FAFE1C4}" type="presOf" srcId="{87D91D88-F4A9-4D91-99E6-6FE26FC5CB46}" destId="{FDD8D9B4-32B8-4FE3-8950-6C7B2B61D7C8}" srcOrd="1" destOrd="0" presId="urn:microsoft.com/office/officeart/2005/8/layout/vProcess5"/>
    <dgm:cxn modelId="{4771E929-31A6-475C-9C7A-91AD5CC59280}" srcId="{4EA3D484-93B6-4181-88BE-54AF83919B9F}" destId="{8E76C518-45F5-41B7-A3E5-BA184EABFFAD}" srcOrd="4" destOrd="0" parTransId="{45D54A7E-07D5-4D6D-ADF5-74B751E2AB7C}" sibTransId="{2B1ECC95-F764-42C2-8A04-7D4B6EC3CA91}"/>
    <dgm:cxn modelId="{59215C2E-A77E-4497-B539-5D142BD90785}" srcId="{4EA3D484-93B6-4181-88BE-54AF83919B9F}" destId="{695118B3-D65F-4CAA-B1E4-55F098BFF44B}" srcOrd="2" destOrd="0" parTransId="{93AB4AE0-5F23-4391-A124-9B46868866A9}" sibTransId="{AB3C66F7-E5FB-4287-A6E2-4B82B2681371}"/>
    <dgm:cxn modelId="{FF986738-C0F4-480A-BD5B-5241C4C285F5}" type="presOf" srcId="{8E76C518-45F5-41B7-A3E5-BA184EABFFAD}" destId="{4BEFBAB4-3FCA-4CF8-A2B3-6F16E30141D8}" srcOrd="0" destOrd="0" presId="urn:microsoft.com/office/officeart/2005/8/layout/vProcess5"/>
    <dgm:cxn modelId="{DA819D61-B235-4AC0-B92E-99C823C6B5A5}" srcId="{4EA3D484-93B6-4181-88BE-54AF83919B9F}" destId="{CF8EAEA8-BDAF-4589-B8AE-9D0B61DADAF3}" srcOrd="0" destOrd="0" parTransId="{5C360B3F-DD87-4327-BA5C-6D7FB15B7B5B}" sibTransId="{A84DFBF2-DCBA-422A-A2EC-4ECCF04BDA5D}"/>
    <dgm:cxn modelId="{46C7C942-9F16-477F-A461-12E71492723A}" type="presOf" srcId="{87D91D88-F4A9-4D91-99E6-6FE26FC5CB46}" destId="{8F9184A3-2FE4-45A7-9085-F4560A442613}" srcOrd="0" destOrd="0" presId="urn:microsoft.com/office/officeart/2005/8/layout/vProcess5"/>
    <dgm:cxn modelId="{0FA7F364-D37E-4EED-9BBA-E262BFC7723C}" type="presOf" srcId="{AB3C66F7-E5FB-4287-A6E2-4B82B2681371}" destId="{F19DD225-8042-4D66-B31F-63180B720AFF}" srcOrd="0" destOrd="0" presId="urn:microsoft.com/office/officeart/2005/8/layout/vProcess5"/>
    <dgm:cxn modelId="{CBFAAA48-4296-4096-B0D3-50113FE3F5F6}" type="presOf" srcId="{CF8EAEA8-BDAF-4589-B8AE-9D0B61DADAF3}" destId="{0AFF9EB3-CDCF-4CDD-823F-F3E2FD01D445}" srcOrd="0" destOrd="0" presId="urn:microsoft.com/office/officeart/2005/8/layout/vProcess5"/>
    <dgm:cxn modelId="{BA6B6952-E401-4D0A-B7E2-4EF2C6CC3111}" srcId="{4EA3D484-93B6-4181-88BE-54AF83919B9F}" destId="{940AF5F0-9A90-49A9-A340-C8848FF75298}" srcOrd="1" destOrd="0" parTransId="{91E08C6E-1DA0-40DA-8109-95E4A7AD2316}" sibTransId="{24A480BD-8FAC-4F82-B041-C0A785E4E473}"/>
    <dgm:cxn modelId="{D9B3817E-F79B-4BC6-9256-0F438AAF9D7A}" type="presOf" srcId="{940AF5F0-9A90-49A9-A340-C8848FF75298}" destId="{735465FD-BC8F-4FCD-92B7-B841141A670B}" srcOrd="0" destOrd="0" presId="urn:microsoft.com/office/officeart/2005/8/layout/vProcess5"/>
    <dgm:cxn modelId="{80F85581-8757-4F96-8682-7316F35DC475}" type="presOf" srcId="{4EA3D484-93B6-4181-88BE-54AF83919B9F}" destId="{9B3AB8B8-961A-41DA-A2D3-43EE86B46E84}" srcOrd="0" destOrd="0" presId="urn:microsoft.com/office/officeart/2005/8/layout/vProcess5"/>
    <dgm:cxn modelId="{5F26BC9E-C7D4-413E-8401-5044EFA40062}" srcId="{4EA3D484-93B6-4181-88BE-54AF83919B9F}" destId="{87D91D88-F4A9-4D91-99E6-6FE26FC5CB46}" srcOrd="3" destOrd="0" parTransId="{59C4EB6E-0EB4-41E3-ADE5-4F16B2CD2114}" sibTransId="{416431A5-0116-4187-9939-108384804A3E}"/>
    <dgm:cxn modelId="{D5E121A1-9773-4BBB-A4EF-2BBECD049021}" type="presOf" srcId="{695118B3-D65F-4CAA-B1E4-55F098BFF44B}" destId="{3AD0FA0B-F679-4079-92EA-7332F86611C0}" srcOrd="0" destOrd="0" presId="urn:microsoft.com/office/officeart/2005/8/layout/vProcess5"/>
    <dgm:cxn modelId="{719485B8-ABAD-42E6-81AA-102CEEFA1F12}" type="presOf" srcId="{24A480BD-8FAC-4F82-B041-C0A785E4E473}" destId="{62ADDC3E-2D3C-4FC5-A367-5B14C5BC56BD}" srcOrd="0" destOrd="0" presId="urn:microsoft.com/office/officeart/2005/8/layout/vProcess5"/>
    <dgm:cxn modelId="{83358DC8-A26B-4447-929E-FE979A39190F}" type="presOf" srcId="{695118B3-D65F-4CAA-B1E4-55F098BFF44B}" destId="{6FDECDA7-8173-4095-9BB0-3A7A449B0ACC}" srcOrd="1" destOrd="0" presId="urn:microsoft.com/office/officeart/2005/8/layout/vProcess5"/>
    <dgm:cxn modelId="{4FBC0FCD-2250-41D4-8F39-704E4B3B2A5A}" type="presOf" srcId="{416431A5-0116-4187-9939-108384804A3E}" destId="{2E271E4C-DC88-4130-9FE6-3D267946943E}" srcOrd="0" destOrd="0" presId="urn:microsoft.com/office/officeart/2005/8/layout/vProcess5"/>
    <dgm:cxn modelId="{467A9FD8-21C8-47A9-820C-904F687570E6}" type="presOf" srcId="{A84DFBF2-DCBA-422A-A2EC-4ECCF04BDA5D}" destId="{40BB69CC-4D80-4DD2-BDA7-E00D2A44291F}" srcOrd="0" destOrd="0" presId="urn:microsoft.com/office/officeart/2005/8/layout/vProcess5"/>
    <dgm:cxn modelId="{7CBDD4D8-C5F7-4BC0-8BD6-1FFD8367F6B8}" type="presOf" srcId="{CF8EAEA8-BDAF-4589-B8AE-9D0B61DADAF3}" destId="{8751F5E1-C583-444A-AE04-183B70656731}" srcOrd="1" destOrd="0" presId="urn:microsoft.com/office/officeart/2005/8/layout/vProcess5"/>
    <dgm:cxn modelId="{C0F820E2-4A38-410F-B4CD-39E78DFC11BC}" type="presOf" srcId="{8E76C518-45F5-41B7-A3E5-BA184EABFFAD}" destId="{95F58503-A392-4059-9F96-AD88D25E5365}" srcOrd="1" destOrd="0" presId="urn:microsoft.com/office/officeart/2005/8/layout/vProcess5"/>
    <dgm:cxn modelId="{A155796C-FD0E-4BB5-B93D-9BB92D6EC078}" type="presParOf" srcId="{9B3AB8B8-961A-41DA-A2D3-43EE86B46E84}" destId="{930479B7-B118-4826-BA48-2326B10E108D}" srcOrd="0" destOrd="0" presId="urn:microsoft.com/office/officeart/2005/8/layout/vProcess5"/>
    <dgm:cxn modelId="{E5EBB57E-5827-48F2-B2EA-2D3F6F3C1091}" type="presParOf" srcId="{9B3AB8B8-961A-41DA-A2D3-43EE86B46E84}" destId="{0AFF9EB3-CDCF-4CDD-823F-F3E2FD01D445}" srcOrd="1" destOrd="0" presId="urn:microsoft.com/office/officeart/2005/8/layout/vProcess5"/>
    <dgm:cxn modelId="{67F70915-61D0-480D-92FC-D3CF9E25D319}" type="presParOf" srcId="{9B3AB8B8-961A-41DA-A2D3-43EE86B46E84}" destId="{735465FD-BC8F-4FCD-92B7-B841141A670B}" srcOrd="2" destOrd="0" presId="urn:microsoft.com/office/officeart/2005/8/layout/vProcess5"/>
    <dgm:cxn modelId="{D1CDB725-865D-49E7-B7B6-BF9EF08122EE}" type="presParOf" srcId="{9B3AB8B8-961A-41DA-A2D3-43EE86B46E84}" destId="{3AD0FA0B-F679-4079-92EA-7332F86611C0}" srcOrd="3" destOrd="0" presId="urn:microsoft.com/office/officeart/2005/8/layout/vProcess5"/>
    <dgm:cxn modelId="{24D0F675-1BE8-4046-AD34-5ADDFD12D141}" type="presParOf" srcId="{9B3AB8B8-961A-41DA-A2D3-43EE86B46E84}" destId="{8F9184A3-2FE4-45A7-9085-F4560A442613}" srcOrd="4" destOrd="0" presId="urn:microsoft.com/office/officeart/2005/8/layout/vProcess5"/>
    <dgm:cxn modelId="{835B8F91-8995-42E1-83C6-A9E349DC9D17}" type="presParOf" srcId="{9B3AB8B8-961A-41DA-A2D3-43EE86B46E84}" destId="{4BEFBAB4-3FCA-4CF8-A2B3-6F16E30141D8}" srcOrd="5" destOrd="0" presId="urn:microsoft.com/office/officeart/2005/8/layout/vProcess5"/>
    <dgm:cxn modelId="{693F0B9A-6346-4979-B1FD-DED558391161}" type="presParOf" srcId="{9B3AB8B8-961A-41DA-A2D3-43EE86B46E84}" destId="{40BB69CC-4D80-4DD2-BDA7-E00D2A44291F}" srcOrd="6" destOrd="0" presId="urn:microsoft.com/office/officeart/2005/8/layout/vProcess5"/>
    <dgm:cxn modelId="{228D6870-24A3-479A-BEE7-ED38ACF527EA}" type="presParOf" srcId="{9B3AB8B8-961A-41DA-A2D3-43EE86B46E84}" destId="{62ADDC3E-2D3C-4FC5-A367-5B14C5BC56BD}" srcOrd="7" destOrd="0" presId="urn:microsoft.com/office/officeart/2005/8/layout/vProcess5"/>
    <dgm:cxn modelId="{3C598F6D-7839-4C1F-9871-B51783FC4F9E}" type="presParOf" srcId="{9B3AB8B8-961A-41DA-A2D3-43EE86B46E84}" destId="{F19DD225-8042-4D66-B31F-63180B720AFF}" srcOrd="8" destOrd="0" presId="urn:microsoft.com/office/officeart/2005/8/layout/vProcess5"/>
    <dgm:cxn modelId="{F7C1C4E8-1DD0-4A1E-A0B5-1AADE846B9C4}" type="presParOf" srcId="{9B3AB8B8-961A-41DA-A2D3-43EE86B46E84}" destId="{2E271E4C-DC88-4130-9FE6-3D267946943E}" srcOrd="9" destOrd="0" presId="urn:microsoft.com/office/officeart/2005/8/layout/vProcess5"/>
    <dgm:cxn modelId="{C79CB207-9082-4DB2-80DD-DB719F2B18A0}" type="presParOf" srcId="{9B3AB8B8-961A-41DA-A2D3-43EE86B46E84}" destId="{8751F5E1-C583-444A-AE04-183B70656731}" srcOrd="10" destOrd="0" presId="urn:microsoft.com/office/officeart/2005/8/layout/vProcess5"/>
    <dgm:cxn modelId="{C050DCCC-A315-4513-BA7C-EE8E3813864D}" type="presParOf" srcId="{9B3AB8B8-961A-41DA-A2D3-43EE86B46E84}" destId="{FD96CD48-B1C2-4AFD-B09F-B1E20716979B}" srcOrd="11" destOrd="0" presId="urn:microsoft.com/office/officeart/2005/8/layout/vProcess5"/>
    <dgm:cxn modelId="{6DE4BF05-956D-4AE7-944B-731C438A0876}" type="presParOf" srcId="{9B3AB8B8-961A-41DA-A2D3-43EE86B46E84}" destId="{6FDECDA7-8173-4095-9BB0-3A7A449B0ACC}" srcOrd="12" destOrd="0" presId="urn:microsoft.com/office/officeart/2005/8/layout/vProcess5"/>
    <dgm:cxn modelId="{CBC8D183-8646-45D4-951E-7D32774F5DF0}" type="presParOf" srcId="{9B3AB8B8-961A-41DA-A2D3-43EE86B46E84}" destId="{FDD8D9B4-32B8-4FE3-8950-6C7B2B61D7C8}" srcOrd="13" destOrd="0" presId="urn:microsoft.com/office/officeart/2005/8/layout/vProcess5"/>
    <dgm:cxn modelId="{05AEE990-75AF-47F5-AEA2-F5E0B3E7D866}" type="presParOf" srcId="{9B3AB8B8-961A-41DA-A2D3-43EE86B46E84}" destId="{95F58503-A392-4059-9F96-AD88D25E536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9F38E7-0A7B-4C22-A08A-A7217FD1AC87}" type="doc">
      <dgm:prSet loTypeId="urn:microsoft.com/office/officeart/2005/8/layout/vList2" loCatId="list" qsTypeId="urn:microsoft.com/office/officeart/2005/8/quickstyle/simple4" qsCatId="simple" csTypeId="urn:microsoft.com/office/officeart/2005/8/colors/colorful4" csCatId="colorful" phldr="1"/>
      <dgm:spPr/>
      <dgm:t>
        <a:bodyPr/>
        <a:lstStyle/>
        <a:p>
          <a:endParaRPr lang="en-US"/>
        </a:p>
      </dgm:t>
    </dgm:pt>
    <dgm:pt modelId="{202F82A9-C917-45C7-A7AB-DDE33B6B9F92}">
      <dgm:prSet custT="1"/>
      <dgm:spPr/>
      <dgm:t>
        <a:bodyPr/>
        <a:lstStyle/>
        <a:p>
          <a:r>
            <a:rPr lang="en-US" sz="2400" b="0" i="0" dirty="0"/>
            <a:t>1DSCBc18TSbWdvs47qv7qiTaX5CzskMd4s</a:t>
          </a:r>
          <a:endParaRPr lang="en-US" sz="2400" dirty="0"/>
        </a:p>
      </dgm:t>
    </dgm:pt>
    <dgm:pt modelId="{A0489F02-3BB7-4E41-ACB4-7DD56C948D54}" type="parTrans" cxnId="{3B5911B9-E47E-4D7F-8199-02E37816EEB8}">
      <dgm:prSet/>
      <dgm:spPr/>
      <dgm:t>
        <a:bodyPr/>
        <a:lstStyle/>
        <a:p>
          <a:endParaRPr lang="en-US"/>
        </a:p>
      </dgm:t>
    </dgm:pt>
    <dgm:pt modelId="{A7C9B980-C94E-4ECE-8CBC-7E1B52840592}" type="sibTrans" cxnId="{3B5911B9-E47E-4D7F-8199-02E37816EEB8}">
      <dgm:prSet/>
      <dgm:spPr/>
      <dgm:t>
        <a:bodyPr/>
        <a:lstStyle/>
        <a:p>
          <a:endParaRPr lang="en-US"/>
        </a:p>
      </dgm:t>
    </dgm:pt>
    <dgm:pt modelId="{477B6C5D-8782-4DB8-861C-34FFDF697090}" type="pres">
      <dgm:prSet presAssocID="{B19F38E7-0A7B-4C22-A08A-A7217FD1AC87}" presName="linear" presStyleCnt="0">
        <dgm:presLayoutVars>
          <dgm:animLvl val="lvl"/>
          <dgm:resizeHandles val="exact"/>
        </dgm:presLayoutVars>
      </dgm:prSet>
      <dgm:spPr/>
    </dgm:pt>
    <dgm:pt modelId="{B7204AB0-943C-487F-BBCD-E2B664C0AFB8}" type="pres">
      <dgm:prSet presAssocID="{202F82A9-C917-45C7-A7AB-DDE33B6B9F92}" presName="parentText" presStyleLbl="node1" presStyleIdx="0" presStyleCnt="1" custAng="0">
        <dgm:presLayoutVars>
          <dgm:chMax val="0"/>
          <dgm:bulletEnabled val="1"/>
        </dgm:presLayoutVars>
      </dgm:prSet>
      <dgm:spPr/>
    </dgm:pt>
  </dgm:ptLst>
  <dgm:cxnLst>
    <dgm:cxn modelId="{D60F6DA5-4783-4FC9-B308-F49AB55A75FF}" type="presOf" srcId="{202F82A9-C917-45C7-A7AB-DDE33B6B9F92}" destId="{B7204AB0-943C-487F-BBCD-E2B664C0AFB8}" srcOrd="0" destOrd="0" presId="urn:microsoft.com/office/officeart/2005/8/layout/vList2"/>
    <dgm:cxn modelId="{3B5911B9-E47E-4D7F-8199-02E37816EEB8}" srcId="{B19F38E7-0A7B-4C22-A08A-A7217FD1AC87}" destId="{202F82A9-C917-45C7-A7AB-DDE33B6B9F92}" srcOrd="0" destOrd="0" parTransId="{A0489F02-3BB7-4E41-ACB4-7DD56C948D54}" sibTransId="{A7C9B980-C94E-4ECE-8CBC-7E1B52840592}"/>
    <dgm:cxn modelId="{9A9DFFCD-511B-43AD-9CC3-A1C6D1C625F3}" type="presOf" srcId="{B19F38E7-0A7B-4C22-A08A-A7217FD1AC87}" destId="{477B6C5D-8782-4DB8-861C-34FFDF697090}" srcOrd="0" destOrd="0" presId="urn:microsoft.com/office/officeart/2005/8/layout/vList2"/>
    <dgm:cxn modelId="{AF8C10AA-3336-469F-A988-7BBB2402A13F}" type="presParOf" srcId="{477B6C5D-8782-4DB8-861C-34FFDF697090}" destId="{B7204AB0-943C-487F-BBCD-E2B664C0AFB8}"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071B1FE-9268-4280-B64A-D1B321E3A4E1}" type="doc">
      <dgm:prSet loTypeId="urn:microsoft.com/office/officeart/2005/8/layout/process5" loCatId="process" qsTypeId="urn:microsoft.com/office/officeart/2005/8/quickstyle/simple4" qsCatId="simple" csTypeId="urn:microsoft.com/office/officeart/2005/8/colors/colorful5" csCatId="colorful" phldr="1"/>
      <dgm:spPr/>
      <dgm:t>
        <a:bodyPr/>
        <a:lstStyle/>
        <a:p>
          <a:endParaRPr lang="en-US"/>
        </a:p>
      </dgm:t>
    </dgm:pt>
    <dgm:pt modelId="{3E0D2381-9302-429C-8B21-046C659F543A}">
      <dgm:prSet phldrT="[Text]" custT="1"/>
      <dgm:spPr/>
      <dgm:t>
        <a:bodyPr/>
        <a:lstStyle/>
        <a:p>
          <a:r>
            <a:rPr lang="en-US" sz="1600" dirty="0"/>
            <a:t>Alice sends Bob a transaction of bitcoin tokens</a:t>
          </a:r>
        </a:p>
      </dgm:t>
    </dgm:pt>
    <dgm:pt modelId="{5AC33786-2E61-4B95-AE7F-275F9D65E34D}" type="parTrans" cxnId="{05785874-DD7B-4D26-82D4-C53459533F54}">
      <dgm:prSet/>
      <dgm:spPr/>
      <dgm:t>
        <a:bodyPr/>
        <a:lstStyle/>
        <a:p>
          <a:endParaRPr lang="en-US" sz="2400"/>
        </a:p>
      </dgm:t>
    </dgm:pt>
    <dgm:pt modelId="{1AEB780C-2408-47B6-9D16-4ECFC19A7911}" type="sibTrans" cxnId="{05785874-DD7B-4D26-82D4-C53459533F54}">
      <dgm:prSet custT="1"/>
      <dgm:spPr/>
      <dgm:t>
        <a:bodyPr/>
        <a:lstStyle/>
        <a:p>
          <a:endParaRPr lang="en-US" sz="1100"/>
        </a:p>
      </dgm:t>
    </dgm:pt>
    <dgm:pt modelId="{25D2EE21-0D10-44FD-98D1-F03D2E10DE9F}">
      <dgm:prSet phldrT="[Text]" custT="1"/>
      <dgm:spPr/>
      <dgm:t>
        <a:bodyPr/>
        <a:lstStyle/>
        <a:p>
          <a:r>
            <a:rPr lang="en-US" sz="1600" dirty="0"/>
            <a:t>Transaction is broadcast through the blockchain network to other nodes</a:t>
          </a:r>
        </a:p>
      </dgm:t>
    </dgm:pt>
    <dgm:pt modelId="{9EE2C43C-4318-415E-A6B3-CAB92326B183}" type="parTrans" cxnId="{73196572-70C2-4C96-83A3-A592EB3DD016}">
      <dgm:prSet/>
      <dgm:spPr/>
      <dgm:t>
        <a:bodyPr/>
        <a:lstStyle/>
        <a:p>
          <a:endParaRPr lang="en-US" sz="2400"/>
        </a:p>
      </dgm:t>
    </dgm:pt>
    <dgm:pt modelId="{F088CC88-C40B-40F3-8064-D5FBE98A85A5}" type="sibTrans" cxnId="{73196572-70C2-4C96-83A3-A592EB3DD016}">
      <dgm:prSet custT="1"/>
      <dgm:spPr/>
      <dgm:t>
        <a:bodyPr/>
        <a:lstStyle/>
        <a:p>
          <a:endParaRPr lang="en-US" sz="1100"/>
        </a:p>
      </dgm:t>
    </dgm:pt>
    <dgm:pt modelId="{C7D14688-6657-43A8-9891-3A334B9E8179}">
      <dgm:prSet phldrT="[Text]" custT="1"/>
      <dgm:spPr/>
      <dgm:t>
        <a:bodyPr/>
        <a:lstStyle/>
        <a:p>
          <a:r>
            <a:rPr lang="en-US" sz="1600" dirty="0"/>
            <a:t>If the transaction is valid, the nodes propagate it further</a:t>
          </a:r>
        </a:p>
      </dgm:t>
    </dgm:pt>
    <dgm:pt modelId="{6E608930-A62C-480A-AE0B-89DB4A427590}" type="parTrans" cxnId="{3A3E8E4E-AD8C-413D-9299-6CCCE9B27DAD}">
      <dgm:prSet/>
      <dgm:spPr/>
      <dgm:t>
        <a:bodyPr/>
        <a:lstStyle/>
        <a:p>
          <a:endParaRPr lang="en-US" sz="2400"/>
        </a:p>
      </dgm:t>
    </dgm:pt>
    <dgm:pt modelId="{0F487022-3616-4778-9B16-7F16870909DE}" type="sibTrans" cxnId="{3A3E8E4E-AD8C-413D-9299-6CCCE9B27DAD}">
      <dgm:prSet custT="1"/>
      <dgm:spPr/>
      <dgm:t>
        <a:bodyPr/>
        <a:lstStyle/>
        <a:p>
          <a:endParaRPr lang="en-US" sz="1100"/>
        </a:p>
      </dgm:t>
    </dgm:pt>
    <dgm:pt modelId="{5C340946-6794-4F18-8618-F996A548E65D}">
      <dgm:prSet phldrT="[Text]" custT="1"/>
      <dgm:spPr/>
      <dgm:t>
        <a:bodyPr/>
        <a:lstStyle/>
        <a:p>
          <a:r>
            <a:rPr lang="en-US" sz="1600" dirty="0"/>
            <a:t>Special nodes called ‘miners’ validate a number of transactions. Then solve a difficult math problem.</a:t>
          </a:r>
        </a:p>
      </dgm:t>
    </dgm:pt>
    <dgm:pt modelId="{09BAD1B9-C449-439A-AFBB-FF2FA059BA86}" type="parTrans" cxnId="{9EFC26DA-4FD3-4C32-9CA2-FBDA74507884}">
      <dgm:prSet/>
      <dgm:spPr/>
      <dgm:t>
        <a:bodyPr/>
        <a:lstStyle/>
        <a:p>
          <a:endParaRPr lang="en-US" sz="2400"/>
        </a:p>
      </dgm:t>
    </dgm:pt>
    <dgm:pt modelId="{C489E9B3-FC84-40B1-B4FE-5E004C5C713B}" type="sibTrans" cxnId="{9EFC26DA-4FD3-4C32-9CA2-FBDA74507884}">
      <dgm:prSet custT="1"/>
      <dgm:spPr/>
      <dgm:t>
        <a:bodyPr/>
        <a:lstStyle/>
        <a:p>
          <a:endParaRPr lang="en-US" sz="1100"/>
        </a:p>
      </dgm:t>
    </dgm:pt>
    <dgm:pt modelId="{8AEF2CD9-82BD-4193-A83A-64349553AEC5}">
      <dgm:prSet phldrT="[Text]" custT="1"/>
      <dgm:spPr/>
      <dgm:t>
        <a:bodyPr/>
        <a:lstStyle/>
        <a:p>
          <a:r>
            <a:rPr lang="en-US" sz="1600" dirty="0"/>
            <a:t>If the miner succeeds, it puts the transactions in a ‘block’, adds the block on top of the existing blocks.</a:t>
          </a:r>
        </a:p>
      </dgm:t>
    </dgm:pt>
    <dgm:pt modelId="{0E6B653D-A4F8-4BAB-95FA-73451FE48331}" type="parTrans" cxnId="{3393F0A1-C5E8-4671-AF62-B2AF7996580D}">
      <dgm:prSet/>
      <dgm:spPr/>
      <dgm:t>
        <a:bodyPr/>
        <a:lstStyle/>
        <a:p>
          <a:endParaRPr lang="en-US" sz="2400"/>
        </a:p>
      </dgm:t>
    </dgm:pt>
    <dgm:pt modelId="{E96E193B-704E-4D53-A336-E0C481D23AD7}" type="sibTrans" cxnId="{3393F0A1-C5E8-4671-AF62-B2AF7996580D}">
      <dgm:prSet custT="1"/>
      <dgm:spPr/>
      <dgm:t>
        <a:bodyPr/>
        <a:lstStyle/>
        <a:p>
          <a:endParaRPr lang="en-US" sz="1100"/>
        </a:p>
      </dgm:t>
    </dgm:pt>
    <dgm:pt modelId="{09175791-1282-4D0E-9DE6-A9F45823C061}">
      <dgm:prSet phldrT="[Text]" custT="1"/>
      <dgm:spPr/>
      <dgm:t>
        <a:bodyPr/>
        <a:lstStyle/>
        <a:p>
          <a:r>
            <a:rPr lang="en-US" sz="1600" dirty="0"/>
            <a:t>Miner collects bitcoin reward, then broadcasts the new block. Also collects transaction fees in that block</a:t>
          </a:r>
        </a:p>
      </dgm:t>
    </dgm:pt>
    <dgm:pt modelId="{93C2F6EC-9001-4A18-B919-3D8489D7360E}" type="parTrans" cxnId="{D8F462A2-FBDE-4359-A431-905F80A95373}">
      <dgm:prSet/>
      <dgm:spPr/>
      <dgm:t>
        <a:bodyPr/>
        <a:lstStyle/>
        <a:p>
          <a:endParaRPr lang="en-US" sz="2400"/>
        </a:p>
      </dgm:t>
    </dgm:pt>
    <dgm:pt modelId="{BEE002F6-FAF6-42C7-A332-49E65CBA37A8}" type="sibTrans" cxnId="{D8F462A2-FBDE-4359-A431-905F80A95373}">
      <dgm:prSet custT="1"/>
      <dgm:spPr/>
      <dgm:t>
        <a:bodyPr/>
        <a:lstStyle/>
        <a:p>
          <a:endParaRPr lang="en-US" sz="1100"/>
        </a:p>
      </dgm:t>
    </dgm:pt>
    <dgm:pt modelId="{A17F217C-E965-4B80-A7BA-60FA52076DEA}">
      <dgm:prSet phldrT="[Text]" custT="1"/>
      <dgm:spPr/>
      <dgm:t>
        <a:bodyPr/>
        <a:lstStyle/>
        <a:p>
          <a:r>
            <a:rPr lang="en-US" sz="1600" dirty="0"/>
            <a:t>First miner to do so wins by extending the chain of blocks called blockchain</a:t>
          </a:r>
        </a:p>
      </dgm:t>
    </dgm:pt>
    <dgm:pt modelId="{92AB853D-B87E-4C9E-B299-8667D50F8796}" type="parTrans" cxnId="{98045683-EA6A-4E22-8DB9-FBE248ACE3C2}">
      <dgm:prSet/>
      <dgm:spPr/>
      <dgm:t>
        <a:bodyPr/>
        <a:lstStyle/>
        <a:p>
          <a:endParaRPr lang="en-US" sz="2400"/>
        </a:p>
      </dgm:t>
    </dgm:pt>
    <dgm:pt modelId="{0254552A-162F-4DDC-8BC2-C91F58876B75}" type="sibTrans" cxnId="{98045683-EA6A-4E22-8DB9-FBE248ACE3C2}">
      <dgm:prSet custT="1"/>
      <dgm:spPr/>
      <dgm:t>
        <a:bodyPr/>
        <a:lstStyle/>
        <a:p>
          <a:endParaRPr lang="en-US" sz="1100"/>
        </a:p>
      </dgm:t>
    </dgm:pt>
    <dgm:pt modelId="{EFEC2ECF-ADE2-4C09-A733-415B131FCB89}">
      <dgm:prSet phldrT="[Text]" custT="1"/>
      <dgm:spPr/>
      <dgm:t>
        <a:bodyPr/>
        <a:lstStyle/>
        <a:p>
          <a:r>
            <a:rPr lang="en-US" sz="1600" dirty="0"/>
            <a:t>The race to solve the next block starts again</a:t>
          </a:r>
        </a:p>
      </dgm:t>
    </dgm:pt>
    <dgm:pt modelId="{7B699448-F4AD-4396-BF33-9A292600ABAF}" type="parTrans" cxnId="{BF987F91-D726-487B-90CB-751594BDB657}">
      <dgm:prSet/>
      <dgm:spPr/>
      <dgm:t>
        <a:bodyPr/>
        <a:lstStyle/>
        <a:p>
          <a:endParaRPr lang="en-US" sz="2400"/>
        </a:p>
      </dgm:t>
    </dgm:pt>
    <dgm:pt modelId="{F36C7948-9175-4585-B710-3046C9D19E47}" type="sibTrans" cxnId="{BF987F91-D726-487B-90CB-751594BDB657}">
      <dgm:prSet custT="1"/>
      <dgm:spPr/>
      <dgm:t>
        <a:bodyPr/>
        <a:lstStyle/>
        <a:p>
          <a:endParaRPr lang="en-US" sz="1100"/>
        </a:p>
      </dgm:t>
    </dgm:pt>
    <dgm:pt modelId="{290B6273-A36C-431B-BF3C-FA42902177E5}">
      <dgm:prSet phldrT="[Text]" custT="1"/>
      <dgm:spPr/>
      <dgm:t>
        <a:bodyPr/>
        <a:lstStyle/>
        <a:p>
          <a:r>
            <a:rPr lang="en-US" sz="1600" dirty="0"/>
            <a:t>The blockchain can only be appended</a:t>
          </a:r>
        </a:p>
      </dgm:t>
    </dgm:pt>
    <dgm:pt modelId="{33A4CF1F-49EF-4FF7-90EA-5931A34CF3FA}" type="parTrans" cxnId="{859D4FAE-93B6-4A6F-ABD6-FAEE5390EAB0}">
      <dgm:prSet/>
      <dgm:spPr/>
      <dgm:t>
        <a:bodyPr/>
        <a:lstStyle/>
        <a:p>
          <a:endParaRPr lang="en-US" sz="2400"/>
        </a:p>
      </dgm:t>
    </dgm:pt>
    <dgm:pt modelId="{BCD237C9-65E7-4EDE-82D8-C067F8F8A220}" type="sibTrans" cxnId="{859D4FAE-93B6-4A6F-ABD6-FAEE5390EAB0}">
      <dgm:prSet custT="1"/>
      <dgm:spPr/>
      <dgm:t>
        <a:bodyPr/>
        <a:lstStyle/>
        <a:p>
          <a:endParaRPr lang="en-US" sz="1100"/>
        </a:p>
      </dgm:t>
    </dgm:pt>
    <dgm:pt modelId="{11632007-0193-437C-8A13-2837E0809198}">
      <dgm:prSet phldrT="[Text]" custT="1"/>
      <dgm:spPr/>
      <dgm:t>
        <a:bodyPr/>
        <a:lstStyle/>
        <a:p>
          <a:r>
            <a:rPr lang="en-US" sz="1600" dirty="0"/>
            <a:t>Changes to the history of the blockchain are tamper evident and in some cases tamper proof</a:t>
          </a:r>
        </a:p>
      </dgm:t>
    </dgm:pt>
    <dgm:pt modelId="{078AF1F4-015B-4CBE-A60A-A3D3A7D86144}" type="parTrans" cxnId="{E4BCFEF6-4EA3-48F8-84FE-F0BB524BFE7A}">
      <dgm:prSet/>
      <dgm:spPr/>
      <dgm:t>
        <a:bodyPr/>
        <a:lstStyle/>
        <a:p>
          <a:endParaRPr lang="en-US" sz="2400"/>
        </a:p>
      </dgm:t>
    </dgm:pt>
    <dgm:pt modelId="{3351D8AA-88CB-49A5-95A6-A4B9CE89E7EC}" type="sibTrans" cxnId="{E4BCFEF6-4EA3-48F8-84FE-F0BB524BFE7A}">
      <dgm:prSet/>
      <dgm:spPr/>
      <dgm:t>
        <a:bodyPr/>
        <a:lstStyle/>
        <a:p>
          <a:endParaRPr lang="en-US" sz="2400"/>
        </a:p>
      </dgm:t>
    </dgm:pt>
    <dgm:pt modelId="{A2EA8745-67B3-479B-B120-BA4EBD4E05CE}">
      <dgm:prSet phldrT="[Text]" custT="1"/>
      <dgm:spPr/>
      <dgm:t>
        <a:bodyPr/>
        <a:lstStyle/>
        <a:p>
          <a:r>
            <a:rPr lang="en-US" sz="1600" dirty="0"/>
            <a:t>Everyone in the network now knows that Alice has sent Bob a transaction</a:t>
          </a:r>
        </a:p>
      </dgm:t>
    </dgm:pt>
    <dgm:pt modelId="{5C29A298-20C9-43F0-92D4-7BAC2B420B6A}" type="parTrans" cxnId="{D50E16D8-2878-4539-986D-F795352FAFFC}">
      <dgm:prSet/>
      <dgm:spPr/>
      <dgm:t>
        <a:bodyPr/>
        <a:lstStyle/>
        <a:p>
          <a:endParaRPr lang="en-US"/>
        </a:p>
      </dgm:t>
    </dgm:pt>
    <dgm:pt modelId="{2ECAF904-7ED7-4F41-91B5-7870E5EAF4B1}" type="sibTrans" cxnId="{D50E16D8-2878-4539-986D-F795352FAFFC}">
      <dgm:prSet/>
      <dgm:spPr/>
      <dgm:t>
        <a:bodyPr/>
        <a:lstStyle/>
        <a:p>
          <a:endParaRPr lang="en-US"/>
        </a:p>
      </dgm:t>
    </dgm:pt>
    <dgm:pt modelId="{081A3990-61E5-4C43-A9BD-FEA2749753FF}" type="pres">
      <dgm:prSet presAssocID="{4071B1FE-9268-4280-B64A-D1B321E3A4E1}" presName="diagram" presStyleCnt="0">
        <dgm:presLayoutVars>
          <dgm:dir/>
          <dgm:resizeHandles val="exact"/>
        </dgm:presLayoutVars>
      </dgm:prSet>
      <dgm:spPr/>
    </dgm:pt>
    <dgm:pt modelId="{13DDABFE-739B-4C8D-BA35-855356A26080}" type="pres">
      <dgm:prSet presAssocID="{3E0D2381-9302-429C-8B21-046C659F543A}" presName="node" presStyleLbl="node1" presStyleIdx="0" presStyleCnt="11">
        <dgm:presLayoutVars>
          <dgm:bulletEnabled val="1"/>
        </dgm:presLayoutVars>
      </dgm:prSet>
      <dgm:spPr/>
    </dgm:pt>
    <dgm:pt modelId="{5E55B4E3-84E5-4090-B8E9-E72013610DFA}" type="pres">
      <dgm:prSet presAssocID="{1AEB780C-2408-47B6-9D16-4ECFC19A7911}" presName="sibTrans" presStyleLbl="sibTrans2D1" presStyleIdx="0" presStyleCnt="10"/>
      <dgm:spPr/>
    </dgm:pt>
    <dgm:pt modelId="{DECC0DC9-33D6-4B4D-8767-725FE6F2730E}" type="pres">
      <dgm:prSet presAssocID="{1AEB780C-2408-47B6-9D16-4ECFC19A7911}" presName="connectorText" presStyleLbl="sibTrans2D1" presStyleIdx="0" presStyleCnt="10"/>
      <dgm:spPr/>
    </dgm:pt>
    <dgm:pt modelId="{FA444A36-E01E-4DE6-921B-2E58F6AEDD94}" type="pres">
      <dgm:prSet presAssocID="{25D2EE21-0D10-44FD-98D1-F03D2E10DE9F}" presName="node" presStyleLbl="node1" presStyleIdx="1" presStyleCnt="11">
        <dgm:presLayoutVars>
          <dgm:bulletEnabled val="1"/>
        </dgm:presLayoutVars>
      </dgm:prSet>
      <dgm:spPr/>
    </dgm:pt>
    <dgm:pt modelId="{E560CE92-A98B-4B72-A531-EA4B382A0F89}" type="pres">
      <dgm:prSet presAssocID="{F088CC88-C40B-40F3-8064-D5FBE98A85A5}" presName="sibTrans" presStyleLbl="sibTrans2D1" presStyleIdx="1" presStyleCnt="10"/>
      <dgm:spPr/>
    </dgm:pt>
    <dgm:pt modelId="{460D8BD4-0516-4F1C-9ABE-FD5601E26B79}" type="pres">
      <dgm:prSet presAssocID="{F088CC88-C40B-40F3-8064-D5FBE98A85A5}" presName="connectorText" presStyleLbl="sibTrans2D1" presStyleIdx="1" presStyleCnt="10"/>
      <dgm:spPr/>
    </dgm:pt>
    <dgm:pt modelId="{323F867A-C5BB-49B7-86FE-E5CE6DE2DB84}" type="pres">
      <dgm:prSet presAssocID="{C7D14688-6657-43A8-9891-3A334B9E8179}" presName="node" presStyleLbl="node1" presStyleIdx="2" presStyleCnt="11">
        <dgm:presLayoutVars>
          <dgm:bulletEnabled val="1"/>
        </dgm:presLayoutVars>
      </dgm:prSet>
      <dgm:spPr/>
    </dgm:pt>
    <dgm:pt modelId="{CF732B0F-6C31-4ED9-9271-F7EE42469025}" type="pres">
      <dgm:prSet presAssocID="{0F487022-3616-4778-9B16-7F16870909DE}" presName="sibTrans" presStyleLbl="sibTrans2D1" presStyleIdx="2" presStyleCnt="10"/>
      <dgm:spPr/>
    </dgm:pt>
    <dgm:pt modelId="{CBFC5443-E7F8-4418-A03B-46F8E2B44F64}" type="pres">
      <dgm:prSet presAssocID="{0F487022-3616-4778-9B16-7F16870909DE}" presName="connectorText" presStyleLbl="sibTrans2D1" presStyleIdx="2" presStyleCnt="10"/>
      <dgm:spPr/>
    </dgm:pt>
    <dgm:pt modelId="{578C07A6-258A-46D3-87A0-249B1494BD5E}" type="pres">
      <dgm:prSet presAssocID="{5C340946-6794-4F18-8618-F996A548E65D}" presName="node" presStyleLbl="node1" presStyleIdx="3" presStyleCnt="11">
        <dgm:presLayoutVars>
          <dgm:bulletEnabled val="1"/>
        </dgm:presLayoutVars>
      </dgm:prSet>
      <dgm:spPr/>
    </dgm:pt>
    <dgm:pt modelId="{E5B094F3-EE85-4317-91E6-21E6039322C1}" type="pres">
      <dgm:prSet presAssocID="{C489E9B3-FC84-40B1-B4FE-5E004C5C713B}" presName="sibTrans" presStyleLbl="sibTrans2D1" presStyleIdx="3" presStyleCnt="10"/>
      <dgm:spPr/>
    </dgm:pt>
    <dgm:pt modelId="{3CEBCD5E-8C7B-40AB-B3DD-A1EE67AF4BBC}" type="pres">
      <dgm:prSet presAssocID="{C489E9B3-FC84-40B1-B4FE-5E004C5C713B}" presName="connectorText" presStyleLbl="sibTrans2D1" presStyleIdx="3" presStyleCnt="10"/>
      <dgm:spPr/>
    </dgm:pt>
    <dgm:pt modelId="{10C42B33-3931-4E8D-8AFC-65839E70CEE3}" type="pres">
      <dgm:prSet presAssocID="{8AEF2CD9-82BD-4193-A83A-64349553AEC5}" presName="node" presStyleLbl="node1" presStyleIdx="4" presStyleCnt="11">
        <dgm:presLayoutVars>
          <dgm:bulletEnabled val="1"/>
        </dgm:presLayoutVars>
      </dgm:prSet>
      <dgm:spPr/>
    </dgm:pt>
    <dgm:pt modelId="{76C0A1ED-41F1-45FC-A1F9-749FDAB99CEE}" type="pres">
      <dgm:prSet presAssocID="{E96E193B-704E-4D53-A336-E0C481D23AD7}" presName="sibTrans" presStyleLbl="sibTrans2D1" presStyleIdx="4" presStyleCnt="10"/>
      <dgm:spPr/>
    </dgm:pt>
    <dgm:pt modelId="{3E2A3D43-7C94-4AD1-9243-E6E1EDF8E3C6}" type="pres">
      <dgm:prSet presAssocID="{E96E193B-704E-4D53-A336-E0C481D23AD7}" presName="connectorText" presStyleLbl="sibTrans2D1" presStyleIdx="4" presStyleCnt="10"/>
      <dgm:spPr/>
    </dgm:pt>
    <dgm:pt modelId="{F12FFE6C-699B-44A7-BCF5-2DCE6E63CFD4}" type="pres">
      <dgm:prSet presAssocID="{09175791-1282-4D0E-9DE6-A9F45823C061}" presName="node" presStyleLbl="node1" presStyleIdx="5" presStyleCnt="11">
        <dgm:presLayoutVars>
          <dgm:bulletEnabled val="1"/>
        </dgm:presLayoutVars>
      </dgm:prSet>
      <dgm:spPr/>
    </dgm:pt>
    <dgm:pt modelId="{4346544D-C7C5-4143-93E6-364652B7D7BC}" type="pres">
      <dgm:prSet presAssocID="{BEE002F6-FAF6-42C7-A332-49E65CBA37A8}" presName="sibTrans" presStyleLbl="sibTrans2D1" presStyleIdx="5" presStyleCnt="10"/>
      <dgm:spPr/>
    </dgm:pt>
    <dgm:pt modelId="{FCF57677-F299-428B-8639-DFD2C04A68D5}" type="pres">
      <dgm:prSet presAssocID="{BEE002F6-FAF6-42C7-A332-49E65CBA37A8}" presName="connectorText" presStyleLbl="sibTrans2D1" presStyleIdx="5" presStyleCnt="10"/>
      <dgm:spPr/>
    </dgm:pt>
    <dgm:pt modelId="{12D539BE-3894-4EBA-8DBF-C57765919661}" type="pres">
      <dgm:prSet presAssocID="{A17F217C-E965-4B80-A7BA-60FA52076DEA}" presName="node" presStyleLbl="node1" presStyleIdx="6" presStyleCnt="11">
        <dgm:presLayoutVars>
          <dgm:bulletEnabled val="1"/>
        </dgm:presLayoutVars>
      </dgm:prSet>
      <dgm:spPr/>
    </dgm:pt>
    <dgm:pt modelId="{BFEAE4EC-9E0F-4395-85E1-AC702EFD95AF}" type="pres">
      <dgm:prSet presAssocID="{0254552A-162F-4DDC-8BC2-C91F58876B75}" presName="sibTrans" presStyleLbl="sibTrans2D1" presStyleIdx="6" presStyleCnt="10"/>
      <dgm:spPr/>
    </dgm:pt>
    <dgm:pt modelId="{91AC3B3E-43F2-4484-B562-DBC2F7E30792}" type="pres">
      <dgm:prSet presAssocID="{0254552A-162F-4DDC-8BC2-C91F58876B75}" presName="connectorText" presStyleLbl="sibTrans2D1" presStyleIdx="6" presStyleCnt="10"/>
      <dgm:spPr/>
    </dgm:pt>
    <dgm:pt modelId="{656F3B6E-702B-499C-A837-4628B1ADEECA}" type="pres">
      <dgm:prSet presAssocID="{EFEC2ECF-ADE2-4C09-A733-415B131FCB89}" presName="node" presStyleLbl="node1" presStyleIdx="7" presStyleCnt="11">
        <dgm:presLayoutVars>
          <dgm:bulletEnabled val="1"/>
        </dgm:presLayoutVars>
      </dgm:prSet>
      <dgm:spPr/>
    </dgm:pt>
    <dgm:pt modelId="{F1CDB54D-9037-438B-9778-2B2906CBB9AD}" type="pres">
      <dgm:prSet presAssocID="{F36C7948-9175-4585-B710-3046C9D19E47}" presName="sibTrans" presStyleLbl="sibTrans2D1" presStyleIdx="7" presStyleCnt="10"/>
      <dgm:spPr/>
    </dgm:pt>
    <dgm:pt modelId="{5C3078AB-83DD-4C0E-B3D1-23452E834365}" type="pres">
      <dgm:prSet presAssocID="{F36C7948-9175-4585-B710-3046C9D19E47}" presName="connectorText" presStyleLbl="sibTrans2D1" presStyleIdx="7" presStyleCnt="10"/>
      <dgm:spPr/>
    </dgm:pt>
    <dgm:pt modelId="{D859F742-3AE5-48DA-89EB-195B4E302239}" type="pres">
      <dgm:prSet presAssocID="{290B6273-A36C-431B-BF3C-FA42902177E5}" presName="node" presStyleLbl="node1" presStyleIdx="8" presStyleCnt="11">
        <dgm:presLayoutVars>
          <dgm:bulletEnabled val="1"/>
        </dgm:presLayoutVars>
      </dgm:prSet>
      <dgm:spPr/>
    </dgm:pt>
    <dgm:pt modelId="{046945F9-6A22-4A1B-B6A8-E46266A9F6F1}" type="pres">
      <dgm:prSet presAssocID="{BCD237C9-65E7-4EDE-82D8-C067F8F8A220}" presName="sibTrans" presStyleLbl="sibTrans2D1" presStyleIdx="8" presStyleCnt="10"/>
      <dgm:spPr/>
    </dgm:pt>
    <dgm:pt modelId="{5A053D83-0C60-4664-BFC0-68639B3C677E}" type="pres">
      <dgm:prSet presAssocID="{BCD237C9-65E7-4EDE-82D8-C067F8F8A220}" presName="connectorText" presStyleLbl="sibTrans2D1" presStyleIdx="8" presStyleCnt="10"/>
      <dgm:spPr/>
    </dgm:pt>
    <dgm:pt modelId="{ECCB419A-3C24-4B24-AC6E-A4499CD74DB1}" type="pres">
      <dgm:prSet presAssocID="{11632007-0193-437C-8A13-2837E0809198}" presName="node" presStyleLbl="node1" presStyleIdx="9" presStyleCnt="11">
        <dgm:presLayoutVars>
          <dgm:bulletEnabled val="1"/>
        </dgm:presLayoutVars>
      </dgm:prSet>
      <dgm:spPr/>
    </dgm:pt>
    <dgm:pt modelId="{C0EE9AF1-7913-405D-9255-4B9684A1DB33}" type="pres">
      <dgm:prSet presAssocID="{3351D8AA-88CB-49A5-95A6-A4B9CE89E7EC}" presName="sibTrans" presStyleLbl="sibTrans2D1" presStyleIdx="9" presStyleCnt="10"/>
      <dgm:spPr/>
    </dgm:pt>
    <dgm:pt modelId="{DFEEDFCC-0850-4132-A103-C4A7BC01971E}" type="pres">
      <dgm:prSet presAssocID="{3351D8AA-88CB-49A5-95A6-A4B9CE89E7EC}" presName="connectorText" presStyleLbl="sibTrans2D1" presStyleIdx="9" presStyleCnt="10"/>
      <dgm:spPr/>
    </dgm:pt>
    <dgm:pt modelId="{D5A2ED24-6865-48EF-899A-10126CC996F3}" type="pres">
      <dgm:prSet presAssocID="{A2EA8745-67B3-479B-B120-BA4EBD4E05CE}" presName="node" presStyleLbl="node1" presStyleIdx="10" presStyleCnt="11">
        <dgm:presLayoutVars>
          <dgm:bulletEnabled val="1"/>
        </dgm:presLayoutVars>
      </dgm:prSet>
      <dgm:spPr/>
    </dgm:pt>
  </dgm:ptLst>
  <dgm:cxnLst>
    <dgm:cxn modelId="{FEE9490A-B629-47BF-A6A5-EC35DE56C1F6}" type="presOf" srcId="{BEE002F6-FAF6-42C7-A332-49E65CBA37A8}" destId="{FCF57677-F299-428B-8639-DFD2C04A68D5}" srcOrd="1" destOrd="0" presId="urn:microsoft.com/office/officeart/2005/8/layout/process5"/>
    <dgm:cxn modelId="{5808F90A-1A55-487F-9A37-23177A87A008}" type="presOf" srcId="{F36C7948-9175-4585-B710-3046C9D19E47}" destId="{F1CDB54D-9037-438B-9778-2B2906CBB9AD}" srcOrd="0" destOrd="0" presId="urn:microsoft.com/office/officeart/2005/8/layout/process5"/>
    <dgm:cxn modelId="{DE6BE70B-F7C9-4D1C-98F1-CA685575985A}" type="presOf" srcId="{A2EA8745-67B3-479B-B120-BA4EBD4E05CE}" destId="{D5A2ED24-6865-48EF-899A-10126CC996F3}" srcOrd="0" destOrd="0" presId="urn:microsoft.com/office/officeart/2005/8/layout/process5"/>
    <dgm:cxn modelId="{6B6A911C-3076-4F46-AD28-01A4621D50E0}" type="presOf" srcId="{0F487022-3616-4778-9B16-7F16870909DE}" destId="{CBFC5443-E7F8-4418-A03B-46F8E2B44F64}" srcOrd="1" destOrd="0" presId="urn:microsoft.com/office/officeart/2005/8/layout/process5"/>
    <dgm:cxn modelId="{D1592421-BD1C-4802-B497-C3542FF63C26}" type="presOf" srcId="{1AEB780C-2408-47B6-9D16-4ECFC19A7911}" destId="{5E55B4E3-84E5-4090-B8E9-E72013610DFA}" srcOrd="0" destOrd="0" presId="urn:microsoft.com/office/officeart/2005/8/layout/process5"/>
    <dgm:cxn modelId="{F6DBAD27-9828-49EF-B617-33370232DCC8}" type="presOf" srcId="{0254552A-162F-4DDC-8BC2-C91F58876B75}" destId="{91AC3B3E-43F2-4484-B562-DBC2F7E30792}" srcOrd="1" destOrd="0" presId="urn:microsoft.com/office/officeart/2005/8/layout/process5"/>
    <dgm:cxn modelId="{5FD90E2D-3743-4D37-8592-785204D5CB18}" type="presOf" srcId="{E96E193B-704E-4D53-A336-E0C481D23AD7}" destId="{76C0A1ED-41F1-45FC-A1F9-749FDAB99CEE}" srcOrd="0" destOrd="0" presId="urn:microsoft.com/office/officeart/2005/8/layout/process5"/>
    <dgm:cxn modelId="{B81F1A37-5DB6-4B20-824E-BC18CB093B50}" type="presOf" srcId="{F088CC88-C40B-40F3-8064-D5FBE98A85A5}" destId="{460D8BD4-0516-4F1C-9ABE-FD5601E26B79}" srcOrd="1" destOrd="0" presId="urn:microsoft.com/office/officeart/2005/8/layout/process5"/>
    <dgm:cxn modelId="{1392BE3C-9002-4B0E-9792-C56D36FD1B25}" type="presOf" srcId="{3E0D2381-9302-429C-8B21-046C659F543A}" destId="{13DDABFE-739B-4C8D-BA35-855356A26080}" srcOrd="0" destOrd="0" presId="urn:microsoft.com/office/officeart/2005/8/layout/process5"/>
    <dgm:cxn modelId="{4D4BEC3E-5298-40F7-989A-05584C4B2C2A}" type="presOf" srcId="{F36C7948-9175-4585-B710-3046C9D19E47}" destId="{5C3078AB-83DD-4C0E-B3D1-23452E834365}" srcOrd="1" destOrd="0" presId="urn:microsoft.com/office/officeart/2005/8/layout/process5"/>
    <dgm:cxn modelId="{D231C03F-890C-46BB-A622-F340B1BDA3D7}" type="presOf" srcId="{BCD237C9-65E7-4EDE-82D8-C067F8F8A220}" destId="{5A053D83-0C60-4664-BFC0-68639B3C677E}" srcOrd="1" destOrd="0" presId="urn:microsoft.com/office/officeart/2005/8/layout/process5"/>
    <dgm:cxn modelId="{21A22C5E-EAA0-490A-A689-41D0DE7BFC06}" type="presOf" srcId="{11632007-0193-437C-8A13-2837E0809198}" destId="{ECCB419A-3C24-4B24-AC6E-A4499CD74DB1}" srcOrd="0" destOrd="0" presId="urn:microsoft.com/office/officeart/2005/8/layout/process5"/>
    <dgm:cxn modelId="{9F5E1C48-9759-4BA8-B56B-357C3748CEB7}" type="presOf" srcId="{C489E9B3-FC84-40B1-B4FE-5E004C5C713B}" destId="{3CEBCD5E-8C7B-40AB-B3DD-A1EE67AF4BBC}" srcOrd="1" destOrd="0" presId="urn:microsoft.com/office/officeart/2005/8/layout/process5"/>
    <dgm:cxn modelId="{FE8AFE4D-17D6-440B-94E1-ECD3BD01BAAC}" type="presOf" srcId="{0254552A-162F-4DDC-8BC2-C91F58876B75}" destId="{BFEAE4EC-9E0F-4395-85E1-AC702EFD95AF}" srcOrd="0" destOrd="0" presId="urn:microsoft.com/office/officeart/2005/8/layout/process5"/>
    <dgm:cxn modelId="{3A3E8E4E-AD8C-413D-9299-6CCCE9B27DAD}" srcId="{4071B1FE-9268-4280-B64A-D1B321E3A4E1}" destId="{C7D14688-6657-43A8-9891-3A334B9E8179}" srcOrd="2" destOrd="0" parTransId="{6E608930-A62C-480A-AE0B-89DB4A427590}" sibTransId="{0F487022-3616-4778-9B16-7F16870909DE}"/>
    <dgm:cxn modelId="{59797851-ACEB-44DB-BFFB-F3CD977F4335}" type="presOf" srcId="{BCD237C9-65E7-4EDE-82D8-C067F8F8A220}" destId="{046945F9-6A22-4A1B-B6A8-E46266A9F6F1}" srcOrd="0" destOrd="0" presId="urn:microsoft.com/office/officeart/2005/8/layout/process5"/>
    <dgm:cxn modelId="{73196572-70C2-4C96-83A3-A592EB3DD016}" srcId="{4071B1FE-9268-4280-B64A-D1B321E3A4E1}" destId="{25D2EE21-0D10-44FD-98D1-F03D2E10DE9F}" srcOrd="1" destOrd="0" parTransId="{9EE2C43C-4318-415E-A6B3-CAB92326B183}" sibTransId="{F088CC88-C40B-40F3-8064-D5FBE98A85A5}"/>
    <dgm:cxn modelId="{B3596553-B29F-448A-BC5F-8F07BAC64D10}" type="presOf" srcId="{C7D14688-6657-43A8-9891-3A334B9E8179}" destId="{323F867A-C5BB-49B7-86FE-E5CE6DE2DB84}" srcOrd="0" destOrd="0" presId="urn:microsoft.com/office/officeart/2005/8/layout/process5"/>
    <dgm:cxn modelId="{03B9E873-5751-4AB2-A555-7219174836BE}" type="presOf" srcId="{0F487022-3616-4778-9B16-7F16870909DE}" destId="{CF732B0F-6C31-4ED9-9271-F7EE42469025}" srcOrd="0" destOrd="0" presId="urn:microsoft.com/office/officeart/2005/8/layout/process5"/>
    <dgm:cxn modelId="{05785874-DD7B-4D26-82D4-C53459533F54}" srcId="{4071B1FE-9268-4280-B64A-D1B321E3A4E1}" destId="{3E0D2381-9302-429C-8B21-046C659F543A}" srcOrd="0" destOrd="0" parTransId="{5AC33786-2E61-4B95-AE7F-275F9D65E34D}" sibTransId="{1AEB780C-2408-47B6-9D16-4ECFC19A7911}"/>
    <dgm:cxn modelId="{6E010B79-2C10-42E0-B31C-0115135D6B4F}" type="presOf" srcId="{A17F217C-E965-4B80-A7BA-60FA52076DEA}" destId="{12D539BE-3894-4EBA-8DBF-C57765919661}" srcOrd="0" destOrd="0" presId="urn:microsoft.com/office/officeart/2005/8/layout/process5"/>
    <dgm:cxn modelId="{D7CA4C83-6E71-4D9E-A02A-299B16CB4EF8}" type="presOf" srcId="{3351D8AA-88CB-49A5-95A6-A4B9CE89E7EC}" destId="{DFEEDFCC-0850-4132-A103-C4A7BC01971E}" srcOrd="1" destOrd="0" presId="urn:microsoft.com/office/officeart/2005/8/layout/process5"/>
    <dgm:cxn modelId="{98045683-EA6A-4E22-8DB9-FBE248ACE3C2}" srcId="{4071B1FE-9268-4280-B64A-D1B321E3A4E1}" destId="{A17F217C-E965-4B80-A7BA-60FA52076DEA}" srcOrd="6" destOrd="0" parTransId="{92AB853D-B87E-4C9E-B299-8667D50F8796}" sibTransId="{0254552A-162F-4DDC-8BC2-C91F58876B75}"/>
    <dgm:cxn modelId="{228FD490-AF3F-48C3-93C9-AAD182FCD937}" type="presOf" srcId="{EFEC2ECF-ADE2-4C09-A733-415B131FCB89}" destId="{656F3B6E-702B-499C-A837-4628B1ADEECA}" srcOrd="0" destOrd="0" presId="urn:microsoft.com/office/officeart/2005/8/layout/process5"/>
    <dgm:cxn modelId="{BF987F91-D726-487B-90CB-751594BDB657}" srcId="{4071B1FE-9268-4280-B64A-D1B321E3A4E1}" destId="{EFEC2ECF-ADE2-4C09-A733-415B131FCB89}" srcOrd="7" destOrd="0" parTransId="{7B699448-F4AD-4396-BF33-9A292600ABAF}" sibTransId="{F36C7948-9175-4585-B710-3046C9D19E47}"/>
    <dgm:cxn modelId="{DC04249F-50EF-40F7-B3B9-F0A530075C25}" type="presOf" srcId="{C489E9B3-FC84-40B1-B4FE-5E004C5C713B}" destId="{E5B094F3-EE85-4317-91E6-21E6039322C1}" srcOrd="0" destOrd="0" presId="urn:microsoft.com/office/officeart/2005/8/layout/process5"/>
    <dgm:cxn modelId="{3393F0A1-C5E8-4671-AF62-B2AF7996580D}" srcId="{4071B1FE-9268-4280-B64A-D1B321E3A4E1}" destId="{8AEF2CD9-82BD-4193-A83A-64349553AEC5}" srcOrd="4" destOrd="0" parTransId="{0E6B653D-A4F8-4BAB-95FA-73451FE48331}" sibTransId="{E96E193B-704E-4D53-A336-E0C481D23AD7}"/>
    <dgm:cxn modelId="{D8F462A2-FBDE-4359-A431-905F80A95373}" srcId="{4071B1FE-9268-4280-B64A-D1B321E3A4E1}" destId="{09175791-1282-4D0E-9DE6-A9F45823C061}" srcOrd="5" destOrd="0" parTransId="{93C2F6EC-9001-4A18-B919-3D8489D7360E}" sibTransId="{BEE002F6-FAF6-42C7-A332-49E65CBA37A8}"/>
    <dgm:cxn modelId="{156E1AA9-A139-457C-92A6-D79315597552}" type="presOf" srcId="{E96E193B-704E-4D53-A336-E0C481D23AD7}" destId="{3E2A3D43-7C94-4AD1-9243-E6E1EDF8E3C6}" srcOrd="1" destOrd="0" presId="urn:microsoft.com/office/officeart/2005/8/layout/process5"/>
    <dgm:cxn modelId="{117554AD-F70F-4C35-9346-B19F96BD1F7D}" type="presOf" srcId="{3351D8AA-88CB-49A5-95A6-A4B9CE89E7EC}" destId="{C0EE9AF1-7913-405D-9255-4B9684A1DB33}" srcOrd="0" destOrd="0" presId="urn:microsoft.com/office/officeart/2005/8/layout/process5"/>
    <dgm:cxn modelId="{859D4FAE-93B6-4A6F-ABD6-FAEE5390EAB0}" srcId="{4071B1FE-9268-4280-B64A-D1B321E3A4E1}" destId="{290B6273-A36C-431B-BF3C-FA42902177E5}" srcOrd="8" destOrd="0" parTransId="{33A4CF1F-49EF-4FF7-90EA-5931A34CF3FA}" sibTransId="{BCD237C9-65E7-4EDE-82D8-C067F8F8A220}"/>
    <dgm:cxn modelId="{E444C5BB-2A26-4BD4-AAB7-243238E39432}" type="presOf" srcId="{290B6273-A36C-431B-BF3C-FA42902177E5}" destId="{D859F742-3AE5-48DA-89EB-195B4E302239}" srcOrd="0" destOrd="0" presId="urn:microsoft.com/office/officeart/2005/8/layout/process5"/>
    <dgm:cxn modelId="{820652C5-FECF-4491-A558-436F3EC6BCB1}" type="presOf" srcId="{F088CC88-C40B-40F3-8064-D5FBE98A85A5}" destId="{E560CE92-A98B-4B72-A531-EA4B382A0F89}" srcOrd="0" destOrd="0" presId="urn:microsoft.com/office/officeart/2005/8/layout/process5"/>
    <dgm:cxn modelId="{056729CC-A6B0-4F60-8E35-1D960D01B4F1}" type="presOf" srcId="{1AEB780C-2408-47B6-9D16-4ECFC19A7911}" destId="{DECC0DC9-33D6-4B4D-8767-725FE6F2730E}" srcOrd="1" destOrd="0" presId="urn:microsoft.com/office/officeart/2005/8/layout/process5"/>
    <dgm:cxn modelId="{B08B65D3-B443-4A44-BB32-66E91063AA8D}" type="presOf" srcId="{5C340946-6794-4F18-8618-F996A548E65D}" destId="{578C07A6-258A-46D3-87A0-249B1494BD5E}" srcOrd="0" destOrd="0" presId="urn:microsoft.com/office/officeart/2005/8/layout/process5"/>
    <dgm:cxn modelId="{BF709BD3-1134-493F-A5F7-0C7ABA0C11BA}" type="presOf" srcId="{09175791-1282-4D0E-9DE6-A9F45823C061}" destId="{F12FFE6C-699B-44A7-BCF5-2DCE6E63CFD4}" srcOrd="0" destOrd="0" presId="urn:microsoft.com/office/officeart/2005/8/layout/process5"/>
    <dgm:cxn modelId="{D50E16D8-2878-4539-986D-F795352FAFFC}" srcId="{4071B1FE-9268-4280-B64A-D1B321E3A4E1}" destId="{A2EA8745-67B3-479B-B120-BA4EBD4E05CE}" srcOrd="10" destOrd="0" parTransId="{5C29A298-20C9-43F0-92D4-7BAC2B420B6A}" sibTransId="{2ECAF904-7ED7-4F41-91B5-7870E5EAF4B1}"/>
    <dgm:cxn modelId="{9EFC26DA-4FD3-4C32-9CA2-FBDA74507884}" srcId="{4071B1FE-9268-4280-B64A-D1B321E3A4E1}" destId="{5C340946-6794-4F18-8618-F996A548E65D}" srcOrd="3" destOrd="0" parTransId="{09BAD1B9-C449-439A-AFBB-FF2FA059BA86}" sibTransId="{C489E9B3-FC84-40B1-B4FE-5E004C5C713B}"/>
    <dgm:cxn modelId="{CD67DADE-CBB1-4C2D-9318-962DFA6F7D9F}" type="presOf" srcId="{25D2EE21-0D10-44FD-98D1-F03D2E10DE9F}" destId="{FA444A36-E01E-4DE6-921B-2E58F6AEDD94}" srcOrd="0" destOrd="0" presId="urn:microsoft.com/office/officeart/2005/8/layout/process5"/>
    <dgm:cxn modelId="{A0A4BEE6-4D18-455C-A87B-FB8F7919D5F1}" type="presOf" srcId="{8AEF2CD9-82BD-4193-A83A-64349553AEC5}" destId="{10C42B33-3931-4E8D-8AFC-65839E70CEE3}" srcOrd="0" destOrd="0" presId="urn:microsoft.com/office/officeart/2005/8/layout/process5"/>
    <dgm:cxn modelId="{E4BCFEF6-4EA3-48F8-84FE-F0BB524BFE7A}" srcId="{4071B1FE-9268-4280-B64A-D1B321E3A4E1}" destId="{11632007-0193-437C-8A13-2837E0809198}" srcOrd="9" destOrd="0" parTransId="{078AF1F4-015B-4CBE-A60A-A3D3A7D86144}" sibTransId="{3351D8AA-88CB-49A5-95A6-A4B9CE89E7EC}"/>
    <dgm:cxn modelId="{701263F8-2CB8-4279-B111-3DBD08ACC923}" type="presOf" srcId="{4071B1FE-9268-4280-B64A-D1B321E3A4E1}" destId="{081A3990-61E5-4C43-A9BD-FEA2749753FF}" srcOrd="0" destOrd="0" presId="urn:microsoft.com/office/officeart/2005/8/layout/process5"/>
    <dgm:cxn modelId="{F1E39AFC-40D6-4453-AF0F-414D839828C1}" type="presOf" srcId="{BEE002F6-FAF6-42C7-A332-49E65CBA37A8}" destId="{4346544D-C7C5-4143-93E6-364652B7D7BC}" srcOrd="0" destOrd="0" presId="urn:microsoft.com/office/officeart/2005/8/layout/process5"/>
    <dgm:cxn modelId="{757BBACA-AEBB-48FA-AD8D-02033291935A}" type="presParOf" srcId="{081A3990-61E5-4C43-A9BD-FEA2749753FF}" destId="{13DDABFE-739B-4C8D-BA35-855356A26080}" srcOrd="0" destOrd="0" presId="urn:microsoft.com/office/officeart/2005/8/layout/process5"/>
    <dgm:cxn modelId="{1978954B-15B6-4789-8922-0BACB1B5607D}" type="presParOf" srcId="{081A3990-61E5-4C43-A9BD-FEA2749753FF}" destId="{5E55B4E3-84E5-4090-B8E9-E72013610DFA}" srcOrd="1" destOrd="0" presId="urn:microsoft.com/office/officeart/2005/8/layout/process5"/>
    <dgm:cxn modelId="{F30C898F-D165-4D42-A2B9-013828DE3E18}" type="presParOf" srcId="{5E55B4E3-84E5-4090-B8E9-E72013610DFA}" destId="{DECC0DC9-33D6-4B4D-8767-725FE6F2730E}" srcOrd="0" destOrd="0" presId="urn:microsoft.com/office/officeart/2005/8/layout/process5"/>
    <dgm:cxn modelId="{34335452-D61D-46A4-94B4-94A0A8FBD30B}" type="presParOf" srcId="{081A3990-61E5-4C43-A9BD-FEA2749753FF}" destId="{FA444A36-E01E-4DE6-921B-2E58F6AEDD94}" srcOrd="2" destOrd="0" presId="urn:microsoft.com/office/officeart/2005/8/layout/process5"/>
    <dgm:cxn modelId="{99E300F0-92F9-4AC1-A877-0BC9446C8B40}" type="presParOf" srcId="{081A3990-61E5-4C43-A9BD-FEA2749753FF}" destId="{E560CE92-A98B-4B72-A531-EA4B382A0F89}" srcOrd="3" destOrd="0" presId="urn:microsoft.com/office/officeart/2005/8/layout/process5"/>
    <dgm:cxn modelId="{622DD906-ECF3-4019-9A2F-C2641B1BEC6A}" type="presParOf" srcId="{E560CE92-A98B-4B72-A531-EA4B382A0F89}" destId="{460D8BD4-0516-4F1C-9ABE-FD5601E26B79}" srcOrd="0" destOrd="0" presId="urn:microsoft.com/office/officeart/2005/8/layout/process5"/>
    <dgm:cxn modelId="{A5F48841-C1A2-4BEF-9410-21908E3CEF73}" type="presParOf" srcId="{081A3990-61E5-4C43-A9BD-FEA2749753FF}" destId="{323F867A-C5BB-49B7-86FE-E5CE6DE2DB84}" srcOrd="4" destOrd="0" presId="urn:microsoft.com/office/officeart/2005/8/layout/process5"/>
    <dgm:cxn modelId="{47C8A184-542F-496F-A2D2-9C80C00508F6}" type="presParOf" srcId="{081A3990-61E5-4C43-A9BD-FEA2749753FF}" destId="{CF732B0F-6C31-4ED9-9271-F7EE42469025}" srcOrd="5" destOrd="0" presId="urn:microsoft.com/office/officeart/2005/8/layout/process5"/>
    <dgm:cxn modelId="{D8623EFE-4725-44BB-9BEF-4B4F3C1E7338}" type="presParOf" srcId="{CF732B0F-6C31-4ED9-9271-F7EE42469025}" destId="{CBFC5443-E7F8-4418-A03B-46F8E2B44F64}" srcOrd="0" destOrd="0" presId="urn:microsoft.com/office/officeart/2005/8/layout/process5"/>
    <dgm:cxn modelId="{DD086949-78B7-4202-8112-3872FDA1E8A1}" type="presParOf" srcId="{081A3990-61E5-4C43-A9BD-FEA2749753FF}" destId="{578C07A6-258A-46D3-87A0-249B1494BD5E}" srcOrd="6" destOrd="0" presId="urn:microsoft.com/office/officeart/2005/8/layout/process5"/>
    <dgm:cxn modelId="{6FE15A40-F6BC-47AE-9643-81EE4645FB45}" type="presParOf" srcId="{081A3990-61E5-4C43-A9BD-FEA2749753FF}" destId="{E5B094F3-EE85-4317-91E6-21E6039322C1}" srcOrd="7" destOrd="0" presId="urn:microsoft.com/office/officeart/2005/8/layout/process5"/>
    <dgm:cxn modelId="{C5446934-50CA-4226-AD32-56DE072CA0AB}" type="presParOf" srcId="{E5B094F3-EE85-4317-91E6-21E6039322C1}" destId="{3CEBCD5E-8C7B-40AB-B3DD-A1EE67AF4BBC}" srcOrd="0" destOrd="0" presId="urn:microsoft.com/office/officeart/2005/8/layout/process5"/>
    <dgm:cxn modelId="{D664ABC7-46BC-4D3D-B70D-F0FBC4BDD9C5}" type="presParOf" srcId="{081A3990-61E5-4C43-A9BD-FEA2749753FF}" destId="{10C42B33-3931-4E8D-8AFC-65839E70CEE3}" srcOrd="8" destOrd="0" presId="urn:microsoft.com/office/officeart/2005/8/layout/process5"/>
    <dgm:cxn modelId="{A509FD86-6E02-4AED-9398-352F197EDE1C}" type="presParOf" srcId="{081A3990-61E5-4C43-A9BD-FEA2749753FF}" destId="{76C0A1ED-41F1-45FC-A1F9-749FDAB99CEE}" srcOrd="9" destOrd="0" presId="urn:microsoft.com/office/officeart/2005/8/layout/process5"/>
    <dgm:cxn modelId="{79C44A56-07E1-4AA5-B9D6-497F727E4664}" type="presParOf" srcId="{76C0A1ED-41F1-45FC-A1F9-749FDAB99CEE}" destId="{3E2A3D43-7C94-4AD1-9243-E6E1EDF8E3C6}" srcOrd="0" destOrd="0" presId="urn:microsoft.com/office/officeart/2005/8/layout/process5"/>
    <dgm:cxn modelId="{FE325F74-282F-4CEA-9F77-5CD5B4177BD3}" type="presParOf" srcId="{081A3990-61E5-4C43-A9BD-FEA2749753FF}" destId="{F12FFE6C-699B-44A7-BCF5-2DCE6E63CFD4}" srcOrd="10" destOrd="0" presId="urn:microsoft.com/office/officeart/2005/8/layout/process5"/>
    <dgm:cxn modelId="{B3D267BA-0C4F-4015-8DE1-A7811CF48152}" type="presParOf" srcId="{081A3990-61E5-4C43-A9BD-FEA2749753FF}" destId="{4346544D-C7C5-4143-93E6-364652B7D7BC}" srcOrd="11" destOrd="0" presId="urn:microsoft.com/office/officeart/2005/8/layout/process5"/>
    <dgm:cxn modelId="{3DF1A247-354E-4CBC-BC0E-66A74EF0D9E3}" type="presParOf" srcId="{4346544D-C7C5-4143-93E6-364652B7D7BC}" destId="{FCF57677-F299-428B-8639-DFD2C04A68D5}" srcOrd="0" destOrd="0" presId="urn:microsoft.com/office/officeart/2005/8/layout/process5"/>
    <dgm:cxn modelId="{8D6647A0-C276-4187-A33D-B4183AC86E07}" type="presParOf" srcId="{081A3990-61E5-4C43-A9BD-FEA2749753FF}" destId="{12D539BE-3894-4EBA-8DBF-C57765919661}" srcOrd="12" destOrd="0" presId="urn:microsoft.com/office/officeart/2005/8/layout/process5"/>
    <dgm:cxn modelId="{A9B71250-9A68-4602-9448-183B84A7EEDF}" type="presParOf" srcId="{081A3990-61E5-4C43-A9BD-FEA2749753FF}" destId="{BFEAE4EC-9E0F-4395-85E1-AC702EFD95AF}" srcOrd="13" destOrd="0" presId="urn:microsoft.com/office/officeart/2005/8/layout/process5"/>
    <dgm:cxn modelId="{9A59CF35-5AB2-47FE-87A4-43F7293AD4FF}" type="presParOf" srcId="{BFEAE4EC-9E0F-4395-85E1-AC702EFD95AF}" destId="{91AC3B3E-43F2-4484-B562-DBC2F7E30792}" srcOrd="0" destOrd="0" presId="urn:microsoft.com/office/officeart/2005/8/layout/process5"/>
    <dgm:cxn modelId="{E86329C4-FE60-42CD-817D-962CA72E0C27}" type="presParOf" srcId="{081A3990-61E5-4C43-A9BD-FEA2749753FF}" destId="{656F3B6E-702B-499C-A837-4628B1ADEECA}" srcOrd="14" destOrd="0" presId="urn:microsoft.com/office/officeart/2005/8/layout/process5"/>
    <dgm:cxn modelId="{E7C2519E-47C2-466C-82FD-1D316719C8FC}" type="presParOf" srcId="{081A3990-61E5-4C43-A9BD-FEA2749753FF}" destId="{F1CDB54D-9037-438B-9778-2B2906CBB9AD}" srcOrd="15" destOrd="0" presId="urn:microsoft.com/office/officeart/2005/8/layout/process5"/>
    <dgm:cxn modelId="{F3C29F38-B596-4A31-A2BC-A3BA1FE7E6E0}" type="presParOf" srcId="{F1CDB54D-9037-438B-9778-2B2906CBB9AD}" destId="{5C3078AB-83DD-4C0E-B3D1-23452E834365}" srcOrd="0" destOrd="0" presId="urn:microsoft.com/office/officeart/2005/8/layout/process5"/>
    <dgm:cxn modelId="{877D8177-49AD-43A9-A26A-644F6724F5C1}" type="presParOf" srcId="{081A3990-61E5-4C43-A9BD-FEA2749753FF}" destId="{D859F742-3AE5-48DA-89EB-195B4E302239}" srcOrd="16" destOrd="0" presId="urn:microsoft.com/office/officeart/2005/8/layout/process5"/>
    <dgm:cxn modelId="{AB5AA3C6-5D80-4420-BB9B-8B2AB1441AEF}" type="presParOf" srcId="{081A3990-61E5-4C43-A9BD-FEA2749753FF}" destId="{046945F9-6A22-4A1B-B6A8-E46266A9F6F1}" srcOrd="17" destOrd="0" presId="urn:microsoft.com/office/officeart/2005/8/layout/process5"/>
    <dgm:cxn modelId="{07C18C56-78C5-4A57-9866-4A8921668474}" type="presParOf" srcId="{046945F9-6A22-4A1B-B6A8-E46266A9F6F1}" destId="{5A053D83-0C60-4664-BFC0-68639B3C677E}" srcOrd="0" destOrd="0" presId="urn:microsoft.com/office/officeart/2005/8/layout/process5"/>
    <dgm:cxn modelId="{82C6C9EA-BBE5-47C0-A7E1-924B2DBBBBC7}" type="presParOf" srcId="{081A3990-61E5-4C43-A9BD-FEA2749753FF}" destId="{ECCB419A-3C24-4B24-AC6E-A4499CD74DB1}" srcOrd="18" destOrd="0" presId="urn:microsoft.com/office/officeart/2005/8/layout/process5"/>
    <dgm:cxn modelId="{AAFF31F8-A8E7-4B5C-BEF4-FB54BE9E8C26}" type="presParOf" srcId="{081A3990-61E5-4C43-A9BD-FEA2749753FF}" destId="{C0EE9AF1-7913-405D-9255-4B9684A1DB33}" srcOrd="19" destOrd="0" presId="urn:microsoft.com/office/officeart/2005/8/layout/process5"/>
    <dgm:cxn modelId="{F4CDDA06-DF42-4419-A093-17BEBEE2C9AD}" type="presParOf" srcId="{C0EE9AF1-7913-405D-9255-4B9684A1DB33}" destId="{DFEEDFCC-0850-4132-A103-C4A7BC01971E}" srcOrd="0" destOrd="0" presId="urn:microsoft.com/office/officeart/2005/8/layout/process5"/>
    <dgm:cxn modelId="{381216AD-BFDB-4DE9-BA1F-0E71864AC2E1}" type="presParOf" srcId="{081A3990-61E5-4C43-A9BD-FEA2749753FF}" destId="{D5A2ED24-6865-48EF-899A-10126CC996F3}" srcOrd="2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36E99A1F-8C8B-4B47-9F4C-F4A4F5C2B361}" type="doc">
      <dgm:prSet loTypeId="urn:microsoft.com/office/officeart/2005/8/layout/cycle8" loCatId="cycle" qsTypeId="urn:microsoft.com/office/officeart/2005/8/quickstyle/simple4" qsCatId="simple" csTypeId="urn:microsoft.com/office/officeart/2005/8/colors/colorful1" csCatId="colorful" phldr="1"/>
      <dgm:spPr/>
    </dgm:pt>
    <dgm:pt modelId="{D8ED6C37-78ED-4A7A-A975-B9C4B25E210A}">
      <dgm:prSet phldrT="[Text]"/>
      <dgm:spPr/>
      <dgm:t>
        <a:bodyPr/>
        <a:lstStyle/>
        <a:p>
          <a:r>
            <a:rPr lang="en-US" dirty="0"/>
            <a:t>Bits</a:t>
          </a:r>
        </a:p>
      </dgm:t>
    </dgm:pt>
    <dgm:pt modelId="{E0D07291-0520-4450-B59D-340110687EB0}" type="parTrans" cxnId="{081F42F4-661C-46A1-B3A9-02B6B20C20EF}">
      <dgm:prSet/>
      <dgm:spPr/>
      <dgm:t>
        <a:bodyPr/>
        <a:lstStyle/>
        <a:p>
          <a:endParaRPr lang="en-US"/>
        </a:p>
      </dgm:t>
    </dgm:pt>
    <dgm:pt modelId="{D1DDC601-D92E-4BA4-8402-FA9AB91351A7}" type="sibTrans" cxnId="{081F42F4-661C-46A1-B3A9-02B6B20C20EF}">
      <dgm:prSet/>
      <dgm:spPr/>
      <dgm:t>
        <a:bodyPr/>
        <a:lstStyle/>
        <a:p>
          <a:endParaRPr lang="en-US"/>
        </a:p>
      </dgm:t>
    </dgm:pt>
    <dgm:pt modelId="{BCEB6EE1-1A97-4A45-A785-6CD45D30C447}">
      <dgm:prSet phldrT="[Text]"/>
      <dgm:spPr/>
      <dgm:t>
        <a:bodyPr/>
        <a:lstStyle/>
        <a:p>
          <a:r>
            <a:rPr lang="en-US" dirty="0"/>
            <a:t>Difficulty</a:t>
          </a:r>
        </a:p>
      </dgm:t>
    </dgm:pt>
    <dgm:pt modelId="{EEADE857-7B3C-4B8F-B9B4-1E3F705711AB}" type="parTrans" cxnId="{4E351049-728C-48B7-8752-4C0094CD5041}">
      <dgm:prSet/>
      <dgm:spPr/>
      <dgm:t>
        <a:bodyPr/>
        <a:lstStyle/>
        <a:p>
          <a:endParaRPr lang="en-US"/>
        </a:p>
      </dgm:t>
    </dgm:pt>
    <dgm:pt modelId="{07B75248-66AC-4DF0-9980-B3CF748C2FB2}" type="sibTrans" cxnId="{4E351049-728C-48B7-8752-4C0094CD5041}">
      <dgm:prSet/>
      <dgm:spPr/>
      <dgm:t>
        <a:bodyPr/>
        <a:lstStyle/>
        <a:p>
          <a:endParaRPr lang="en-US"/>
        </a:p>
      </dgm:t>
    </dgm:pt>
    <dgm:pt modelId="{93E57963-F065-4BD1-8F55-19806ECD667F}">
      <dgm:prSet phldrT="[Text]"/>
      <dgm:spPr/>
      <dgm:t>
        <a:bodyPr/>
        <a:lstStyle/>
        <a:p>
          <a:r>
            <a:rPr lang="en-US" dirty="0"/>
            <a:t>Target</a:t>
          </a:r>
        </a:p>
      </dgm:t>
    </dgm:pt>
    <dgm:pt modelId="{5161EA2C-7B46-490D-B801-DE7FDA6085F5}" type="parTrans" cxnId="{C5E23259-A9FA-476C-8175-C29D745CDFDC}">
      <dgm:prSet/>
      <dgm:spPr/>
      <dgm:t>
        <a:bodyPr/>
        <a:lstStyle/>
        <a:p>
          <a:endParaRPr lang="en-US"/>
        </a:p>
      </dgm:t>
    </dgm:pt>
    <dgm:pt modelId="{9B8DECC9-EE7F-4945-A616-20D34A23E5DC}" type="sibTrans" cxnId="{C5E23259-A9FA-476C-8175-C29D745CDFDC}">
      <dgm:prSet/>
      <dgm:spPr/>
      <dgm:t>
        <a:bodyPr/>
        <a:lstStyle/>
        <a:p>
          <a:endParaRPr lang="en-US"/>
        </a:p>
      </dgm:t>
    </dgm:pt>
    <dgm:pt modelId="{C76FFDEF-C487-4B46-B24D-57F5C557D23D}" type="pres">
      <dgm:prSet presAssocID="{36E99A1F-8C8B-4B47-9F4C-F4A4F5C2B361}" presName="compositeShape" presStyleCnt="0">
        <dgm:presLayoutVars>
          <dgm:chMax val="7"/>
          <dgm:dir/>
          <dgm:resizeHandles val="exact"/>
        </dgm:presLayoutVars>
      </dgm:prSet>
      <dgm:spPr/>
    </dgm:pt>
    <dgm:pt modelId="{32F16F45-1BC5-4F5A-B86A-4B5E8D21FABB}" type="pres">
      <dgm:prSet presAssocID="{36E99A1F-8C8B-4B47-9F4C-F4A4F5C2B361}" presName="wedge1" presStyleLbl="node1" presStyleIdx="0" presStyleCnt="3"/>
      <dgm:spPr/>
    </dgm:pt>
    <dgm:pt modelId="{889D76F0-6D84-41B8-8BE8-4818E42C0D6E}" type="pres">
      <dgm:prSet presAssocID="{36E99A1F-8C8B-4B47-9F4C-F4A4F5C2B361}" presName="dummy1a" presStyleCnt="0"/>
      <dgm:spPr/>
    </dgm:pt>
    <dgm:pt modelId="{8B48EA12-7416-4B3C-81BB-7CB695AB2782}" type="pres">
      <dgm:prSet presAssocID="{36E99A1F-8C8B-4B47-9F4C-F4A4F5C2B361}" presName="dummy1b" presStyleCnt="0"/>
      <dgm:spPr/>
    </dgm:pt>
    <dgm:pt modelId="{64428168-5EC0-40D1-AC27-68A299DE8333}" type="pres">
      <dgm:prSet presAssocID="{36E99A1F-8C8B-4B47-9F4C-F4A4F5C2B361}" presName="wedge1Tx" presStyleLbl="node1" presStyleIdx="0" presStyleCnt="3">
        <dgm:presLayoutVars>
          <dgm:chMax val="0"/>
          <dgm:chPref val="0"/>
          <dgm:bulletEnabled val="1"/>
        </dgm:presLayoutVars>
      </dgm:prSet>
      <dgm:spPr/>
    </dgm:pt>
    <dgm:pt modelId="{40BA3F4F-299D-43C3-90A4-4642A0BEF0B4}" type="pres">
      <dgm:prSet presAssocID="{36E99A1F-8C8B-4B47-9F4C-F4A4F5C2B361}" presName="wedge2" presStyleLbl="node1" presStyleIdx="1" presStyleCnt="3"/>
      <dgm:spPr/>
    </dgm:pt>
    <dgm:pt modelId="{9981E6F6-5220-451C-8002-EE629B8DC80A}" type="pres">
      <dgm:prSet presAssocID="{36E99A1F-8C8B-4B47-9F4C-F4A4F5C2B361}" presName="dummy2a" presStyleCnt="0"/>
      <dgm:spPr/>
    </dgm:pt>
    <dgm:pt modelId="{CDF6BEE6-78C1-406A-9844-42384599C232}" type="pres">
      <dgm:prSet presAssocID="{36E99A1F-8C8B-4B47-9F4C-F4A4F5C2B361}" presName="dummy2b" presStyleCnt="0"/>
      <dgm:spPr/>
    </dgm:pt>
    <dgm:pt modelId="{1C0CDCB7-960F-47AD-8A38-C72D4F6CE64A}" type="pres">
      <dgm:prSet presAssocID="{36E99A1F-8C8B-4B47-9F4C-F4A4F5C2B361}" presName="wedge2Tx" presStyleLbl="node1" presStyleIdx="1" presStyleCnt="3">
        <dgm:presLayoutVars>
          <dgm:chMax val="0"/>
          <dgm:chPref val="0"/>
          <dgm:bulletEnabled val="1"/>
        </dgm:presLayoutVars>
      </dgm:prSet>
      <dgm:spPr/>
    </dgm:pt>
    <dgm:pt modelId="{1BF517B6-048C-4FE8-96EC-AABF597D6C46}" type="pres">
      <dgm:prSet presAssocID="{36E99A1F-8C8B-4B47-9F4C-F4A4F5C2B361}" presName="wedge3" presStyleLbl="node1" presStyleIdx="2" presStyleCnt="3"/>
      <dgm:spPr/>
    </dgm:pt>
    <dgm:pt modelId="{C66D3DF4-413C-4BD4-9BE8-DFEDE2B94771}" type="pres">
      <dgm:prSet presAssocID="{36E99A1F-8C8B-4B47-9F4C-F4A4F5C2B361}" presName="dummy3a" presStyleCnt="0"/>
      <dgm:spPr/>
    </dgm:pt>
    <dgm:pt modelId="{8C189F6F-3B72-4B9A-A39A-3539C6034E54}" type="pres">
      <dgm:prSet presAssocID="{36E99A1F-8C8B-4B47-9F4C-F4A4F5C2B361}" presName="dummy3b" presStyleCnt="0"/>
      <dgm:spPr/>
    </dgm:pt>
    <dgm:pt modelId="{A3EAC7A4-67BD-4314-A13B-D9340AFFFBFE}" type="pres">
      <dgm:prSet presAssocID="{36E99A1F-8C8B-4B47-9F4C-F4A4F5C2B361}" presName="wedge3Tx" presStyleLbl="node1" presStyleIdx="2" presStyleCnt="3">
        <dgm:presLayoutVars>
          <dgm:chMax val="0"/>
          <dgm:chPref val="0"/>
          <dgm:bulletEnabled val="1"/>
        </dgm:presLayoutVars>
      </dgm:prSet>
      <dgm:spPr/>
    </dgm:pt>
    <dgm:pt modelId="{964654FB-CDCF-4109-A329-822CB3D326F6}" type="pres">
      <dgm:prSet presAssocID="{D1DDC601-D92E-4BA4-8402-FA9AB91351A7}" presName="arrowWedge1" presStyleLbl="fgSibTrans2D1" presStyleIdx="0" presStyleCnt="3"/>
      <dgm:spPr/>
    </dgm:pt>
    <dgm:pt modelId="{B4CCE099-39DE-4840-984B-E3A80853AE50}" type="pres">
      <dgm:prSet presAssocID="{07B75248-66AC-4DF0-9980-B3CF748C2FB2}" presName="arrowWedge2" presStyleLbl="fgSibTrans2D1" presStyleIdx="1" presStyleCnt="3"/>
      <dgm:spPr/>
    </dgm:pt>
    <dgm:pt modelId="{BDEB777E-78CB-4239-8FCE-7F7B3A42D00F}" type="pres">
      <dgm:prSet presAssocID="{9B8DECC9-EE7F-4945-A616-20D34A23E5DC}" presName="arrowWedge3" presStyleLbl="fgSibTrans2D1" presStyleIdx="2" presStyleCnt="3"/>
      <dgm:spPr/>
    </dgm:pt>
  </dgm:ptLst>
  <dgm:cxnLst>
    <dgm:cxn modelId="{30EC6A15-8BCC-4FD2-B3C9-404F94261CA0}" type="presOf" srcId="{BCEB6EE1-1A97-4A45-A785-6CD45D30C447}" destId="{40BA3F4F-299D-43C3-90A4-4642A0BEF0B4}" srcOrd="0" destOrd="0" presId="urn:microsoft.com/office/officeart/2005/8/layout/cycle8"/>
    <dgm:cxn modelId="{351FF71B-054B-4CC1-A9B4-1C17777FF650}" type="presOf" srcId="{D8ED6C37-78ED-4A7A-A975-B9C4B25E210A}" destId="{32F16F45-1BC5-4F5A-B86A-4B5E8D21FABB}" srcOrd="0" destOrd="0" presId="urn:microsoft.com/office/officeart/2005/8/layout/cycle8"/>
    <dgm:cxn modelId="{43B28A5F-69C1-4B76-8574-B41545806BBE}" type="presOf" srcId="{36E99A1F-8C8B-4B47-9F4C-F4A4F5C2B361}" destId="{C76FFDEF-C487-4B46-B24D-57F5C557D23D}" srcOrd="0" destOrd="0" presId="urn:microsoft.com/office/officeart/2005/8/layout/cycle8"/>
    <dgm:cxn modelId="{72661F66-73E0-4598-BF54-FE50AEC9F3CF}" type="presOf" srcId="{93E57963-F065-4BD1-8F55-19806ECD667F}" destId="{A3EAC7A4-67BD-4314-A13B-D9340AFFFBFE}" srcOrd="1" destOrd="0" presId="urn:microsoft.com/office/officeart/2005/8/layout/cycle8"/>
    <dgm:cxn modelId="{4E351049-728C-48B7-8752-4C0094CD5041}" srcId="{36E99A1F-8C8B-4B47-9F4C-F4A4F5C2B361}" destId="{BCEB6EE1-1A97-4A45-A785-6CD45D30C447}" srcOrd="1" destOrd="0" parTransId="{EEADE857-7B3C-4B8F-B9B4-1E3F705711AB}" sibTransId="{07B75248-66AC-4DF0-9980-B3CF748C2FB2}"/>
    <dgm:cxn modelId="{D0750D6C-169A-474F-9A8D-235C9CB85DFC}" type="presOf" srcId="{93E57963-F065-4BD1-8F55-19806ECD667F}" destId="{1BF517B6-048C-4FE8-96EC-AABF597D6C46}" srcOrd="0" destOrd="0" presId="urn:microsoft.com/office/officeart/2005/8/layout/cycle8"/>
    <dgm:cxn modelId="{C5E23259-A9FA-476C-8175-C29D745CDFDC}" srcId="{36E99A1F-8C8B-4B47-9F4C-F4A4F5C2B361}" destId="{93E57963-F065-4BD1-8F55-19806ECD667F}" srcOrd="2" destOrd="0" parTransId="{5161EA2C-7B46-490D-B801-DE7FDA6085F5}" sibTransId="{9B8DECC9-EE7F-4945-A616-20D34A23E5DC}"/>
    <dgm:cxn modelId="{E31D8499-116B-4F0B-A509-6C4D71E824DD}" type="presOf" srcId="{D8ED6C37-78ED-4A7A-A975-B9C4B25E210A}" destId="{64428168-5EC0-40D1-AC27-68A299DE8333}" srcOrd="1" destOrd="0" presId="urn:microsoft.com/office/officeart/2005/8/layout/cycle8"/>
    <dgm:cxn modelId="{25999FEE-20C4-431E-AD32-4ACFACB7042C}" type="presOf" srcId="{BCEB6EE1-1A97-4A45-A785-6CD45D30C447}" destId="{1C0CDCB7-960F-47AD-8A38-C72D4F6CE64A}" srcOrd="1" destOrd="0" presId="urn:microsoft.com/office/officeart/2005/8/layout/cycle8"/>
    <dgm:cxn modelId="{081F42F4-661C-46A1-B3A9-02B6B20C20EF}" srcId="{36E99A1F-8C8B-4B47-9F4C-F4A4F5C2B361}" destId="{D8ED6C37-78ED-4A7A-A975-B9C4B25E210A}" srcOrd="0" destOrd="0" parTransId="{E0D07291-0520-4450-B59D-340110687EB0}" sibTransId="{D1DDC601-D92E-4BA4-8402-FA9AB91351A7}"/>
    <dgm:cxn modelId="{9613B421-F4AD-4ABA-BC46-C6B456673E55}" type="presParOf" srcId="{C76FFDEF-C487-4B46-B24D-57F5C557D23D}" destId="{32F16F45-1BC5-4F5A-B86A-4B5E8D21FABB}" srcOrd="0" destOrd="0" presId="urn:microsoft.com/office/officeart/2005/8/layout/cycle8"/>
    <dgm:cxn modelId="{F291946B-3217-441F-9C39-E92D899404E5}" type="presParOf" srcId="{C76FFDEF-C487-4B46-B24D-57F5C557D23D}" destId="{889D76F0-6D84-41B8-8BE8-4818E42C0D6E}" srcOrd="1" destOrd="0" presId="urn:microsoft.com/office/officeart/2005/8/layout/cycle8"/>
    <dgm:cxn modelId="{60B73445-EE8A-44A8-927D-F2319CC53145}" type="presParOf" srcId="{C76FFDEF-C487-4B46-B24D-57F5C557D23D}" destId="{8B48EA12-7416-4B3C-81BB-7CB695AB2782}" srcOrd="2" destOrd="0" presId="urn:microsoft.com/office/officeart/2005/8/layout/cycle8"/>
    <dgm:cxn modelId="{E9B5988C-97F7-41F1-9F77-C01C81CFC3D8}" type="presParOf" srcId="{C76FFDEF-C487-4B46-B24D-57F5C557D23D}" destId="{64428168-5EC0-40D1-AC27-68A299DE8333}" srcOrd="3" destOrd="0" presId="urn:microsoft.com/office/officeart/2005/8/layout/cycle8"/>
    <dgm:cxn modelId="{F669DA3F-3931-43ED-80F4-64B752AD5D30}" type="presParOf" srcId="{C76FFDEF-C487-4B46-B24D-57F5C557D23D}" destId="{40BA3F4F-299D-43C3-90A4-4642A0BEF0B4}" srcOrd="4" destOrd="0" presId="urn:microsoft.com/office/officeart/2005/8/layout/cycle8"/>
    <dgm:cxn modelId="{7E6E4CC2-21AB-43C1-85D9-637980627F39}" type="presParOf" srcId="{C76FFDEF-C487-4B46-B24D-57F5C557D23D}" destId="{9981E6F6-5220-451C-8002-EE629B8DC80A}" srcOrd="5" destOrd="0" presId="urn:microsoft.com/office/officeart/2005/8/layout/cycle8"/>
    <dgm:cxn modelId="{B0509C9C-4E07-4BCD-A63B-154E52A8EEA7}" type="presParOf" srcId="{C76FFDEF-C487-4B46-B24D-57F5C557D23D}" destId="{CDF6BEE6-78C1-406A-9844-42384599C232}" srcOrd="6" destOrd="0" presId="urn:microsoft.com/office/officeart/2005/8/layout/cycle8"/>
    <dgm:cxn modelId="{AA556C4C-BACC-48A1-BD0F-D8F4F2514DC9}" type="presParOf" srcId="{C76FFDEF-C487-4B46-B24D-57F5C557D23D}" destId="{1C0CDCB7-960F-47AD-8A38-C72D4F6CE64A}" srcOrd="7" destOrd="0" presId="urn:microsoft.com/office/officeart/2005/8/layout/cycle8"/>
    <dgm:cxn modelId="{1C3CFDD6-3EB6-40FA-9B54-20952F82974A}" type="presParOf" srcId="{C76FFDEF-C487-4B46-B24D-57F5C557D23D}" destId="{1BF517B6-048C-4FE8-96EC-AABF597D6C46}" srcOrd="8" destOrd="0" presId="urn:microsoft.com/office/officeart/2005/8/layout/cycle8"/>
    <dgm:cxn modelId="{55EB0B41-4144-4BB7-BBE3-15190AB14219}" type="presParOf" srcId="{C76FFDEF-C487-4B46-B24D-57F5C557D23D}" destId="{C66D3DF4-413C-4BD4-9BE8-DFEDE2B94771}" srcOrd="9" destOrd="0" presId="urn:microsoft.com/office/officeart/2005/8/layout/cycle8"/>
    <dgm:cxn modelId="{A55C78CA-0AF1-40DC-9913-E35395E1DF42}" type="presParOf" srcId="{C76FFDEF-C487-4B46-B24D-57F5C557D23D}" destId="{8C189F6F-3B72-4B9A-A39A-3539C6034E54}" srcOrd="10" destOrd="0" presId="urn:microsoft.com/office/officeart/2005/8/layout/cycle8"/>
    <dgm:cxn modelId="{EF4922D4-1A9B-4905-8B3E-97989B27AE12}" type="presParOf" srcId="{C76FFDEF-C487-4B46-B24D-57F5C557D23D}" destId="{A3EAC7A4-67BD-4314-A13B-D9340AFFFBFE}" srcOrd="11" destOrd="0" presId="urn:microsoft.com/office/officeart/2005/8/layout/cycle8"/>
    <dgm:cxn modelId="{7D6C5947-74A7-4154-A7EF-5690A679DF84}" type="presParOf" srcId="{C76FFDEF-C487-4B46-B24D-57F5C557D23D}" destId="{964654FB-CDCF-4109-A329-822CB3D326F6}" srcOrd="12" destOrd="0" presId="urn:microsoft.com/office/officeart/2005/8/layout/cycle8"/>
    <dgm:cxn modelId="{DF8095F9-C53E-4305-8452-63F4A859C024}" type="presParOf" srcId="{C76FFDEF-C487-4B46-B24D-57F5C557D23D}" destId="{B4CCE099-39DE-4840-984B-E3A80853AE50}" srcOrd="13" destOrd="0" presId="urn:microsoft.com/office/officeart/2005/8/layout/cycle8"/>
    <dgm:cxn modelId="{A37E7255-46B4-4D42-BCBE-265EA19CEB12}" type="presParOf" srcId="{C76FFDEF-C487-4B46-B24D-57F5C557D23D}" destId="{BDEB777E-78CB-4239-8FCE-7F7B3A42D00F}"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0C48C576-EF98-4F27-906F-A758AF4616EA}"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F43FC311-12AF-4E8B-857B-E73AA2B8CE19}">
      <dgm:prSet custT="1"/>
      <dgm:spPr/>
      <dgm:t>
        <a:bodyPr/>
        <a:lstStyle/>
        <a:p>
          <a:r>
            <a:rPr lang="en-US" sz="1600" dirty="0"/>
            <a:t>Do </a:t>
          </a:r>
          <a:r>
            <a:rPr lang="en-US" sz="1600" i="1" dirty="0">
              <a:solidFill>
                <a:srgbClr val="FF0000"/>
              </a:solidFill>
            </a:rPr>
            <a:t>not</a:t>
          </a:r>
          <a:r>
            <a:rPr lang="en-US" sz="1600" dirty="0"/>
            <a:t> use blockchain. Business as usual</a:t>
          </a:r>
        </a:p>
      </dgm:t>
    </dgm:pt>
    <dgm:pt modelId="{1AD18EEA-49C3-42B7-97C2-3BA272AC637F}" type="parTrans" cxnId="{5C75ADF6-F3D7-4547-9739-EFA332441398}">
      <dgm:prSet/>
      <dgm:spPr/>
      <dgm:t>
        <a:bodyPr/>
        <a:lstStyle/>
        <a:p>
          <a:endParaRPr lang="en-US" sz="2400"/>
        </a:p>
      </dgm:t>
    </dgm:pt>
    <dgm:pt modelId="{F72007FA-72A0-46F0-823B-A6CC2CF57ABF}" type="sibTrans" cxnId="{5C75ADF6-F3D7-4547-9739-EFA332441398}">
      <dgm:prSet/>
      <dgm:spPr/>
      <dgm:t>
        <a:bodyPr/>
        <a:lstStyle/>
        <a:p>
          <a:endParaRPr lang="en-US" sz="2400"/>
        </a:p>
      </dgm:t>
    </dgm:pt>
    <dgm:pt modelId="{84F77C6D-42E7-4025-BD75-58570D3010FE}" type="pres">
      <dgm:prSet presAssocID="{0C48C576-EF98-4F27-906F-A758AF4616EA}" presName="diagram" presStyleCnt="0">
        <dgm:presLayoutVars>
          <dgm:dir/>
          <dgm:resizeHandles val="exact"/>
        </dgm:presLayoutVars>
      </dgm:prSet>
      <dgm:spPr/>
    </dgm:pt>
    <dgm:pt modelId="{ABED5194-8358-4B5D-A693-4058A7308C83}" type="pres">
      <dgm:prSet presAssocID="{F43FC311-12AF-4E8B-857B-E73AA2B8CE19}" presName="node" presStyleLbl="node1" presStyleIdx="0" presStyleCnt="1" custScaleX="79941" custScaleY="51199">
        <dgm:presLayoutVars>
          <dgm:bulletEnabled val="1"/>
        </dgm:presLayoutVars>
      </dgm:prSet>
      <dgm:spPr/>
    </dgm:pt>
  </dgm:ptLst>
  <dgm:cxnLst>
    <dgm:cxn modelId="{AB94B283-CC6F-479D-8614-1456B5D093E9}" type="presOf" srcId="{F43FC311-12AF-4E8B-857B-E73AA2B8CE19}" destId="{ABED5194-8358-4B5D-A693-4058A7308C83}" srcOrd="0" destOrd="0" presId="urn:microsoft.com/office/officeart/2005/8/layout/default"/>
    <dgm:cxn modelId="{A2B4379D-2315-442D-AA77-C79CFEC3CB7E}" type="presOf" srcId="{0C48C576-EF98-4F27-906F-A758AF4616EA}" destId="{84F77C6D-42E7-4025-BD75-58570D3010FE}" srcOrd="0" destOrd="0" presId="urn:microsoft.com/office/officeart/2005/8/layout/default"/>
    <dgm:cxn modelId="{5C75ADF6-F3D7-4547-9739-EFA332441398}" srcId="{0C48C576-EF98-4F27-906F-A758AF4616EA}" destId="{F43FC311-12AF-4E8B-857B-E73AA2B8CE19}" srcOrd="0" destOrd="0" parTransId="{1AD18EEA-49C3-42B7-97C2-3BA272AC637F}" sibTransId="{F72007FA-72A0-46F0-823B-A6CC2CF57ABF}"/>
    <dgm:cxn modelId="{56EBF394-C2AA-435B-BFD2-9E905FCC82BF}" type="presParOf" srcId="{84F77C6D-42E7-4025-BD75-58570D3010FE}" destId="{ABED5194-8358-4B5D-A693-4058A7308C83}"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827270A5-7C43-456C-BEA6-60C109927677}" type="doc">
      <dgm:prSet loTypeId="urn:microsoft.com/office/officeart/2005/8/layout/vList2" loCatId="list" qsTypeId="urn:microsoft.com/office/officeart/2005/8/quickstyle/simple4" qsCatId="simple" csTypeId="urn:microsoft.com/office/officeart/2005/8/colors/accent1_2" csCatId="accent1"/>
      <dgm:spPr/>
      <dgm:t>
        <a:bodyPr/>
        <a:lstStyle/>
        <a:p>
          <a:endParaRPr lang="en-US"/>
        </a:p>
      </dgm:t>
    </dgm:pt>
    <dgm:pt modelId="{6DA3FD8D-EAC1-4F43-9743-8AC6B7E5F92B}">
      <dgm:prSet custT="1"/>
      <dgm:spPr/>
      <dgm:t>
        <a:bodyPr/>
        <a:lstStyle/>
        <a:p>
          <a:r>
            <a:rPr lang="en-US" sz="3200" dirty="0"/>
            <a:t>When to use blockchain</a:t>
          </a:r>
        </a:p>
      </dgm:t>
    </dgm:pt>
    <dgm:pt modelId="{49BB162C-AA3D-4815-9F22-6F25125895B6}" type="parTrans" cxnId="{6001800A-1239-477C-AC37-FA14FBF7BA67}">
      <dgm:prSet/>
      <dgm:spPr/>
      <dgm:t>
        <a:bodyPr/>
        <a:lstStyle/>
        <a:p>
          <a:endParaRPr lang="en-US" sz="3200"/>
        </a:p>
      </dgm:t>
    </dgm:pt>
    <dgm:pt modelId="{31633BA1-1AD5-4893-ADC9-715C92A68CD0}" type="sibTrans" cxnId="{6001800A-1239-477C-AC37-FA14FBF7BA67}">
      <dgm:prSet/>
      <dgm:spPr/>
      <dgm:t>
        <a:bodyPr/>
        <a:lstStyle/>
        <a:p>
          <a:endParaRPr lang="en-US" sz="3200"/>
        </a:p>
      </dgm:t>
    </dgm:pt>
    <dgm:pt modelId="{63CDA2C4-1564-484C-BAA0-51A1AB1E6770}" type="pres">
      <dgm:prSet presAssocID="{827270A5-7C43-456C-BEA6-60C109927677}" presName="linear" presStyleCnt="0">
        <dgm:presLayoutVars>
          <dgm:animLvl val="lvl"/>
          <dgm:resizeHandles val="exact"/>
        </dgm:presLayoutVars>
      </dgm:prSet>
      <dgm:spPr/>
    </dgm:pt>
    <dgm:pt modelId="{A410AE53-A800-4AC8-B2EE-BEF8F61A428D}" type="pres">
      <dgm:prSet presAssocID="{6DA3FD8D-EAC1-4F43-9743-8AC6B7E5F92B}" presName="parentText" presStyleLbl="node1" presStyleIdx="0" presStyleCnt="1" custLinFactNeighborX="-1502" custLinFactNeighborY="-42466">
        <dgm:presLayoutVars>
          <dgm:chMax val="0"/>
          <dgm:bulletEnabled val="1"/>
        </dgm:presLayoutVars>
      </dgm:prSet>
      <dgm:spPr/>
    </dgm:pt>
  </dgm:ptLst>
  <dgm:cxnLst>
    <dgm:cxn modelId="{6001800A-1239-477C-AC37-FA14FBF7BA67}" srcId="{827270A5-7C43-456C-BEA6-60C109927677}" destId="{6DA3FD8D-EAC1-4F43-9743-8AC6B7E5F92B}" srcOrd="0" destOrd="0" parTransId="{49BB162C-AA3D-4815-9F22-6F25125895B6}" sibTransId="{31633BA1-1AD5-4893-ADC9-715C92A68CD0}"/>
    <dgm:cxn modelId="{6169154E-22F3-45B1-B42D-F88BDAC55F20}" type="presOf" srcId="{6DA3FD8D-EAC1-4F43-9743-8AC6B7E5F92B}" destId="{A410AE53-A800-4AC8-B2EE-BEF8F61A428D}" srcOrd="0" destOrd="0" presId="urn:microsoft.com/office/officeart/2005/8/layout/vList2"/>
    <dgm:cxn modelId="{0F68EBC1-10D8-43B2-ADA3-7A20146EB5E3}" type="presOf" srcId="{827270A5-7C43-456C-BEA6-60C109927677}" destId="{63CDA2C4-1564-484C-BAA0-51A1AB1E6770}" srcOrd="0" destOrd="0" presId="urn:microsoft.com/office/officeart/2005/8/layout/vList2"/>
    <dgm:cxn modelId="{15701F02-0563-4595-90D5-97DF31225A58}" type="presParOf" srcId="{63CDA2C4-1564-484C-BAA0-51A1AB1E6770}" destId="{A410AE53-A800-4AC8-B2EE-BEF8F61A428D}"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DD8ADEEB-8927-42E4-ACBA-1C73D81FC84F}"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en-US"/>
        </a:p>
      </dgm:t>
    </dgm:pt>
    <dgm:pt modelId="{E4EB4B2F-F71B-4657-ADCF-38AA8FCAAA01}">
      <dgm:prSet phldrT="[Text]"/>
      <dgm:spPr/>
      <dgm:t>
        <a:bodyPr/>
        <a:lstStyle/>
        <a:p>
          <a:r>
            <a:rPr lang="en-US" dirty="0"/>
            <a:t>Smart Contract: Pre-</a:t>
          </a:r>
          <a:r>
            <a:rPr lang="en-US" dirty="0" err="1"/>
            <a:t>nup</a:t>
          </a:r>
          <a:endParaRPr lang="en-US" dirty="0"/>
        </a:p>
      </dgm:t>
    </dgm:pt>
    <dgm:pt modelId="{8164DCAF-760B-4D75-9C34-67517EF17383}" type="parTrans" cxnId="{EC181942-B7AE-4B56-A428-8660B757307B}">
      <dgm:prSet/>
      <dgm:spPr/>
      <dgm:t>
        <a:bodyPr/>
        <a:lstStyle/>
        <a:p>
          <a:endParaRPr lang="en-US"/>
        </a:p>
      </dgm:t>
    </dgm:pt>
    <dgm:pt modelId="{C5F5FB64-057F-421F-A2EF-E68C58A02497}" type="sibTrans" cxnId="{EC181942-B7AE-4B56-A428-8660B757307B}">
      <dgm:prSet/>
      <dgm:spPr/>
      <dgm:t>
        <a:bodyPr/>
        <a:lstStyle/>
        <a:p>
          <a:endParaRPr lang="en-US"/>
        </a:p>
      </dgm:t>
    </dgm:pt>
    <dgm:pt modelId="{86E91592-2FEB-4625-8166-500EEBEDC305}">
      <dgm:prSet phldrT="[Text]"/>
      <dgm:spPr/>
      <dgm:t>
        <a:bodyPr/>
        <a:lstStyle/>
        <a:p>
          <a:r>
            <a:rPr lang="en-US" dirty="0" err="1"/>
            <a:t>Vana</a:t>
          </a:r>
          <a:r>
            <a:rPr lang="en-US" dirty="0"/>
            <a:t> - $25m</a:t>
          </a:r>
        </a:p>
      </dgm:t>
    </dgm:pt>
    <dgm:pt modelId="{C8EDFF5E-10C2-43D3-B1CC-4B97DD7F7777}" type="parTrans" cxnId="{4CCF3C3F-139F-4118-B9E3-7843D33B81DE}">
      <dgm:prSet/>
      <dgm:spPr/>
      <dgm:t>
        <a:bodyPr/>
        <a:lstStyle/>
        <a:p>
          <a:endParaRPr lang="en-US"/>
        </a:p>
      </dgm:t>
    </dgm:pt>
    <dgm:pt modelId="{88E01D4B-A618-475D-8330-28D509F1FC8A}" type="sibTrans" cxnId="{4CCF3C3F-139F-4118-B9E3-7843D33B81DE}">
      <dgm:prSet/>
      <dgm:spPr/>
      <dgm:t>
        <a:bodyPr/>
        <a:lstStyle/>
        <a:p>
          <a:endParaRPr lang="en-US"/>
        </a:p>
      </dgm:t>
    </dgm:pt>
    <dgm:pt modelId="{483DA89C-FCEB-4B5A-AF70-CB94F46BF109}">
      <dgm:prSet phldrT="[Text]"/>
      <dgm:spPr/>
      <dgm:t>
        <a:bodyPr/>
        <a:lstStyle/>
        <a:p>
          <a:r>
            <a:rPr lang="en-US" dirty="0" err="1"/>
            <a:t>Arla</a:t>
          </a:r>
          <a:r>
            <a:rPr lang="en-US" dirty="0"/>
            <a:t> - $2m</a:t>
          </a:r>
        </a:p>
      </dgm:t>
    </dgm:pt>
    <dgm:pt modelId="{4AB7A780-5F90-449C-888B-38CAD9F6E7FC}" type="parTrans" cxnId="{4E5C7B8D-422E-4770-AF39-3BD554733E25}">
      <dgm:prSet/>
      <dgm:spPr/>
      <dgm:t>
        <a:bodyPr/>
        <a:lstStyle/>
        <a:p>
          <a:endParaRPr lang="en-US"/>
        </a:p>
      </dgm:t>
    </dgm:pt>
    <dgm:pt modelId="{FADC1906-AB57-4DC2-81FA-04256703BB14}" type="sibTrans" cxnId="{4E5C7B8D-422E-4770-AF39-3BD554733E25}">
      <dgm:prSet/>
      <dgm:spPr/>
      <dgm:t>
        <a:bodyPr/>
        <a:lstStyle/>
        <a:p>
          <a:endParaRPr lang="en-US"/>
        </a:p>
      </dgm:t>
    </dgm:pt>
    <dgm:pt modelId="{2FC4EA28-D1B9-4CC3-BFB6-5DC0FA6ECE26}">
      <dgm:prSet phldrT="[Text]"/>
      <dgm:spPr/>
      <dgm:t>
        <a:bodyPr/>
        <a:lstStyle/>
        <a:p>
          <a:r>
            <a:rPr lang="en-US" dirty="0" err="1"/>
            <a:t>Anija</a:t>
          </a:r>
          <a:r>
            <a:rPr lang="en-US" dirty="0"/>
            <a:t> – undisclosed? </a:t>
          </a:r>
        </a:p>
      </dgm:t>
    </dgm:pt>
    <dgm:pt modelId="{3543EE0B-CC58-45DB-8E6C-ABA229E45B14}" type="parTrans" cxnId="{09DEEA19-FE40-4103-BB44-710014D51B3A}">
      <dgm:prSet/>
      <dgm:spPr/>
      <dgm:t>
        <a:bodyPr/>
        <a:lstStyle/>
        <a:p>
          <a:endParaRPr lang="en-US"/>
        </a:p>
      </dgm:t>
    </dgm:pt>
    <dgm:pt modelId="{2FC8CE04-6037-4314-9A46-8DD6C4C77AA3}" type="sibTrans" cxnId="{09DEEA19-FE40-4103-BB44-710014D51B3A}">
      <dgm:prSet/>
      <dgm:spPr/>
      <dgm:t>
        <a:bodyPr/>
        <a:lstStyle/>
        <a:p>
          <a:endParaRPr lang="en-US"/>
        </a:p>
      </dgm:t>
    </dgm:pt>
    <dgm:pt modelId="{7A8A70DE-FCB9-4353-AAB1-77F7EC00AFC1}" type="pres">
      <dgm:prSet presAssocID="{DD8ADEEB-8927-42E4-ACBA-1C73D81FC84F}" presName="Name0" presStyleCnt="0">
        <dgm:presLayoutVars>
          <dgm:chMax val="1"/>
          <dgm:chPref val="1"/>
          <dgm:dir/>
          <dgm:resizeHandles/>
        </dgm:presLayoutVars>
      </dgm:prSet>
      <dgm:spPr/>
    </dgm:pt>
    <dgm:pt modelId="{EF03A55E-46F7-4EBC-997B-118235535286}" type="pres">
      <dgm:prSet presAssocID="{E4EB4B2F-F71B-4657-ADCF-38AA8FCAAA01}" presName="Parent" presStyleLbl="node1" presStyleIdx="0" presStyleCnt="2" custScaleX="167851" custScaleY="163792" custLinFactNeighborX="-71227" custLinFactNeighborY="-2174">
        <dgm:presLayoutVars>
          <dgm:chMax val="4"/>
          <dgm:chPref val="3"/>
        </dgm:presLayoutVars>
      </dgm:prSet>
      <dgm:spPr/>
    </dgm:pt>
    <dgm:pt modelId="{FD8DE2CB-B3E8-4EDB-A0CB-EF76086EC911}" type="pres">
      <dgm:prSet presAssocID="{86E91592-2FEB-4625-8166-500EEBEDC305}" presName="Accent" presStyleLbl="node1" presStyleIdx="1" presStyleCnt="2"/>
      <dgm:spPr/>
    </dgm:pt>
    <dgm:pt modelId="{6C1636E6-DE22-4F0E-9B9A-E2B28EC7EECA}" type="pres">
      <dgm:prSet presAssocID="{86E91592-2FEB-4625-8166-500EEBEDC305}" presName="Image1" presStyleLbl="fgImgPlace1" presStyleIdx="0" presStyleCnt="3"/>
      <dgm:spPr>
        <a:blipFill rotWithShape="1">
          <a:blip xmlns:r="http://schemas.openxmlformats.org/officeDocument/2006/relationships" r:embed="rId1"/>
          <a:srcRect/>
          <a:stretch>
            <a:fillRect t="-20000" b="-20000"/>
          </a:stretch>
        </a:blipFill>
      </dgm:spPr>
    </dgm:pt>
    <dgm:pt modelId="{C7308C72-44A4-40C6-909D-3F5576EE3793}" type="pres">
      <dgm:prSet presAssocID="{86E91592-2FEB-4625-8166-500EEBEDC305}" presName="Child1" presStyleLbl="revTx" presStyleIdx="0" presStyleCnt="3">
        <dgm:presLayoutVars>
          <dgm:chMax val="0"/>
          <dgm:chPref val="0"/>
          <dgm:bulletEnabled val="1"/>
        </dgm:presLayoutVars>
      </dgm:prSet>
      <dgm:spPr/>
    </dgm:pt>
    <dgm:pt modelId="{38654F5E-9A7B-4C6A-B530-DA5B5A501772}" type="pres">
      <dgm:prSet presAssocID="{483DA89C-FCEB-4B5A-AF70-CB94F46BF109}" presName="Image2" presStyleCnt="0"/>
      <dgm:spPr/>
    </dgm:pt>
    <dgm:pt modelId="{A07C3A79-0128-4BBE-A598-72BAA030D0B7}" type="pres">
      <dgm:prSet presAssocID="{483DA89C-FCEB-4B5A-AF70-CB94F46BF109}" presName="Image" presStyleLbl="fgImgPlace1" presStyleIdx="1" presStyleCnt="3"/>
      <dgm:spPr>
        <a:blipFill rotWithShape="1">
          <a:blip xmlns:r="http://schemas.openxmlformats.org/officeDocument/2006/relationships" r:embed="rId2"/>
          <a:srcRect/>
          <a:stretch>
            <a:fillRect l="-3000" r="-3000"/>
          </a:stretch>
        </a:blipFill>
      </dgm:spPr>
    </dgm:pt>
    <dgm:pt modelId="{7D8A2EA2-4526-493F-9EFB-247262BD3444}" type="pres">
      <dgm:prSet presAssocID="{483DA89C-FCEB-4B5A-AF70-CB94F46BF109}" presName="Child2" presStyleLbl="revTx" presStyleIdx="1" presStyleCnt="3">
        <dgm:presLayoutVars>
          <dgm:chMax val="0"/>
          <dgm:chPref val="0"/>
          <dgm:bulletEnabled val="1"/>
        </dgm:presLayoutVars>
      </dgm:prSet>
      <dgm:spPr/>
    </dgm:pt>
    <dgm:pt modelId="{7A56D8AA-5ED7-4C0C-84B6-1868CE99F38F}" type="pres">
      <dgm:prSet presAssocID="{2FC4EA28-D1B9-4CC3-BFB6-5DC0FA6ECE26}" presName="Image3" presStyleCnt="0"/>
      <dgm:spPr/>
    </dgm:pt>
    <dgm:pt modelId="{85872811-6526-4E6A-8E2C-77CCAB75C94C}" type="pres">
      <dgm:prSet presAssocID="{2FC4EA28-D1B9-4CC3-BFB6-5DC0FA6ECE26}" presName="Image" presStyleLbl="fgImgPlace1" presStyleIdx="2" presStyleCnt="3"/>
      <dgm:spPr>
        <a:blipFill rotWithShape="1">
          <a:blip xmlns:r="http://schemas.openxmlformats.org/officeDocument/2006/relationships" r:embed="rId3"/>
          <a:srcRect/>
          <a:stretch>
            <a:fillRect/>
          </a:stretch>
        </a:blipFill>
      </dgm:spPr>
    </dgm:pt>
    <dgm:pt modelId="{90523F3B-9168-4247-A6C3-4280EEF2708F}" type="pres">
      <dgm:prSet presAssocID="{2FC4EA28-D1B9-4CC3-BFB6-5DC0FA6ECE26}" presName="Child3" presStyleLbl="revTx" presStyleIdx="2" presStyleCnt="3">
        <dgm:presLayoutVars>
          <dgm:chMax val="0"/>
          <dgm:chPref val="0"/>
          <dgm:bulletEnabled val="1"/>
        </dgm:presLayoutVars>
      </dgm:prSet>
      <dgm:spPr/>
    </dgm:pt>
  </dgm:ptLst>
  <dgm:cxnLst>
    <dgm:cxn modelId="{70984C08-8A7A-43C2-8D45-ABE2B8943CB4}" type="presOf" srcId="{E4EB4B2F-F71B-4657-ADCF-38AA8FCAAA01}" destId="{EF03A55E-46F7-4EBC-997B-118235535286}" srcOrd="0" destOrd="0" presId="urn:microsoft.com/office/officeart/2011/layout/RadialPictureList"/>
    <dgm:cxn modelId="{852EEB0E-73A3-4AB2-A982-59176293C8AA}" type="presOf" srcId="{483DA89C-FCEB-4B5A-AF70-CB94F46BF109}" destId="{7D8A2EA2-4526-493F-9EFB-247262BD3444}" srcOrd="0" destOrd="0" presId="urn:microsoft.com/office/officeart/2011/layout/RadialPictureList"/>
    <dgm:cxn modelId="{09DEEA19-FE40-4103-BB44-710014D51B3A}" srcId="{E4EB4B2F-F71B-4657-ADCF-38AA8FCAAA01}" destId="{2FC4EA28-D1B9-4CC3-BFB6-5DC0FA6ECE26}" srcOrd="2" destOrd="0" parTransId="{3543EE0B-CC58-45DB-8E6C-ABA229E45B14}" sibTransId="{2FC8CE04-6037-4314-9A46-8DD6C4C77AA3}"/>
    <dgm:cxn modelId="{4CCF3C3F-139F-4118-B9E3-7843D33B81DE}" srcId="{E4EB4B2F-F71B-4657-ADCF-38AA8FCAAA01}" destId="{86E91592-2FEB-4625-8166-500EEBEDC305}" srcOrd="0" destOrd="0" parTransId="{C8EDFF5E-10C2-43D3-B1CC-4B97DD7F7777}" sibTransId="{88E01D4B-A618-475D-8330-28D509F1FC8A}"/>
    <dgm:cxn modelId="{EC181942-B7AE-4B56-A428-8660B757307B}" srcId="{DD8ADEEB-8927-42E4-ACBA-1C73D81FC84F}" destId="{E4EB4B2F-F71B-4657-ADCF-38AA8FCAAA01}" srcOrd="0" destOrd="0" parTransId="{8164DCAF-760B-4D75-9C34-67517EF17383}" sibTransId="{C5F5FB64-057F-421F-A2EF-E68C58A02497}"/>
    <dgm:cxn modelId="{4E5C7B8D-422E-4770-AF39-3BD554733E25}" srcId="{E4EB4B2F-F71B-4657-ADCF-38AA8FCAAA01}" destId="{483DA89C-FCEB-4B5A-AF70-CB94F46BF109}" srcOrd="1" destOrd="0" parTransId="{4AB7A780-5F90-449C-888B-38CAD9F6E7FC}" sibTransId="{FADC1906-AB57-4DC2-81FA-04256703BB14}"/>
    <dgm:cxn modelId="{E9F87A95-3835-4458-BBF8-080427FF96E9}" type="presOf" srcId="{DD8ADEEB-8927-42E4-ACBA-1C73D81FC84F}" destId="{7A8A70DE-FCB9-4353-AAB1-77F7EC00AFC1}" srcOrd="0" destOrd="0" presId="urn:microsoft.com/office/officeart/2011/layout/RadialPictureList"/>
    <dgm:cxn modelId="{FDC99ACE-BBFD-4510-A161-38D533C1955A}" type="presOf" srcId="{2FC4EA28-D1B9-4CC3-BFB6-5DC0FA6ECE26}" destId="{90523F3B-9168-4247-A6C3-4280EEF2708F}" srcOrd="0" destOrd="0" presId="urn:microsoft.com/office/officeart/2011/layout/RadialPictureList"/>
    <dgm:cxn modelId="{B6B40DD3-5041-426F-BDF0-3D48E1CD5947}" type="presOf" srcId="{86E91592-2FEB-4625-8166-500EEBEDC305}" destId="{C7308C72-44A4-40C6-909D-3F5576EE3793}" srcOrd="0" destOrd="0" presId="urn:microsoft.com/office/officeart/2011/layout/RadialPictureList"/>
    <dgm:cxn modelId="{EB67598B-24BE-409E-A181-DE34012AE4FA}" type="presParOf" srcId="{7A8A70DE-FCB9-4353-AAB1-77F7EC00AFC1}" destId="{EF03A55E-46F7-4EBC-997B-118235535286}" srcOrd="0" destOrd="0" presId="urn:microsoft.com/office/officeart/2011/layout/RadialPictureList"/>
    <dgm:cxn modelId="{291CDBEE-7DBF-45FD-9534-C390EBF60DA1}" type="presParOf" srcId="{7A8A70DE-FCB9-4353-AAB1-77F7EC00AFC1}" destId="{FD8DE2CB-B3E8-4EDB-A0CB-EF76086EC911}" srcOrd="1" destOrd="0" presId="urn:microsoft.com/office/officeart/2011/layout/RadialPictureList"/>
    <dgm:cxn modelId="{8696E4E7-D4CE-488A-97BE-920048632EE8}" type="presParOf" srcId="{7A8A70DE-FCB9-4353-AAB1-77F7EC00AFC1}" destId="{6C1636E6-DE22-4F0E-9B9A-E2B28EC7EECA}" srcOrd="2" destOrd="0" presId="urn:microsoft.com/office/officeart/2011/layout/RadialPictureList"/>
    <dgm:cxn modelId="{205D93FB-E9DE-46A1-A7E5-FEBD0087EC16}" type="presParOf" srcId="{7A8A70DE-FCB9-4353-AAB1-77F7EC00AFC1}" destId="{C7308C72-44A4-40C6-909D-3F5576EE3793}" srcOrd="3" destOrd="0" presId="urn:microsoft.com/office/officeart/2011/layout/RadialPictureList"/>
    <dgm:cxn modelId="{EF4DC329-9862-40E3-90C2-17AA10DAE294}" type="presParOf" srcId="{7A8A70DE-FCB9-4353-AAB1-77F7EC00AFC1}" destId="{38654F5E-9A7B-4C6A-B530-DA5B5A501772}" srcOrd="4" destOrd="0" presId="urn:microsoft.com/office/officeart/2011/layout/RadialPictureList"/>
    <dgm:cxn modelId="{9C6D69FE-04EE-476C-BBBC-D4D21280DB54}" type="presParOf" srcId="{38654F5E-9A7B-4C6A-B530-DA5B5A501772}" destId="{A07C3A79-0128-4BBE-A598-72BAA030D0B7}" srcOrd="0" destOrd="0" presId="urn:microsoft.com/office/officeart/2011/layout/RadialPictureList"/>
    <dgm:cxn modelId="{72C1B7F8-91B8-420B-A669-995671807446}" type="presParOf" srcId="{7A8A70DE-FCB9-4353-AAB1-77F7EC00AFC1}" destId="{7D8A2EA2-4526-493F-9EFB-247262BD3444}" srcOrd="5" destOrd="0" presId="urn:microsoft.com/office/officeart/2011/layout/RadialPictureList"/>
    <dgm:cxn modelId="{55D45B56-3DC6-424C-83B3-0CBC6D0F584A}" type="presParOf" srcId="{7A8A70DE-FCB9-4353-AAB1-77F7EC00AFC1}" destId="{7A56D8AA-5ED7-4C0C-84B6-1868CE99F38F}" srcOrd="6" destOrd="0" presId="urn:microsoft.com/office/officeart/2011/layout/RadialPictureList"/>
    <dgm:cxn modelId="{E2FAB69E-AF9D-46A3-B086-275086469496}" type="presParOf" srcId="{7A56D8AA-5ED7-4C0C-84B6-1868CE99F38F}" destId="{85872811-6526-4E6A-8E2C-77CCAB75C94C}" srcOrd="0" destOrd="0" presId="urn:microsoft.com/office/officeart/2011/layout/RadialPictureList"/>
    <dgm:cxn modelId="{D1E2B296-AEBA-4502-BB73-87D809D05853}" type="presParOf" srcId="{7A8A70DE-FCB9-4353-AAB1-77F7EC00AFC1}" destId="{90523F3B-9168-4247-A6C3-4280EEF2708F}"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2CB23F-4E42-4BC5-A682-7025F7F8A2FD}" type="doc">
      <dgm:prSet loTypeId="urn:microsoft.com/office/officeart/2005/8/layout/process1" loCatId="process" qsTypeId="urn:microsoft.com/office/officeart/2005/8/quickstyle/simple3" qsCatId="simple" csTypeId="urn:microsoft.com/office/officeart/2005/8/colors/accent4_2" csCatId="accent4" phldr="1"/>
      <dgm:spPr/>
    </dgm:pt>
    <dgm:pt modelId="{673F4B56-2951-4F19-94FB-6EDE6C8D508A}">
      <dgm:prSet phldrT="[Text]" custT="1"/>
      <dgm:spPr/>
      <dgm:t>
        <a:bodyPr/>
        <a:lstStyle/>
        <a:p>
          <a:r>
            <a:rPr lang="en-US" sz="2000" dirty="0">
              <a:latin typeface="Adobe Fangsong Std R" panose="02020400000000000000" pitchFamily="18" charset="-128"/>
              <a:ea typeface="Adobe Fangsong Std R" panose="02020400000000000000" pitchFamily="18" charset="-128"/>
            </a:rPr>
            <a:t>Block 0</a:t>
          </a:r>
        </a:p>
      </dgm:t>
    </dgm:pt>
    <dgm:pt modelId="{DE24B7B7-5BD4-48F1-AE22-5BEA3771F1C8}" type="parTrans" cxnId="{771A6FC5-76CB-41BB-83FF-3B1198EFCC1F}">
      <dgm:prSet/>
      <dgm:spPr/>
      <dgm:t>
        <a:bodyPr/>
        <a:lstStyle/>
        <a:p>
          <a:endParaRPr lang="en-US"/>
        </a:p>
      </dgm:t>
    </dgm:pt>
    <dgm:pt modelId="{7CB70A21-A3FF-4E68-BA5C-29150D16D1B0}" type="sibTrans" cxnId="{771A6FC5-76CB-41BB-83FF-3B1198EFCC1F}">
      <dgm:prSet/>
      <dgm:spPr/>
      <dgm:t>
        <a:bodyPr/>
        <a:lstStyle/>
        <a:p>
          <a:endParaRPr lang="en-US"/>
        </a:p>
      </dgm:t>
    </dgm:pt>
    <dgm:pt modelId="{0F8F482F-41CA-49BA-AE78-13AAABD1585E}">
      <dgm:prSet phldrT="[Text]" custT="1"/>
      <dgm:spPr/>
      <dgm:t>
        <a:bodyPr/>
        <a:lstStyle/>
        <a:p>
          <a:r>
            <a:rPr lang="en-US" sz="2000" dirty="0">
              <a:latin typeface="Adobe Fangsong Std R" panose="02020400000000000000" pitchFamily="18" charset="-128"/>
              <a:ea typeface="Adobe Fangsong Std R" panose="02020400000000000000" pitchFamily="18" charset="-128"/>
            </a:rPr>
            <a:t>Block 1</a:t>
          </a:r>
        </a:p>
      </dgm:t>
    </dgm:pt>
    <dgm:pt modelId="{1B34324C-405A-4F1D-97AF-C7E987CC831B}" type="parTrans" cxnId="{0B03B09A-D974-4012-832B-781AE219D8A0}">
      <dgm:prSet/>
      <dgm:spPr/>
      <dgm:t>
        <a:bodyPr/>
        <a:lstStyle/>
        <a:p>
          <a:endParaRPr lang="en-US"/>
        </a:p>
      </dgm:t>
    </dgm:pt>
    <dgm:pt modelId="{AB5E3637-1EF9-4B85-89C1-51C5C282E1E8}" type="sibTrans" cxnId="{0B03B09A-D974-4012-832B-781AE219D8A0}">
      <dgm:prSet/>
      <dgm:spPr/>
      <dgm:t>
        <a:bodyPr/>
        <a:lstStyle/>
        <a:p>
          <a:endParaRPr lang="en-US"/>
        </a:p>
      </dgm:t>
    </dgm:pt>
    <dgm:pt modelId="{323E6840-536B-4D7C-9A21-361C5DCFAFFF}">
      <dgm:prSet phldrT="[Text]" custT="1"/>
      <dgm:spPr/>
      <dgm:t>
        <a:bodyPr/>
        <a:lstStyle/>
        <a:p>
          <a:r>
            <a:rPr lang="en-US" sz="2000" dirty="0">
              <a:latin typeface="Adobe Fangsong Std R" panose="02020400000000000000" pitchFamily="18" charset="-128"/>
              <a:ea typeface="Adobe Fangsong Std R" panose="02020400000000000000" pitchFamily="18" charset="-128"/>
            </a:rPr>
            <a:t>Block 2</a:t>
          </a:r>
        </a:p>
      </dgm:t>
    </dgm:pt>
    <dgm:pt modelId="{A28BD9E5-7613-4B65-9FBF-B634B093B5AC}" type="parTrans" cxnId="{2C4B2634-F904-4D6C-99D5-336DEF0367F8}">
      <dgm:prSet/>
      <dgm:spPr/>
      <dgm:t>
        <a:bodyPr/>
        <a:lstStyle/>
        <a:p>
          <a:endParaRPr lang="en-US"/>
        </a:p>
      </dgm:t>
    </dgm:pt>
    <dgm:pt modelId="{A5AB9F7A-938E-4CCE-80AE-AD661A1031E1}" type="sibTrans" cxnId="{2C4B2634-F904-4D6C-99D5-336DEF0367F8}">
      <dgm:prSet/>
      <dgm:spPr/>
      <dgm:t>
        <a:bodyPr/>
        <a:lstStyle/>
        <a:p>
          <a:endParaRPr lang="en-US"/>
        </a:p>
      </dgm:t>
    </dgm:pt>
    <dgm:pt modelId="{966FDA1A-CF74-490F-BC73-4C2794025630}">
      <dgm:prSet phldrT="[Text]" custT="1"/>
      <dgm:spPr/>
      <dgm:t>
        <a:bodyPr/>
        <a:lstStyle/>
        <a:p>
          <a:r>
            <a:rPr lang="en-US" sz="2000" dirty="0">
              <a:latin typeface="Adobe Fangsong Std R" panose="02020400000000000000" pitchFamily="18" charset="-128"/>
              <a:ea typeface="Adobe Fangsong Std R" panose="02020400000000000000" pitchFamily="18" charset="-128"/>
            </a:rPr>
            <a:t>Block n</a:t>
          </a:r>
        </a:p>
      </dgm:t>
    </dgm:pt>
    <dgm:pt modelId="{1C13CC9D-6554-4559-B3D0-FF0CDD3FE548}" type="parTrans" cxnId="{C28937A4-AA66-4D66-BCA2-0106D69F86D7}">
      <dgm:prSet/>
      <dgm:spPr/>
      <dgm:t>
        <a:bodyPr/>
        <a:lstStyle/>
        <a:p>
          <a:endParaRPr lang="en-US"/>
        </a:p>
      </dgm:t>
    </dgm:pt>
    <dgm:pt modelId="{BEDB5835-D818-4EE5-8D53-53584A877A90}" type="sibTrans" cxnId="{C28937A4-AA66-4D66-BCA2-0106D69F86D7}">
      <dgm:prSet/>
      <dgm:spPr/>
      <dgm:t>
        <a:bodyPr/>
        <a:lstStyle/>
        <a:p>
          <a:endParaRPr lang="en-US"/>
        </a:p>
      </dgm:t>
    </dgm:pt>
    <dgm:pt modelId="{E38BE2C2-873E-41D2-9ECE-8991B2567C89}">
      <dgm:prSet phldrT="[Text]" custT="1"/>
      <dgm:spPr/>
      <dgm:t>
        <a:bodyPr/>
        <a:lstStyle/>
        <a:p>
          <a:r>
            <a:rPr lang="en-US" sz="2000" dirty="0">
              <a:latin typeface="Adobe Fangsong Std R" panose="02020400000000000000" pitchFamily="18" charset="-128"/>
              <a:ea typeface="Adobe Fangsong Std R" panose="02020400000000000000" pitchFamily="18" charset="-128"/>
            </a:rPr>
            <a:t>…</a:t>
          </a:r>
        </a:p>
      </dgm:t>
    </dgm:pt>
    <dgm:pt modelId="{711FE9BB-1504-408D-990B-2238FCF5AE11}" type="parTrans" cxnId="{9B005260-7BB1-4BE1-BD4E-2897052744DB}">
      <dgm:prSet/>
      <dgm:spPr/>
      <dgm:t>
        <a:bodyPr/>
        <a:lstStyle/>
        <a:p>
          <a:endParaRPr lang="en-US"/>
        </a:p>
      </dgm:t>
    </dgm:pt>
    <dgm:pt modelId="{99E79915-9CF8-4BB8-81CE-33B92C3DA685}" type="sibTrans" cxnId="{9B005260-7BB1-4BE1-BD4E-2897052744DB}">
      <dgm:prSet/>
      <dgm:spPr/>
      <dgm:t>
        <a:bodyPr/>
        <a:lstStyle/>
        <a:p>
          <a:endParaRPr lang="en-US"/>
        </a:p>
      </dgm:t>
    </dgm:pt>
    <dgm:pt modelId="{B7C2C3C0-0D94-46A1-8985-666E6A412FD5}" type="pres">
      <dgm:prSet presAssocID="{5A2CB23F-4E42-4BC5-A682-7025F7F8A2FD}" presName="Name0" presStyleCnt="0">
        <dgm:presLayoutVars>
          <dgm:dir/>
          <dgm:resizeHandles val="exact"/>
        </dgm:presLayoutVars>
      </dgm:prSet>
      <dgm:spPr/>
    </dgm:pt>
    <dgm:pt modelId="{55603828-69E7-4BF5-848B-9D37B1995B9A}" type="pres">
      <dgm:prSet presAssocID="{673F4B56-2951-4F19-94FB-6EDE6C8D508A}" presName="node" presStyleLbl="node1" presStyleIdx="0" presStyleCnt="5" custScaleX="53132" custScaleY="44012">
        <dgm:presLayoutVars>
          <dgm:bulletEnabled val="1"/>
        </dgm:presLayoutVars>
      </dgm:prSet>
      <dgm:spPr/>
    </dgm:pt>
    <dgm:pt modelId="{170B77D0-7712-4EEE-9AB9-F5B4EE8E4447}" type="pres">
      <dgm:prSet presAssocID="{7CB70A21-A3FF-4E68-BA5C-29150D16D1B0}" presName="sibTrans" presStyleLbl="sibTrans2D1" presStyleIdx="0" presStyleCnt="4" custAng="10800000"/>
      <dgm:spPr/>
    </dgm:pt>
    <dgm:pt modelId="{BE267EA0-841B-4CB6-980C-05D1D3132C76}" type="pres">
      <dgm:prSet presAssocID="{7CB70A21-A3FF-4E68-BA5C-29150D16D1B0}" presName="connectorText" presStyleLbl="sibTrans2D1" presStyleIdx="0" presStyleCnt="4"/>
      <dgm:spPr/>
    </dgm:pt>
    <dgm:pt modelId="{1449687B-9179-487C-B98B-A1212B5703F5}" type="pres">
      <dgm:prSet presAssocID="{0F8F482F-41CA-49BA-AE78-13AAABD1585E}" presName="node" presStyleLbl="node1" presStyleIdx="1" presStyleCnt="5" custScaleX="53132" custScaleY="44012">
        <dgm:presLayoutVars>
          <dgm:bulletEnabled val="1"/>
        </dgm:presLayoutVars>
      </dgm:prSet>
      <dgm:spPr/>
    </dgm:pt>
    <dgm:pt modelId="{9798AE99-6D4E-4589-8293-04831AD76705}" type="pres">
      <dgm:prSet presAssocID="{AB5E3637-1EF9-4B85-89C1-51C5C282E1E8}" presName="sibTrans" presStyleLbl="sibTrans2D1" presStyleIdx="1" presStyleCnt="4" custAng="10800000"/>
      <dgm:spPr/>
    </dgm:pt>
    <dgm:pt modelId="{C446F285-3DEB-4B87-8EED-706F3C0D910A}" type="pres">
      <dgm:prSet presAssocID="{AB5E3637-1EF9-4B85-89C1-51C5C282E1E8}" presName="connectorText" presStyleLbl="sibTrans2D1" presStyleIdx="1" presStyleCnt="4"/>
      <dgm:spPr/>
    </dgm:pt>
    <dgm:pt modelId="{F9CF15C0-FD8B-4522-91D5-E647EF59B558}" type="pres">
      <dgm:prSet presAssocID="{323E6840-536B-4D7C-9A21-361C5DCFAFFF}" presName="node" presStyleLbl="node1" presStyleIdx="2" presStyleCnt="5" custScaleX="53132" custScaleY="44012">
        <dgm:presLayoutVars>
          <dgm:bulletEnabled val="1"/>
        </dgm:presLayoutVars>
      </dgm:prSet>
      <dgm:spPr/>
    </dgm:pt>
    <dgm:pt modelId="{75DAC6BA-E23D-43CF-A72B-B07455A5DA62}" type="pres">
      <dgm:prSet presAssocID="{A5AB9F7A-938E-4CCE-80AE-AD661A1031E1}" presName="sibTrans" presStyleLbl="sibTrans2D1" presStyleIdx="2" presStyleCnt="4" custAng="10800000"/>
      <dgm:spPr/>
    </dgm:pt>
    <dgm:pt modelId="{2F8749AC-0CA7-4016-8AD1-A1D367C7262E}" type="pres">
      <dgm:prSet presAssocID="{A5AB9F7A-938E-4CCE-80AE-AD661A1031E1}" presName="connectorText" presStyleLbl="sibTrans2D1" presStyleIdx="2" presStyleCnt="4"/>
      <dgm:spPr/>
    </dgm:pt>
    <dgm:pt modelId="{1CD17FAB-41E7-4E93-9CC0-44721AAC02E6}" type="pres">
      <dgm:prSet presAssocID="{E38BE2C2-873E-41D2-9ECE-8991B2567C89}" presName="node" presStyleLbl="node1" presStyleIdx="3" presStyleCnt="5" custScaleX="53132" custScaleY="44012">
        <dgm:presLayoutVars>
          <dgm:bulletEnabled val="1"/>
        </dgm:presLayoutVars>
      </dgm:prSet>
      <dgm:spPr/>
    </dgm:pt>
    <dgm:pt modelId="{7BB2D783-1F80-4757-803E-64128D9075CB}" type="pres">
      <dgm:prSet presAssocID="{99E79915-9CF8-4BB8-81CE-33B92C3DA685}" presName="sibTrans" presStyleLbl="sibTrans2D1" presStyleIdx="3" presStyleCnt="4" custAng="10800000"/>
      <dgm:spPr/>
    </dgm:pt>
    <dgm:pt modelId="{828CC409-C5EB-45A6-9C8A-8E6EAF443E87}" type="pres">
      <dgm:prSet presAssocID="{99E79915-9CF8-4BB8-81CE-33B92C3DA685}" presName="connectorText" presStyleLbl="sibTrans2D1" presStyleIdx="3" presStyleCnt="4"/>
      <dgm:spPr/>
    </dgm:pt>
    <dgm:pt modelId="{A3DF6F31-1A35-408B-8404-C164D5D70A3A}" type="pres">
      <dgm:prSet presAssocID="{966FDA1A-CF74-490F-BC73-4C2794025630}" presName="node" presStyleLbl="node1" presStyleIdx="4" presStyleCnt="5" custScaleX="53132" custScaleY="44012">
        <dgm:presLayoutVars>
          <dgm:bulletEnabled val="1"/>
        </dgm:presLayoutVars>
      </dgm:prSet>
      <dgm:spPr/>
    </dgm:pt>
  </dgm:ptLst>
  <dgm:cxnLst>
    <dgm:cxn modelId="{7EF1BB20-C873-4272-8224-989AA6FD92D8}" type="presOf" srcId="{A5AB9F7A-938E-4CCE-80AE-AD661A1031E1}" destId="{2F8749AC-0CA7-4016-8AD1-A1D367C7262E}" srcOrd="1" destOrd="0" presId="urn:microsoft.com/office/officeart/2005/8/layout/process1"/>
    <dgm:cxn modelId="{D008AB2A-EEC5-450C-A647-6A998323E969}" type="presOf" srcId="{7CB70A21-A3FF-4E68-BA5C-29150D16D1B0}" destId="{BE267EA0-841B-4CB6-980C-05D1D3132C76}" srcOrd="1" destOrd="0" presId="urn:microsoft.com/office/officeart/2005/8/layout/process1"/>
    <dgm:cxn modelId="{2C4B2634-F904-4D6C-99D5-336DEF0367F8}" srcId="{5A2CB23F-4E42-4BC5-A682-7025F7F8A2FD}" destId="{323E6840-536B-4D7C-9A21-361C5DCFAFFF}" srcOrd="2" destOrd="0" parTransId="{A28BD9E5-7613-4B65-9FBF-B634B093B5AC}" sibTransId="{A5AB9F7A-938E-4CCE-80AE-AD661A1031E1}"/>
    <dgm:cxn modelId="{8A31583E-7C20-4B5A-864C-1C4463576B24}" type="presOf" srcId="{AB5E3637-1EF9-4B85-89C1-51C5C282E1E8}" destId="{9798AE99-6D4E-4589-8293-04831AD76705}" srcOrd="0" destOrd="0" presId="urn:microsoft.com/office/officeart/2005/8/layout/process1"/>
    <dgm:cxn modelId="{9B005260-7BB1-4BE1-BD4E-2897052744DB}" srcId="{5A2CB23F-4E42-4BC5-A682-7025F7F8A2FD}" destId="{E38BE2C2-873E-41D2-9ECE-8991B2567C89}" srcOrd="3" destOrd="0" parTransId="{711FE9BB-1504-408D-990B-2238FCF5AE11}" sibTransId="{99E79915-9CF8-4BB8-81CE-33B92C3DA685}"/>
    <dgm:cxn modelId="{DE0C766F-96D4-4A26-A304-69DFA1D35873}" type="presOf" srcId="{966FDA1A-CF74-490F-BC73-4C2794025630}" destId="{A3DF6F31-1A35-408B-8404-C164D5D70A3A}" srcOrd="0" destOrd="0" presId="urn:microsoft.com/office/officeart/2005/8/layout/process1"/>
    <dgm:cxn modelId="{130B037E-12E0-42D7-BBFE-56C68DE5D7A4}" type="presOf" srcId="{99E79915-9CF8-4BB8-81CE-33B92C3DA685}" destId="{7BB2D783-1F80-4757-803E-64128D9075CB}" srcOrd="0" destOrd="0" presId="urn:microsoft.com/office/officeart/2005/8/layout/process1"/>
    <dgm:cxn modelId="{61C87090-4CAA-4AF7-BF91-506A9EBE0D48}" type="presOf" srcId="{A5AB9F7A-938E-4CCE-80AE-AD661A1031E1}" destId="{75DAC6BA-E23D-43CF-A72B-B07455A5DA62}" srcOrd="0" destOrd="0" presId="urn:microsoft.com/office/officeart/2005/8/layout/process1"/>
    <dgm:cxn modelId="{0B03B09A-D974-4012-832B-781AE219D8A0}" srcId="{5A2CB23F-4E42-4BC5-A682-7025F7F8A2FD}" destId="{0F8F482F-41CA-49BA-AE78-13AAABD1585E}" srcOrd="1" destOrd="0" parTransId="{1B34324C-405A-4F1D-97AF-C7E987CC831B}" sibTransId="{AB5E3637-1EF9-4B85-89C1-51C5C282E1E8}"/>
    <dgm:cxn modelId="{C28937A4-AA66-4D66-BCA2-0106D69F86D7}" srcId="{5A2CB23F-4E42-4BC5-A682-7025F7F8A2FD}" destId="{966FDA1A-CF74-490F-BC73-4C2794025630}" srcOrd="4" destOrd="0" parTransId="{1C13CC9D-6554-4559-B3D0-FF0CDD3FE548}" sibTransId="{BEDB5835-D818-4EE5-8D53-53584A877A90}"/>
    <dgm:cxn modelId="{386EC2AA-DAB0-4D57-9B2E-C050709D632B}" type="presOf" srcId="{5A2CB23F-4E42-4BC5-A682-7025F7F8A2FD}" destId="{B7C2C3C0-0D94-46A1-8985-666E6A412FD5}" srcOrd="0" destOrd="0" presId="urn:microsoft.com/office/officeart/2005/8/layout/process1"/>
    <dgm:cxn modelId="{771A6FC5-76CB-41BB-83FF-3B1198EFCC1F}" srcId="{5A2CB23F-4E42-4BC5-A682-7025F7F8A2FD}" destId="{673F4B56-2951-4F19-94FB-6EDE6C8D508A}" srcOrd="0" destOrd="0" parTransId="{DE24B7B7-5BD4-48F1-AE22-5BEA3771F1C8}" sibTransId="{7CB70A21-A3FF-4E68-BA5C-29150D16D1B0}"/>
    <dgm:cxn modelId="{251825CD-AE0A-471D-9B0C-CF2811051AC2}" type="presOf" srcId="{673F4B56-2951-4F19-94FB-6EDE6C8D508A}" destId="{55603828-69E7-4BF5-848B-9D37B1995B9A}" srcOrd="0" destOrd="0" presId="urn:microsoft.com/office/officeart/2005/8/layout/process1"/>
    <dgm:cxn modelId="{A7848CD4-1945-4A45-83BC-792DD1C63978}" type="presOf" srcId="{99E79915-9CF8-4BB8-81CE-33B92C3DA685}" destId="{828CC409-C5EB-45A6-9C8A-8E6EAF443E87}" srcOrd="1" destOrd="0" presId="urn:microsoft.com/office/officeart/2005/8/layout/process1"/>
    <dgm:cxn modelId="{6D9974D9-AEA4-44A0-8161-5FB17DFEDFF5}" type="presOf" srcId="{7CB70A21-A3FF-4E68-BA5C-29150D16D1B0}" destId="{170B77D0-7712-4EEE-9AB9-F5B4EE8E4447}" srcOrd="0" destOrd="0" presId="urn:microsoft.com/office/officeart/2005/8/layout/process1"/>
    <dgm:cxn modelId="{ECB7F7E5-9F37-4B48-A107-03B1912DEEA7}" type="presOf" srcId="{0F8F482F-41CA-49BA-AE78-13AAABD1585E}" destId="{1449687B-9179-487C-B98B-A1212B5703F5}" srcOrd="0" destOrd="0" presId="urn:microsoft.com/office/officeart/2005/8/layout/process1"/>
    <dgm:cxn modelId="{B46F38EE-F0BF-4B61-8F6F-7A1B14B5FE8D}" type="presOf" srcId="{323E6840-536B-4D7C-9A21-361C5DCFAFFF}" destId="{F9CF15C0-FD8B-4522-91D5-E647EF59B558}" srcOrd="0" destOrd="0" presId="urn:microsoft.com/office/officeart/2005/8/layout/process1"/>
    <dgm:cxn modelId="{0D75BDFB-E5B6-426E-B6B3-130791E60265}" type="presOf" srcId="{AB5E3637-1EF9-4B85-89C1-51C5C282E1E8}" destId="{C446F285-3DEB-4B87-8EED-706F3C0D910A}" srcOrd="1" destOrd="0" presId="urn:microsoft.com/office/officeart/2005/8/layout/process1"/>
    <dgm:cxn modelId="{E8A4A8FE-4183-4C1B-9BE0-12C251731563}" type="presOf" srcId="{E38BE2C2-873E-41D2-9ECE-8991B2567C89}" destId="{1CD17FAB-41E7-4E93-9CC0-44721AAC02E6}" srcOrd="0" destOrd="0" presId="urn:microsoft.com/office/officeart/2005/8/layout/process1"/>
    <dgm:cxn modelId="{AD1DD4CA-5FB5-4538-808D-7F0D14EF6F57}" type="presParOf" srcId="{B7C2C3C0-0D94-46A1-8985-666E6A412FD5}" destId="{55603828-69E7-4BF5-848B-9D37B1995B9A}" srcOrd="0" destOrd="0" presId="urn:microsoft.com/office/officeart/2005/8/layout/process1"/>
    <dgm:cxn modelId="{45844CD8-8697-455F-958D-8473A1F8F0CE}" type="presParOf" srcId="{B7C2C3C0-0D94-46A1-8985-666E6A412FD5}" destId="{170B77D0-7712-4EEE-9AB9-F5B4EE8E4447}" srcOrd="1" destOrd="0" presId="urn:microsoft.com/office/officeart/2005/8/layout/process1"/>
    <dgm:cxn modelId="{38E8ED0A-3A34-48C7-B8F3-2B53EA930064}" type="presParOf" srcId="{170B77D0-7712-4EEE-9AB9-F5B4EE8E4447}" destId="{BE267EA0-841B-4CB6-980C-05D1D3132C76}" srcOrd="0" destOrd="0" presId="urn:microsoft.com/office/officeart/2005/8/layout/process1"/>
    <dgm:cxn modelId="{FEEB394D-3A9E-4F9F-9576-87DF91F790BA}" type="presParOf" srcId="{B7C2C3C0-0D94-46A1-8985-666E6A412FD5}" destId="{1449687B-9179-487C-B98B-A1212B5703F5}" srcOrd="2" destOrd="0" presId="urn:microsoft.com/office/officeart/2005/8/layout/process1"/>
    <dgm:cxn modelId="{526FB571-2509-4C0A-9A78-6B857F388957}" type="presParOf" srcId="{B7C2C3C0-0D94-46A1-8985-666E6A412FD5}" destId="{9798AE99-6D4E-4589-8293-04831AD76705}" srcOrd="3" destOrd="0" presId="urn:microsoft.com/office/officeart/2005/8/layout/process1"/>
    <dgm:cxn modelId="{A9964502-E116-46EE-96CF-720563EF32F0}" type="presParOf" srcId="{9798AE99-6D4E-4589-8293-04831AD76705}" destId="{C446F285-3DEB-4B87-8EED-706F3C0D910A}" srcOrd="0" destOrd="0" presId="urn:microsoft.com/office/officeart/2005/8/layout/process1"/>
    <dgm:cxn modelId="{BB4F80B0-717F-4CCA-A14B-1DE81474B1FC}" type="presParOf" srcId="{B7C2C3C0-0D94-46A1-8985-666E6A412FD5}" destId="{F9CF15C0-FD8B-4522-91D5-E647EF59B558}" srcOrd="4" destOrd="0" presId="urn:microsoft.com/office/officeart/2005/8/layout/process1"/>
    <dgm:cxn modelId="{4E73801B-B647-414A-AD79-5595B390A93E}" type="presParOf" srcId="{B7C2C3C0-0D94-46A1-8985-666E6A412FD5}" destId="{75DAC6BA-E23D-43CF-A72B-B07455A5DA62}" srcOrd="5" destOrd="0" presId="urn:microsoft.com/office/officeart/2005/8/layout/process1"/>
    <dgm:cxn modelId="{1847F439-BD04-4CA8-8CDE-99771F84435E}" type="presParOf" srcId="{75DAC6BA-E23D-43CF-A72B-B07455A5DA62}" destId="{2F8749AC-0CA7-4016-8AD1-A1D367C7262E}" srcOrd="0" destOrd="0" presId="urn:microsoft.com/office/officeart/2005/8/layout/process1"/>
    <dgm:cxn modelId="{377D0082-390C-42F1-825A-FFCFFDE57B08}" type="presParOf" srcId="{B7C2C3C0-0D94-46A1-8985-666E6A412FD5}" destId="{1CD17FAB-41E7-4E93-9CC0-44721AAC02E6}" srcOrd="6" destOrd="0" presId="urn:microsoft.com/office/officeart/2005/8/layout/process1"/>
    <dgm:cxn modelId="{E7548D15-64A0-44D1-A2E9-D32315D8640E}" type="presParOf" srcId="{B7C2C3C0-0D94-46A1-8985-666E6A412FD5}" destId="{7BB2D783-1F80-4757-803E-64128D9075CB}" srcOrd="7" destOrd="0" presId="urn:microsoft.com/office/officeart/2005/8/layout/process1"/>
    <dgm:cxn modelId="{3B9C9751-3428-41ED-AF91-582480F0F71B}" type="presParOf" srcId="{7BB2D783-1F80-4757-803E-64128D9075CB}" destId="{828CC409-C5EB-45A6-9C8A-8E6EAF443E87}" srcOrd="0" destOrd="0" presId="urn:microsoft.com/office/officeart/2005/8/layout/process1"/>
    <dgm:cxn modelId="{148F6204-5CB2-41F8-BB75-A78F4AB4B126}" type="presParOf" srcId="{B7C2C3C0-0D94-46A1-8985-666E6A412FD5}" destId="{A3DF6F31-1A35-408B-8404-C164D5D70A3A}"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3C2FD64-A8AC-471A-A4FB-EAD1770EE5A0}" type="doc">
      <dgm:prSet loTypeId="urn:microsoft.com/office/officeart/2005/8/layout/default" loCatId="list" qsTypeId="urn:microsoft.com/office/officeart/2005/8/quickstyle/simple5" qsCatId="simple" csTypeId="urn:microsoft.com/office/officeart/2005/8/colors/colorful3" csCatId="colorful" phldr="1"/>
      <dgm:spPr/>
      <dgm:t>
        <a:bodyPr/>
        <a:lstStyle/>
        <a:p>
          <a:endParaRPr lang="en-US"/>
        </a:p>
      </dgm:t>
    </dgm:pt>
    <dgm:pt modelId="{5718D6F1-4EA1-4330-98B1-778206FB21AF}">
      <dgm:prSet phldrT="[Text]"/>
      <dgm:spPr/>
      <dgm:t>
        <a:bodyPr/>
        <a:lstStyle/>
        <a:p>
          <a:r>
            <a:rPr lang="en-US" dirty="0"/>
            <a:t>Tx1</a:t>
          </a:r>
        </a:p>
      </dgm:t>
    </dgm:pt>
    <dgm:pt modelId="{EA4182D2-CED0-47AC-B8DE-E3823FD08B83}" type="parTrans" cxnId="{4ADB4A86-F2DE-461C-8A25-AEE26C1D34E4}">
      <dgm:prSet/>
      <dgm:spPr/>
      <dgm:t>
        <a:bodyPr/>
        <a:lstStyle/>
        <a:p>
          <a:endParaRPr lang="en-US"/>
        </a:p>
      </dgm:t>
    </dgm:pt>
    <dgm:pt modelId="{1ADCCD6B-F86E-48F0-9526-71B81887D5AF}" type="sibTrans" cxnId="{4ADB4A86-F2DE-461C-8A25-AEE26C1D34E4}">
      <dgm:prSet/>
      <dgm:spPr/>
      <dgm:t>
        <a:bodyPr/>
        <a:lstStyle/>
        <a:p>
          <a:endParaRPr lang="en-US"/>
        </a:p>
      </dgm:t>
    </dgm:pt>
    <dgm:pt modelId="{94B3EADF-C268-4EA5-A4BE-52B9411D6F09}" type="pres">
      <dgm:prSet presAssocID="{73C2FD64-A8AC-471A-A4FB-EAD1770EE5A0}" presName="diagram" presStyleCnt="0">
        <dgm:presLayoutVars>
          <dgm:dir/>
          <dgm:resizeHandles val="exact"/>
        </dgm:presLayoutVars>
      </dgm:prSet>
      <dgm:spPr/>
    </dgm:pt>
    <dgm:pt modelId="{0FC98577-9720-4B53-BD8F-59407FA52E71}" type="pres">
      <dgm:prSet presAssocID="{5718D6F1-4EA1-4330-98B1-778206FB21AF}" presName="node" presStyleLbl="node1" presStyleIdx="0" presStyleCnt="1" custLinFactNeighborX="59616" custLinFactNeighborY="-6654">
        <dgm:presLayoutVars>
          <dgm:bulletEnabled val="1"/>
        </dgm:presLayoutVars>
      </dgm:prSet>
      <dgm:spPr/>
    </dgm:pt>
  </dgm:ptLst>
  <dgm:cxnLst>
    <dgm:cxn modelId="{019B8931-22CE-446D-9513-54BD577AB3D0}" type="presOf" srcId="{5718D6F1-4EA1-4330-98B1-778206FB21AF}" destId="{0FC98577-9720-4B53-BD8F-59407FA52E71}" srcOrd="0" destOrd="0" presId="urn:microsoft.com/office/officeart/2005/8/layout/default"/>
    <dgm:cxn modelId="{4ADB4A86-F2DE-461C-8A25-AEE26C1D34E4}" srcId="{73C2FD64-A8AC-471A-A4FB-EAD1770EE5A0}" destId="{5718D6F1-4EA1-4330-98B1-778206FB21AF}" srcOrd="0" destOrd="0" parTransId="{EA4182D2-CED0-47AC-B8DE-E3823FD08B83}" sibTransId="{1ADCCD6B-F86E-48F0-9526-71B81887D5AF}"/>
    <dgm:cxn modelId="{55FFC387-40D5-426B-95C4-B45A909E46EA}" type="presOf" srcId="{73C2FD64-A8AC-471A-A4FB-EAD1770EE5A0}" destId="{94B3EADF-C268-4EA5-A4BE-52B9411D6F09}" srcOrd="0" destOrd="0" presId="urn:microsoft.com/office/officeart/2005/8/layout/default"/>
    <dgm:cxn modelId="{D41C2444-9F7E-410D-849F-81F7DCCB3ED1}" type="presParOf" srcId="{94B3EADF-C268-4EA5-A4BE-52B9411D6F09}" destId="{0FC98577-9720-4B53-BD8F-59407FA52E71}"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8C174A1-3EF5-42C6-8B57-EAD84F5DFF59}"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543742FA-4399-40E0-9746-27877EE8B885}">
      <dgm:prSet phldrT="[Text]"/>
      <dgm:spPr/>
      <dgm:t>
        <a:bodyPr/>
        <a:lstStyle/>
        <a:p>
          <a:r>
            <a:rPr lang="en-US" dirty="0"/>
            <a:t>Block</a:t>
          </a:r>
        </a:p>
      </dgm:t>
    </dgm:pt>
    <dgm:pt modelId="{6C4C8B69-D09D-43C7-931A-5398ECC2F700}" type="parTrans" cxnId="{AD159B21-A7C2-468C-A375-41DDAB546AEE}">
      <dgm:prSet/>
      <dgm:spPr/>
      <dgm:t>
        <a:bodyPr/>
        <a:lstStyle/>
        <a:p>
          <a:endParaRPr lang="en-US"/>
        </a:p>
      </dgm:t>
    </dgm:pt>
    <dgm:pt modelId="{096F9312-E6DC-424C-A2EF-78D8BA2E432F}" type="sibTrans" cxnId="{AD159B21-A7C2-468C-A375-41DDAB546AEE}">
      <dgm:prSet/>
      <dgm:spPr/>
      <dgm:t>
        <a:bodyPr/>
        <a:lstStyle/>
        <a:p>
          <a:endParaRPr lang="en-US"/>
        </a:p>
      </dgm:t>
    </dgm:pt>
    <dgm:pt modelId="{608813BC-EED7-4242-B8A9-C6DA8F96BB52}">
      <dgm:prSet phldrT="[Text]"/>
      <dgm:spPr/>
      <dgm:t>
        <a:bodyPr/>
        <a:lstStyle/>
        <a:p>
          <a:r>
            <a:rPr lang="en-US" dirty="0"/>
            <a:t>TX1</a:t>
          </a:r>
        </a:p>
      </dgm:t>
    </dgm:pt>
    <dgm:pt modelId="{8AE6E69C-30DC-4A6A-940D-228057C8C075}" type="parTrans" cxnId="{34C8151A-C238-45C0-98D6-9A7EC9FE8E24}">
      <dgm:prSet/>
      <dgm:spPr/>
      <dgm:t>
        <a:bodyPr/>
        <a:lstStyle/>
        <a:p>
          <a:endParaRPr lang="en-US"/>
        </a:p>
      </dgm:t>
    </dgm:pt>
    <dgm:pt modelId="{38C1950F-1A77-4507-8751-52F551AA0F02}" type="sibTrans" cxnId="{34C8151A-C238-45C0-98D6-9A7EC9FE8E24}">
      <dgm:prSet/>
      <dgm:spPr/>
      <dgm:t>
        <a:bodyPr/>
        <a:lstStyle/>
        <a:p>
          <a:endParaRPr lang="en-US"/>
        </a:p>
      </dgm:t>
    </dgm:pt>
    <dgm:pt modelId="{145FB613-B642-4570-B65B-27F2755018EF}">
      <dgm:prSet phldrT="[Text]"/>
      <dgm:spPr/>
      <dgm:t>
        <a:bodyPr/>
        <a:lstStyle/>
        <a:p>
          <a:r>
            <a:rPr lang="en-US" dirty="0"/>
            <a:t>TX2</a:t>
          </a:r>
        </a:p>
      </dgm:t>
    </dgm:pt>
    <dgm:pt modelId="{F20816CA-1C13-4587-BB98-368CD52FD80A}" type="parTrans" cxnId="{CEAEB131-DF6D-4CA0-A58E-5E370EA0CCA1}">
      <dgm:prSet/>
      <dgm:spPr/>
      <dgm:t>
        <a:bodyPr/>
        <a:lstStyle/>
        <a:p>
          <a:endParaRPr lang="en-US"/>
        </a:p>
      </dgm:t>
    </dgm:pt>
    <dgm:pt modelId="{84C470BC-F61D-45DE-B7F0-19123D3FDF8D}" type="sibTrans" cxnId="{CEAEB131-DF6D-4CA0-A58E-5E370EA0CCA1}">
      <dgm:prSet/>
      <dgm:spPr/>
      <dgm:t>
        <a:bodyPr/>
        <a:lstStyle/>
        <a:p>
          <a:endParaRPr lang="en-US"/>
        </a:p>
      </dgm:t>
    </dgm:pt>
    <dgm:pt modelId="{E8D2FEF5-904F-4A9E-8A33-8FF546173AD0}">
      <dgm:prSet phldrT="[Text]"/>
      <dgm:spPr/>
      <dgm:t>
        <a:bodyPr/>
        <a:lstStyle/>
        <a:p>
          <a:r>
            <a:rPr lang="en-US" dirty="0"/>
            <a:t>TX3</a:t>
          </a:r>
        </a:p>
      </dgm:t>
    </dgm:pt>
    <dgm:pt modelId="{AB92E484-1B38-4A4B-B748-9229E6ACED98}" type="parTrans" cxnId="{857623AE-21EE-4CD1-AC52-B86CB14D3C06}">
      <dgm:prSet/>
      <dgm:spPr/>
      <dgm:t>
        <a:bodyPr/>
        <a:lstStyle/>
        <a:p>
          <a:endParaRPr lang="en-US"/>
        </a:p>
      </dgm:t>
    </dgm:pt>
    <dgm:pt modelId="{6578E2DE-80D7-4A05-A214-5CC4E18B4845}" type="sibTrans" cxnId="{857623AE-21EE-4CD1-AC52-B86CB14D3C06}">
      <dgm:prSet/>
      <dgm:spPr/>
      <dgm:t>
        <a:bodyPr/>
        <a:lstStyle/>
        <a:p>
          <a:endParaRPr lang="en-US"/>
        </a:p>
      </dgm:t>
    </dgm:pt>
    <dgm:pt modelId="{F69ED84A-B809-4320-A19F-A197BAD3665C}">
      <dgm:prSet phldrT="[Text]"/>
      <dgm:spPr/>
      <dgm:t>
        <a:bodyPr/>
        <a:lstStyle/>
        <a:p>
          <a:r>
            <a:rPr lang="en-US" dirty="0"/>
            <a:t>TX4</a:t>
          </a:r>
        </a:p>
      </dgm:t>
    </dgm:pt>
    <dgm:pt modelId="{876B4835-77CE-4FE9-A864-5FA7596FAB31}" type="parTrans" cxnId="{5901B02B-6675-4FE2-8D96-3FF5897A48E9}">
      <dgm:prSet/>
      <dgm:spPr/>
      <dgm:t>
        <a:bodyPr/>
        <a:lstStyle/>
        <a:p>
          <a:endParaRPr lang="en-US"/>
        </a:p>
      </dgm:t>
    </dgm:pt>
    <dgm:pt modelId="{DFDD9891-F84C-40FB-9FC3-E83E1A2B3794}" type="sibTrans" cxnId="{5901B02B-6675-4FE2-8D96-3FF5897A48E9}">
      <dgm:prSet/>
      <dgm:spPr/>
      <dgm:t>
        <a:bodyPr/>
        <a:lstStyle/>
        <a:p>
          <a:endParaRPr lang="en-US"/>
        </a:p>
      </dgm:t>
    </dgm:pt>
    <dgm:pt modelId="{24C99585-75E2-4B9D-9D81-B4AE353B595D}">
      <dgm:prSet phldrT="[Text]"/>
      <dgm:spPr/>
      <dgm:t>
        <a:bodyPr/>
        <a:lstStyle/>
        <a:p>
          <a:r>
            <a:rPr lang="en-US" dirty="0"/>
            <a:t>TX5</a:t>
          </a:r>
        </a:p>
      </dgm:t>
    </dgm:pt>
    <dgm:pt modelId="{2EA844B9-197B-4EBF-B6C4-2EBB66BDCB17}" type="parTrans" cxnId="{CB290D39-2E1C-421B-80F4-A1DED5F33B0C}">
      <dgm:prSet/>
      <dgm:spPr/>
      <dgm:t>
        <a:bodyPr/>
        <a:lstStyle/>
        <a:p>
          <a:endParaRPr lang="en-US"/>
        </a:p>
      </dgm:t>
    </dgm:pt>
    <dgm:pt modelId="{8AB73B3F-A0F1-4A54-B024-5C98EC3D7A8E}" type="sibTrans" cxnId="{CB290D39-2E1C-421B-80F4-A1DED5F33B0C}">
      <dgm:prSet/>
      <dgm:spPr/>
      <dgm:t>
        <a:bodyPr/>
        <a:lstStyle/>
        <a:p>
          <a:endParaRPr lang="en-US"/>
        </a:p>
      </dgm:t>
    </dgm:pt>
    <dgm:pt modelId="{B9FC7B13-3E57-4D32-BF3E-FAC9D251BC35}" type="pres">
      <dgm:prSet presAssocID="{58C174A1-3EF5-42C6-8B57-EAD84F5DFF59}" presName="diagram" presStyleCnt="0">
        <dgm:presLayoutVars>
          <dgm:dir/>
          <dgm:resizeHandles val="exact"/>
        </dgm:presLayoutVars>
      </dgm:prSet>
      <dgm:spPr/>
    </dgm:pt>
    <dgm:pt modelId="{9A6B6FDF-20A3-4877-A2D1-0718E6509028}" type="pres">
      <dgm:prSet presAssocID="{543742FA-4399-40E0-9746-27877EE8B885}" presName="node" presStyleLbl="node1" presStyleIdx="0" presStyleCnt="1" custScaleY="286157" custLinFactNeighborX="45652" custLinFactNeighborY="0">
        <dgm:presLayoutVars>
          <dgm:bulletEnabled val="1"/>
        </dgm:presLayoutVars>
      </dgm:prSet>
      <dgm:spPr/>
    </dgm:pt>
  </dgm:ptLst>
  <dgm:cxnLst>
    <dgm:cxn modelId="{3992690C-7543-466C-A1D3-D1401C7B3CA5}" type="presOf" srcId="{F69ED84A-B809-4320-A19F-A197BAD3665C}" destId="{9A6B6FDF-20A3-4877-A2D1-0718E6509028}" srcOrd="0" destOrd="4" presId="urn:microsoft.com/office/officeart/2005/8/layout/default"/>
    <dgm:cxn modelId="{256C4011-CA89-425B-8052-7EEC3BDFB729}" type="presOf" srcId="{608813BC-EED7-4242-B8A9-C6DA8F96BB52}" destId="{9A6B6FDF-20A3-4877-A2D1-0718E6509028}" srcOrd="0" destOrd="1" presId="urn:microsoft.com/office/officeart/2005/8/layout/default"/>
    <dgm:cxn modelId="{34C8151A-C238-45C0-98D6-9A7EC9FE8E24}" srcId="{543742FA-4399-40E0-9746-27877EE8B885}" destId="{608813BC-EED7-4242-B8A9-C6DA8F96BB52}" srcOrd="0" destOrd="0" parTransId="{8AE6E69C-30DC-4A6A-940D-228057C8C075}" sibTransId="{38C1950F-1A77-4507-8751-52F551AA0F02}"/>
    <dgm:cxn modelId="{AD159B21-A7C2-468C-A375-41DDAB546AEE}" srcId="{58C174A1-3EF5-42C6-8B57-EAD84F5DFF59}" destId="{543742FA-4399-40E0-9746-27877EE8B885}" srcOrd="0" destOrd="0" parTransId="{6C4C8B69-D09D-43C7-931A-5398ECC2F700}" sibTransId="{096F9312-E6DC-424C-A2EF-78D8BA2E432F}"/>
    <dgm:cxn modelId="{DF60DE2A-611E-4B92-927D-B7513FE02FCA}" type="presOf" srcId="{58C174A1-3EF5-42C6-8B57-EAD84F5DFF59}" destId="{B9FC7B13-3E57-4D32-BF3E-FAC9D251BC35}" srcOrd="0" destOrd="0" presId="urn:microsoft.com/office/officeart/2005/8/layout/default"/>
    <dgm:cxn modelId="{5901B02B-6675-4FE2-8D96-3FF5897A48E9}" srcId="{543742FA-4399-40E0-9746-27877EE8B885}" destId="{F69ED84A-B809-4320-A19F-A197BAD3665C}" srcOrd="3" destOrd="0" parTransId="{876B4835-77CE-4FE9-A864-5FA7596FAB31}" sibTransId="{DFDD9891-F84C-40FB-9FC3-E83E1A2B3794}"/>
    <dgm:cxn modelId="{CEAEB131-DF6D-4CA0-A58E-5E370EA0CCA1}" srcId="{543742FA-4399-40E0-9746-27877EE8B885}" destId="{145FB613-B642-4570-B65B-27F2755018EF}" srcOrd="1" destOrd="0" parTransId="{F20816CA-1C13-4587-BB98-368CD52FD80A}" sibTransId="{84C470BC-F61D-45DE-B7F0-19123D3FDF8D}"/>
    <dgm:cxn modelId="{DCFE9338-6679-41B3-A6EA-F5FE0A6EC2D2}" type="presOf" srcId="{145FB613-B642-4570-B65B-27F2755018EF}" destId="{9A6B6FDF-20A3-4877-A2D1-0718E6509028}" srcOrd="0" destOrd="2" presId="urn:microsoft.com/office/officeart/2005/8/layout/default"/>
    <dgm:cxn modelId="{CB290D39-2E1C-421B-80F4-A1DED5F33B0C}" srcId="{543742FA-4399-40E0-9746-27877EE8B885}" destId="{24C99585-75E2-4B9D-9D81-B4AE353B595D}" srcOrd="4" destOrd="0" parTransId="{2EA844B9-197B-4EBF-B6C4-2EBB66BDCB17}" sibTransId="{8AB73B3F-A0F1-4A54-B024-5C98EC3D7A8E}"/>
    <dgm:cxn modelId="{D8140984-D71F-425C-89E4-94720AA3DF31}" type="presOf" srcId="{543742FA-4399-40E0-9746-27877EE8B885}" destId="{9A6B6FDF-20A3-4877-A2D1-0718E6509028}" srcOrd="0" destOrd="0" presId="urn:microsoft.com/office/officeart/2005/8/layout/default"/>
    <dgm:cxn modelId="{857623AE-21EE-4CD1-AC52-B86CB14D3C06}" srcId="{543742FA-4399-40E0-9746-27877EE8B885}" destId="{E8D2FEF5-904F-4A9E-8A33-8FF546173AD0}" srcOrd="2" destOrd="0" parTransId="{AB92E484-1B38-4A4B-B748-9229E6ACED98}" sibTransId="{6578E2DE-80D7-4A05-A214-5CC4E18B4845}"/>
    <dgm:cxn modelId="{9CB878AF-61C6-4D3D-900E-9567FF2A25A6}" type="presOf" srcId="{E8D2FEF5-904F-4A9E-8A33-8FF546173AD0}" destId="{9A6B6FDF-20A3-4877-A2D1-0718E6509028}" srcOrd="0" destOrd="3" presId="urn:microsoft.com/office/officeart/2005/8/layout/default"/>
    <dgm:cxn modelId="{8C3276F5-280E-4CD7-9706-1E9E4037E8F3}" type="presOf" srcId="{24C99585-75E2-4B9D-9D81-B4AE353B595D}" destId="{9A6B6FDF-20A3-4877-A2D1-0718E6509028}" srcOrd="0" destOrd="5" presId="urn:microsoft.com/office/officeart/2005/8/layout/default"/>
    <dgm:cxn modelId="{ECE839CB-EA86-42F0-82F8-00E429B4D841}" type="presParOf" srcId="{B9FC7B13-3E57-4D32-BF3E-FAC9D251BC35}" destId="{9A6B6FDF-20A3-4877-A2D1-0718E6509028}" srcOrd="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19AD8E7-DA85-4C98-9A55-52A9188D6D04}" type="doc">
      <dgm:prSet loTypeId="urn:microsoft.com/office/officeart/2005/8/layout/process5" loCatId="process" qsTypeId="urn:microsoft.com/office/officeart/2005/8/quickstyle/simple5" qsCatId="simple" csTypeId="urn:microsoft.com/office/officeart/2005/8/colors/colorful5" csCatId="colorful" phldr="1"/>
      <dgm:spPr/>
      <dgm:t>
        <a:bodyPr/>
        <a:lstStyle/>
        <a:p>
          <a:endParaRPr lang="en-US"/>
        </a:p>
      </dgm:t>
    </dgm:pt>
    <dgm:pt modelId="{7E916C26-3F25-41C2-A46C-B41844329016}">
      <dgm:prSet phldrT="[Text]"/>
      <dgm:spPr/>
      <dgm:t>
        <a:bodyPr/>
        <a:lstStyle/>
        <a:p>
          <a:r>
            <a:rPr lang="en-US" dirty="0"/>
            <a:t>Block N</a:t>
          </a:r>
        </a:p>
      </dgm:t>
    </dgm:pt>
    <dgm:pt modelId="{E5F12A20-90EF-48CE-B454-B4E3296C5128}" type="parTrans" cxnId="{10692ECB-CE37-48BE-A7AB-DAAB26AF2233}">
      <dgm:prSet/>
      <dgm:spPr/>
      <dgm:t>
        <a:bodyPr/>
        <a:lstStyle/>
        <a:p>
          <a:endParaRPr lang="en-US"/>
        </a:p>
      </dgm:t>
    </dgm:pt>
    <dgm:pt modelId="{5FE072CC-9190-4957-B3C6-993807B2CB81}" type="sibTrans" cxnId="{10692ECB-CE37-48BE-A7AB-DAAB26AF2233}">
      <dgm:prSet/>
      <dgm:spPr/>
      <dgm:t>
        <a:bodyPr/>
        <a:lstStyle/>
        <a:p>
          <a:endParaRPr lang="en-US"/>
        </a:p>
      </dgm:t>
    </dgm:pt>
    <dgm:pt modelId="{65A39311-3078-4E4D-B5D8-860748C68A4D}">
      <dgm:prSet phldrT="[Text]"/>
      <dgm:spPr/>
      <dgm:t>
        <a:bodyPr/>
        <a:lstStyle/>
        <a:p>
          <a:r>
            <a:rPr lang="en-US" dirty="0"/>
            <a:t>…</a:t>
          </a:r>
        </a:p>
      </dgm:t>
    </dgm:pt>
    <dgm:pt modelId="{5926CB4C-638C-4C87-8B82-84029A8B58D5}" type="parTrans" cxnId="{98B53AC1-475B-4337-B405-4AC96B247CBA}">
      <dgm:prSet/>
      <dgm:spPr/>
      <dgm:t>
        <a:bodyPr/>
        <a:lstStyle/>
        <a:p>
          <a:endParaRPr lang="en-US"/>
        </a:p>
      </dgm:t>
    </dgm:pt>
    <dgm:pt modelId="{73BB8396-8C2A-4A06-8F2F-46A5FAAF4D4E}" type="sibTrans" cxnId="{98B53AC1-475B-4337-B405-4AC96B247CBA}">
      <dgm:prSet/>
      <dgm:spPr/>
      <dgm:t>
        <a:bodyPr/>
        <a:lstStyle/>
        <a:p>
          <a:endParaRPr lang="en-US"/>
        </a:p>
      </dgm:t>
    </dgm:pt>
    <dgm:pt modelId="{A9D728AA-50D2-43AD-9C73-1183794AFA11}">
      <dgm:prSet phldrT="[Text]"/>
      <dgm:spPr/>
      <dgm:t>
        <a:bodyPr/>
        <a:lstStyle/>
        <a:p>
          <a:r>
            <a:rPr lang="en-US" dirty="0"/>
            <a:t>Block 2</a:t>
          </a:r>
        </a:p>
      </dgm:t>
    </dgm:pt>
    <dgm:pt modelId="{31FB9B22-DB46-4400-914C-D74CFC1E283F}" type="parTrans" cxnId="{8ECE5152-50A6-492A-ADC1-AEED5AAD0F34}">
      <dgm:prSet/>
      <dgm:spPr/>
      <dgm:t>
        <a:bodyPr/>
        <a:lstStyle/>
        <a:p>
          <a:endParaRPr lang="en-US"/>
        </a:p>
      </dgm:t>
    </dgm:pt>
    <dgm:pt modelId="{5B46D43D-6E0C-4111-AA0D-CE03E7245CC3}" type="sibTrans" cxnId="{8ECE5152-50A6-492A-ADC1-AEED5AAD0F34}">
      <dgm:prSet/>
      <dgm:spPr/>
      <dgm:t>
        <a:bodyPr/>
        <a:lstStyle/>
        <a:p>
          <a:endParaRPr lang="en-US"/>
        </a:p>
      </dgm:t>
    </dgm:pt>
    <dgm:pt modelId="{94B9A7C6-EFF0-4389-A8DB-FDD1E11D42AC}">
      <dgm:prSet phldrT="[Text]"/>
      <dgm:spPr/>
      <dgm:t>
        <a:bodyPr/>
        <a:lstStyle/>
        <a:p>
          <a:r>
            <a:rPr lang="en-US" dirty="0"/>
            <a:t>Block 1</a:t>
          </a:r>
        </a:p>
      </dgm:t>
    </dgm:pt>
    <dgm:pt modelId="{E8904130-46B0-4ED1-BEBF-756E05108EE6}" type="parTrans" cxnId="{E8E4F6B5-7350-494A-B3EE-A9D2040DE339}">
      <dgm:prSet/>
      <dgm:spPr/>
      <dgm:t>
        <a:bodyPr/>
        <a:lstStyle/>
        <a:p>
          <a:endParaRPr lang="en-US"/>
        </a:p>
      </dgm:t>
    </dgm:pt>
    <dgm:pt modelId="{2283EC59-DCB1-4871-B73F-3662475554E8}" type="sibTrans" cxnId="{E8E4F6B5-7350-494A-B3EE-A9D2040DE339}">
      <dgm:prSet/>
      <dgm:spPr/>
      <dgm:t>
        <a:bodyPr/>
        <a:lstStyle/>
        <a:p>
          <a:endParaRPr lang="en-US"/>
        </a:p>
      </dgm:t>
    </dgm:pt>
    <dgm:pt modelId="{614FF907-DE96-4F53-891F-12F3087F1A7C}">
      <dgm:prSet phldrT="[Text]"/>
      <dgm:spPr/>
      <dgm:t>
        <a:bodyPr/>
        <a:lstStyle/>
        <a:p>
          <a:r>
            <a:rPr lang="en-US" dirty="0"/>
            <a:t>Block 0</a:t>
          </a:r>
        </a:p>
      </dgm:t>
    </dgm:pt>
    <dgm:pt modelId="{0A2089F5-FDD9-4586-AE2B-36EA442159B3}" type="parTrans" cxnId="{038740BC-7057-4E45-A6C0-8143372B7DEC}">
      <dgm:prSet/>
      <dgm:spPr/>
      <dgm:t>
        <a:bodyPr/>
        <a:lstStyle/>
        <a:p>
          <a:endParaRPr lang="en-US"/>
        </a:p>
      </dgm:t>
    </dgm:pt>
    <dgm:pt modelId="{ABFC60B6-3E60-47F6-A113-3FBB4C9F2239}" type="sibTrans" cxnId="{038740BC-7057-4E45-A6C0-8143372B7DEC}">
      <dgm:prSet/>
      <dgm:spPr/>
      <dgm:t>
        <a:bodyPr/>
        <a:lstStyle/>
        <a:p>
          <a:endParaRPr lang="en-US"/>
        </a:p>
      </dgm:t>
    </dgm:pt>
    <dgm:pt modelId="{7D0C889B-5249-438C-BC9B-2C476521AE10}" type="pres">
      <dgm:prSet presAssocID="{219AD8E7-DA85-4C98-9A55-52A9188D6D04}" presName="diagram" presStyleCnt="0">
        <dgm:presLayoutVars>
          <dgm:dir/>
          <dgm:resizeHandles val="exact"/>
        </dgm:presLayoutVars>
      </dgm:prSet>
      <dgm:spPr/>
    </dgm:pt>
    <dgm:pt modelId="{C6E28224-E15C-4D1F-B2C0-F33C74DE4695}" type="pres">
      <dgm:prSet presAssocID="{7E916C26-3F25-41C2-A46C-B41844329016}" presName="node" presStyleLbl="node1" presStyleIdx="0" presStyleCnt="5">
        <dgm:presLayoutVars>
          <dgm:bulletEnabled val="1"/>
        </dgm:presLayoutVars>
      </dgm:prSet>
      <dgm:spPr/>
    </dgm:pt>
    <dgm:pt modelId="{940471B9-744B-4D9B-A499-A763A7DF19C0}" type="pres">
      <dgm:prSet presAssocID="{5FE072CC-9190-4957-B3C6-993807B2CB81}" presName="sibTrans" presStyleLbl="sibTrans2D1" presStyleIdx="0" presStyleCnt="4"/>
      <dgm:spPr/>
    </dgm:pt>
    <dgm:pt modelId="{19CE0BA4-2485-4F1F-BFF7-56A8CC02EF3A}" type="pres">
      <dgm:prSet presAssocID="{5FE072CC-9190-4957-B3C6-993807B2CB81}" presName="connectorText" presStyleLbl="sibTrans2D1" presStyleIdx="0" presStyleCnt="4"/>
      <dgm:spPr/>
    </dgm:pt>
    <dgm:pt modelId="{7C2E10AC-59E7-4CD2-9387-A79414701974}" type="pres">
      <dgm:prSet presAssocID="{65A39311-3078-4E4D-B5D8-860748C68A4D}" presName="node" presStyleLbl="node1" presStyleIdx="1" presStyleCnt="5">
        <dgm:presLayoutVars>
          <dgm:bulletEnabled val="1"/>
        </dgm:presLayoutVars>
      </dgm:prSet>
      <dgm:spPr/>
    </dgm:pt>
    <dgm:pt modelId="{F838F4A0-E84C-433C-8DB8-4832537345A3}" type="pres">
      <dgm:prSet presAssocID="{73BB8396-8C2A-4A06-8F2F-46A5FAAF4D4E}" presName="sibTrans" presStyleLbl="sibTrans2D1" presStyleIdx="1" presStyleCnt="4"/>
      <dgm:spPr/>
    </dgm:pt>
    <dgm:pt modelId="{B0F52ED5-E972-42E1-AA6D-80B61593567E}" type="pres">
      <dgm:prSet presAssocID="{73BB8396-8C2A-4A06-8F2F-46A5FAAF4D4E}" presName="connectorText" presStyleLbl="sibTrans2D1" presStyleIdx="1" presStyleCnt="4"/>
      <dgm:spPr/>
    </dgm:pt>
    <dgm:pt modelId="{B8517952-6C83-4CCC-8EC4-6EAB65C2FF1C}" type="pres">
      <dgm:prSet presAssocID="{A9D728AA-50D2-43AD-9C73-1183794AFA11}" presName="node" presStyleLbl="node1" presStyleIdx="2" presStyleCnt="5">
        <dgm:presLayoutVars>
          <dgm:bulletEnabled val="1"/>
        </dgm:presLayoutVars>
      </dgm:prSet>
      <dgm:spPr/>
    </dgm:pt>
    <dgm:pt modelId="{8F721480-5647-4B1F-9333-2CB93EF5DE18}" type="pres">
      <dgm:prSet presAssocID="{5B46D43D-6E0C-4111-AA0D-CE03E7245CC3}" presName="sibTrans" presStyleLbl="sibTrans2D1" presStyleIdx="2" presStyleCnt="4"/>
      <dgm:spPr/>
    </dgm:pt>
    <dgm:pt modelId="{0BB76A35-4280-4ED0-AB3F-69FD87C2BFE1}" type="pres">
      <dgm:prSet presAssocID="{5B46D43D-6E0C-4111-AA0D-CE03E7245CC3}" presName="connectorText" presStyleLbl="sibTrans2D1" presStyleIdx="2" presStyleCnt="4"/>
      <dgm:spPr/>
    </dgm:pt>
    <dgm:pt modelId="{2C38D92E-C86A-4C42-A8BF-5157757EBEEA}" type="pres">
      <dgm:prSet presAssocID="{94B9A7C6-EFF0-4389-A8DB-FDD1E11D42AC}" presName="node" presStyleLbl="node1" presStyleIdx="3" presStyleCnt="5">
        <dgm:presLayoutVars>
          <dgm:bulletEnabled val="1"/>
        </dgm:presLayoutVars>
      </dgm:prSet>
      <dgm:spPr/>
    </dgm:pt>
    <dgm:pt modelId="{9228D13A-DF69-4910-99BD-6983DEB0B6FE}" type="pres">
      <dgm:prSet presAssocID="{2283EC59-DCB1-4871-B73F-3662475554E8}" presName="sibTrans" presStyleLbl="sibTrans2D1" presStyleIdx="3" presStyleCnt="4"/>
      <dgm:spPr/>
    </dgm:pt>
    <dgm:pt modelId="{2DE6B191-F15C-4E42-A883-2D97D0AFF09F}" type="pres">
      <dgm:prSet presAssocID="{2283EC59-DCB1-4871-B73F-3662475554E8}" presName="connectorText" presStyleLbl="sibTrans2D1" presStyleIdx="3" presStyleCnt="4"/>
      <dgm:spPr/>
    </dgm:pt>
    <dgm:pt modelId="{60E64AD6-BD96-4696-9E4A-3DADEE55E866}" type="pres">
      <dgm:prSet presAssocID="{614FF907-DE96-4F53-891F-12F3087F1A7C}" presName="node" presStyleLbl="node1" presStyleIdx="4" presStyleCnt="5">
        <dgm:presLayoutVars>
          <dgm:bulletEnabled val="1"/>
        </dgm:presLayoutVars>
      </dgm:prSet>
      <dgm:spPr/>
    </dgm:pt>
  </dgm:ptLst>
  <dgm:cxnLst>
    <dgm:cxn modelId="{69C86E22-B51D-45C2-9478-B1246B433F13}" type="presOf" srcId="{7E916C26-3F25-41C2-A46C-B41844329016}" destId="{C6E28224-E15C-4D1F-B2C0-F33C74DE4695}" srcOrd="0" destOrd="0" presId="urn:microsoft.com/office/officeart/2005/8/layout/process5"/>
    <dgm:cxn modelId="{079FB822-E7DA-4D44-8AD2-7808B2C7890A}" type="presOf" srcId="{614FF907-DE96-4F53-891F-12F3087F1A7C}" destId="{60E64AD6-BD96-4696-9E4A-3DADEE55E866}" srcOrd="0" destOrd="0" presId="urn:microsoft.com/office/officeart/2005/8/layout/process5"/>
    <dgm:cxn modelId="{77F1D128-CCB5-43AC-B857-79B94FE2CA14}" type="presOf" srcId="{5B46D43D-6E0C-4111-AA0D-CE03E7245CC3}" destId="{0BB76A35-4280-4ED0-AB3F-69FD87C2BFE1}" srcOrd="1" destOrd="0" presId="urn:microsoft.com/office/officeart/2005/8/layout/process5"/>
    <dgm:cxn modelId="{A282873D-1753-49D3-8680-12BF2A208B3E}" type="presOf" srcId="{5B46D43D-6E0C-4111-AA0D-CE03E7245CC3}" destId="{8F721480-5647-4B1F-9333-2CB93EF5DE18}" srcOrd="0" destOrd="0" presId="urn:microsoft.com/office/officeart/2005/8/layout/process5"/>
    <dgm:cxn modelId="{8ECE5152-50A6-492A-ADC1-AEED5AAD0F34}" srcId="{219AD8E7-DA85-4C98-9A55-52A9188D6D04}" destId="{A9D728AA-50D2-43AD-9C73-1183794AFA11}" srcOrd="2" destOrd="0" parTransId="{31FB9B22-DB46-4400-914C-D74CFC1E283F}" sibTransId="{5B46D43D-6E0C-4111-AA0D-CE03E7245CC3}"/>
    <dgm:cxn modelId="{000DEB86-1CB8-46C1-ADF3-863F17DA17D4}" type="presOf" srcId="{2283EC59-DCB1-4871-B73F-3662475554E8}" destId="{9228D13A-DF69-4910-99BD-6983DEB0B6FE}" srcOrd="0" destOrd="0" presId="urn:microsoft.com/office/officeart/2005/8/layout/process5"/>
    <dgm:cxn modelId="{56A86C8E-8B19-445F-9810-CDFB64B0ED86}" type="presOf" srcId="{5FE072CC-9190-4957-B3C6-993807B2CB81}" destId="{940471B9-744B-4D9B-A499-A763A7DF19C0}" srcOrd="0" destOrd="0" presId="urn:microsoft.com/office/officeart/2005/8/layout/process5"/>
    <dgm:cxn modelId="{40E25D94-1BF2-43CD-A1BF-F2B62FD74A7B}" type="presOf" srcId="{219AD8E7-DA85-4C98-9A55-52A9188D6D04}" destId="{7D0C889B-5249-438C-BC9B-2C476521AE10}" srcOrd="0" destOrd="0" presId="urn:microsoft.com/office/officeart/2005/8/layout/process5"/>
    <dgm:cxn modelId="{0A820EA3-7BC2-4BBB-87B2-E94F1A049035}" type="presOf" srcId="{5FE072CC-9190-4957-B3C6-993807B2CB81}" destId="{19CE0BA4-2485-4F1F-BFF7-56A8CC02EF3A}" srcOrd="1" destOrd="0" presId="urn:microsoft.com/office/officeart/2005/8/layout/process5"/>
    <dgm:cxn modelId="{E8E4F6B5-7350-494A-B3EE-A9D2040DE339}" srcId="{219AD8E7-DA85-4C98-9A55-52A9188D6D04}" destId="{94B9A7C6-EFF0-4389-A8DB-FDD1E11D42AC}" srcOrd="3" destOrd="0" parTransId="{E8904130-46B0-4ED1-BEBF-756E05108EE6}" sibTransId="{2283EC59-DCB1-4871-B73F-3662475554E8}"/>
    <dgm:cxn modelId="{038740BC-7057-4E45-A6C0-8143372B7DEC}" srcId="{219AD8E7-DA85-4C98-9A55-52A9188D6D04}" destId="{614FF907-DE96-4F53-891F-12F3087F1A7C}" srcOrd="4" destOrd="0" parTransId="{0A2089F5-FDD9-4586-AE2B-36EA442159B3}" sibTransId="{ABFC60B6-3E60-47F6-A113-3FBB4C9F2239}"/>
    <dgm:cxn modelId="{F9ADAFBC-50C8-4D50-A79A-1E46790965AE}" type="presOf" srcId="{94B9A7C6-EFF0-4389-A8DB-FDD1E11D42AC}" destId="{2C38D92E-C86A-4C42-A8BF-5157757EBEEA}" srcOrd="0" destOrd="0" presId="urn:microsoft.com/office/officeart/2005/8/layout/process5"/>
    <dgm:cxn modelId="{98B53AC1-475B-4337-B405-4AC96B247CBA}" srcId="{219AD8E7-DA85-4C98-9A55-52A9188D6D04}" destId="{65A39311-3078-4E4D-B5D8-860748C68A4D}" srcOrd="1" destOrd="0" parTransId="{5926CB4C-638C-4C87-8B82-84029A8B58D5}" sibTransId="{73BB8396-8C2A-4A06-8F2F-46A5FAAF4D4E}"/>
    <dgm:cxn modelId="{10692ECB-CE37-48BE-A7AB-DAAB26AF2233}" srcId="{219AD8E7-DA85-4C98-9A55-52A9188D6D04}" destId="{7E916C26-3F25-41C2-A46C-B41844329016}" srcOrd="0" destOrd="0" parTransId="{E5F12A20-90EF-48CE-B454-B4E3296C5128}" sibTransId="{5FE072CC-9190-4957-B3C6-993807B2CB81}"/>
    <dgm:cxn modelId="{D9F4CFD2-1CAC-45C0-AB56-9ACDD49619EF}" type="presOf" srcId="{65A39311-3078-4E4D-B5D8-860748C68A4D}" destId="{7C2E10AC-59E7-4CD2-9387-A79414701974}" srcOrd="0" destOrd="0" presId="urn:microsoft.com/office/officeart/2005/8/layout/process5"/>
    <dgm:cxn modelId="{684A8FD4-5D3A-417F-AEB5-6FF9ADCC827E}" type="presOf" srcId="{A9D728AA-50D2-43AD-9C73-1183794AFA11}" destId="{B8517952-6C83-4CCC-8EC4-6EAB65C2FF1C}" srcOrd="0" destOrd="0" presId="urn:microsoft.com/office/officeart/2005/8/layout/process5"/>
    <dgm:cxn modelId="{27F5A3DE-3364-4988-A02D-2067AE4C151E}" type="presOf" srcId="{2283EC59-DCB1-4871-B73F-3662475554E8}" destId="{2DE6B191-F15C-4E42-A883-2D97D0AFF09F}" srcOrd="1" destOrd="0" presId="urn:microsoft.com/office/officeart/2005/8/layout/process5"/>
    <dgm:cxn modelId="{A9C256E6-9F8F-44EB-BB29-C9A89DE1078D}" type="presOf" srcId="{73BB8396-8C2A-4A06-8F2F-46A5FAAF4D4E}" destId="{F838F4A0-E84C-433C-8DB8-4832537345A3}" srcOrd="0" destOrd="0" presId="urn:microsoft.com/office/officeart/2005/8/layout/process5"/>
    <dgm:cxn modelId="{09E04CED-A87D-4783-8440-42A054CCD674}" type="presOf" srcId="{73BB8396-8C2A-4A06-8F2F-46A5FAAF4D4E}" destId="{B0F52ED5-E972-42E1-AA6D-80B61593567E}" srcOrd="1" destOrd="0" presId="urn:microsoft.com/office/officeart/2005/8/layout/process5"/>
    <dgm:cxn modelId="{888638B5-431D-4361-9BE7-EA541C439A35}" type="presParOf" srcId="{7D0C889B-5249-438C-BC9B-2C476521AE10}" destId="{C6E28224-E15C-4D1F-B2C0-F33C74DE4695}" srcOrd="0" destOrd="0" presId="urn:microsoft.com/office/officeart/2005/8/layout/process5"/>
    <dgm:cxn modelId="{65A5630E-B622-4A78-A6B2-B0BF34CC14C1}" type="presParOf" srcId="{7D0C889B-5249-438C-BC9B-2C476521AE10}" destId="{940471B9-744B-4D9B-A499-A763A7DF19C0}" srcOrd="1" destOrd="0" presId="urn:microsoft.com/office/officeart/2005/8/layout/process5"/>
    <dgm:cxn modelId="{AFC59BC5-C981-4530-B9A6-E46D9D849121}" type="presParOf" srcId="{940471B9-744B-4D9B-A499-A763A7DF19C0}" destId="{19CE0BA4-2485-4F1F-BFF7-56A8CC02EF3A}" srcOrd="0" destOrd="0" presId="urn:microsoft.com/office/officeart/2005/8/layout/process5"/>
    <dgm:cxn modelId="{78CB1B72-E33A-438F-BC40-C2894ED0179A}" type="presParOf" srcId="{7D0C889B-5249-438C-BC9B-2C476521AE10}" destId="{7C2E10AC-59E7-4CD2-9387-A79414701974}" srcOrd="2" destOrd="0" presId="urn:microsoft.com/office/officeart/2005/8/layout/process5"/>
    <dgm:cxn modelId="{178D7510-F65E-4617-A6EE-F2910844AAD0}" type="presParOf" srcId="{7D0C889B-5249-438C-BC9B-2C476521AE10}" destId="{F838F4A0-E84C-433C-8DB8-4832537345A3}" srcOrd="3" destOrd="0" presId="urn:microsoft.com/office/officeart/2005/8/layout/process5"/>
    <dgm:cxn modelId="{FA6E3B31-7077-45B1-AEED-05034A6DFA80}" type="presParOf" srcId="{F838F4A0-E84C-433C-8DB8-4832537345A3}" destId="{B0F52ED5-E972-42E1-AA6D-80B61593567E}" srcOrd="0" destOrd="0" presId="urn:microsoft.com/office/officeart/2005/8/layout/process5"/>
    <dgm:cxn modelId="{B6425FC2-90F9-4FE5-A1D0-A565D0869312}" type="presParOf" srcId="{7D0C889B-5249-438C-BC9B-2C476521AE10}" destId="{B8517952-6C83-4CCC-8EC4-6EAB65C2FF1C}" srcOrd="4" destOrd="0" presId="urn:microsoft.com/office/officeart/2005/8/layout/process5"/>
    <dgm:cxn modelId="{2D244CCE-53EF-42BF-97AA-21F3C439537C}" type="presParOf" srcId="{7D0C889B-5249-438C-BC9B-2C476521AE10}" destId="{8F721480-5647-4B1F-9333-2CB93EF5DE18}" srcOrd="5" destOrd="0" presId="urn:microsoft.com/office/officeart/2005/8/layout/process5"/>
    <dgm:cxn modelId="{A0495549-8B32-4C32-91C6-BF49D09C3BD3}" type="presParOf" srcId="{8F721480-5647-4B1F-9333-2CB93EF5DE18}" destId="{0BB76A35-4280-4ED0-AB3F-69FD87C2BFE1}" srcOrd="0" destOrd="0" presId="urn:microsoft.com/office/officeart/2005/8/layout/process5"/>
    <dgm:cxn modelId="{A900C3AF-AF8F-4554-A30D-A8C5A036017F}" type="presParOf" srcId="{7D0C889B-5249-438C-BC9B-2C476521AE10}" destId="{2C38D92E-C86A-4C42-A8BF-5157757EBEEA}" srcOrd="6" destOrd="0" presId="urn:microsoft.com/office/officeart/2005/8/layout/process5"/>
    <dgm:cxn modelId="{AADFD161-ADB2-4466-B734-B7CE0EC92B47}" type="presParOf" srcId="{7D0C889B-5249-438C-BC9B-2C476521AE10}" destId="{9228D13A-DF69-4910-99BD-6983DEB0B6FE}" srcOrd="7" destOrd="0" presId="urn:microsoft.com/office/officeart/2005/8/layout/process5"/>
    <dgm:cxn modelId="{633E2726-5345-4F7E-8779-0EB5FCF71608}" type="presParOf" srcId="{9228D13A-DF69-4910-99BD-6983DEB0B6FE}" destId="{2DE6B191-F15C-4E42-A883-2D97D0AFF09F}" srcOrd="0" destOrd="0" presId="urn:microsoft.com/office/officeart/2005/8/layout/process5"/>
    <dgm:cxn modelId="{7F90A93B-0994-4ED7-9A01-84DB526579B6}" type="presParOf" srcId="{7D0C889B-5249-438C-BC9B-2C476521AE10}" destId="{60E64AD6-BD96-4696-9E4A-3DADEE55E866}" srcOrd="8" destOrd="0" presId="urn:microsoft.com/office/officeart/2005/8/layout/process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0CF98C0-4086-4D09-9124-0EC5FEBC7C68}" type="doc">
      <dgm:prSet loTypeId="urn:microsoft.com/office/officeart/2005/8/layout/default" loCatId="list" qsTypeId="urn:microsoft.com/office/officeart/2005/8/quickstyle/simple5" qsCatId="simple" csTypeId="urn:microsoft.com/office/officeart/2005/8/colors/accent6_2" csCatId="accent6" phldr="1"/>
      <dgm:spPr/>
      <dgm:t>
        <a:bodyPr/>
        <a:lstStyle/>
        <a:p>
          <a:endParaRPr lang="en-US"/>
        </a:p>
      </dgm:t>
    </dgm:pt>
    <dgm:pt modelId="{E253C436-CECC-4D48-95BD-4FD441455A1C}">
      <dgm:prSet phldrT="[Text]"/>
      <dgm:spPr/>
      <dgm:t>
        <a:bodyPr/>
        <a:lstStyle/>
        <a:p>
          <a:r>
            <a:rPr lang="en-US" dirty="0"/>
            <a:t>Nodes validate the blocks and add it to their own copy of the blockchain</a:t>
          </a:r>
        </a:p>
      </dgm:t>
    </dgm:pt>
    <dgm:pt modelId="{057793C6-D9BA-4ED2-B4B4-7A7C83B3A5DE}" type="parTrans" cxnId="{A3F2FDF8-8FF2-4CC9-9FFD-17E225111CEC}">
      <dgm:prSet/>
      <dgm:spPr/>
      <dgm:t>
        <a:bodyPr/>
        <a:lstStyle/>
        <a:p>
          <a:endParaRPr lang="en-US"/>
        </a:p>
      </dgm:t>
    </dgm:pt>
    <dgm:pt modelId="{BD5DF6FA-A807-49CB-9B12-46CD6DC1F4BB}" type="sibTrans" cxnId="{A3F2FDF8-8FF2-4CC9-9FFD-17E225111CEC}">
      <dgm:prSet/>
      <dgm:spPr/>
      <dgm:t>
        <a:bodyPr/>
        <a:lstStyle/>
        <a:p>
          <a:endParaRPr lang="en-US"/>
        </a:p>
      </dgm:t>
    </dgm:pt>
    <dgm:pt modelId="{42785C0F-BAE6-43CA-8A0C-E81355E88154}" type="pres">
      <dgm:prSet presAssocID="{F0CF98C0-4086-4D09-9124-0EC5FEBC7C68}" presName="diagram" presStyleCnt="0">
        <dgm:presLayoutVars>
          <dgm:dir/>
          <dgm:resizeHandles val="exact"/>
        </dgm:presLayoutVars>
      </dgm:prSet>
      <dgm:spPr/>
    </dgm:pt>
    <dgm:pt modelId="{8B239B43-5277-4B55-9634-9E76CFD5F86F}" type="pres">
      <dgm:prSet presAssocID="{E253C436-CECC-4D48-95BD-4FD441455A1C}" presName="node" presStyleLbl="node1" presStyleIdx="0" presStyleCnt="1" custScaleY="154788" custLinFactNeighborX="49" custLinFactNeighborY="507">
        <dgm:presLayoutVars>
          <dgm:bulletEnabled val="1"/>
        </dgm:presLayoutVars>
      </dgm:prSet>
      <dgm:spPr/>
    </dgm:pt>
  </dgm:ptLst>
  <dgm:cxnLst>
    <dgm:cxn modelId="{0F1A1E34-0919-46E5-A9E3-003ED663FECC}" type="presOf" srcId="{F0CF98C0-4086-4D09-9124-0EC5FEBC7C68}" destId="{42785C0F-BAE6-43CA-8A0C-E81355E88154}" srcOrd="0" destOrd="0" presId="urn:microsoft.com/office/officeart/2005/8/layout/default"/>
    <dgm:cxn modelId="{B0B68766-A253-4CD9-826A-C4A2C5CC5667}" type="presOf" srcId="{E253C436-CECC-4D48-95BD-4FD441455A1C}" destId="{8B239B43-5277-4B55-9634-9E76CFD5F86F}" srcOrd="0" destOrd="0" presId="urn:microsoft.com/office/officeart/2005/8/layout/default"/>
    <dgm:cxn modelId="{A3F2FDF8-8FF2-4CC9-9FFD-17E225111CEC}" srcId="{F0CF98C0-4086-4D09-9124-0EC5FEBC7C68}" destId="{E253C436-CECC-4D48-95BD-4FD441455A1C}" srcOrd="0" destOrd="0" parTransId="{057793C6-D9BA-4ED2-B4B4-7A7C83B3A5DE}" sibTransId="{BD5DF6FA-A807-49CB-9B12-46CD6DC1F4BB}"/>
    <dgm:cxn modelId="{6ACF9629-0FAC-4490-B043-17943FC225E7}" type="presParOf" srcId="{42785C0F-BAE6-43CA-8A0C-E81355E88154}" destId="{8B239B43-5277-4B55-9634-9E76CFD5F86F}" srcOrd="0" destOrd="0" presId="urn:microsoft.com/office/officeart/2005/8/layout/defaul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1C16233-3E75-4DBC-8DF7-9D3C94E959DB}" type="doc">
      <dgm:prSet loTypeId="urn:microsoft.com/office/officeart/2005/8/layout/process1" loCatId="process" qsTypeId="urn:microsoft.com/office/officeart/2005/8/quickstyle/simple4" qsCatId="simple" csTypeId="urn:microsoft.com/office/officeart/2005/8/colors/accent6_2" csCatId="accent6" phldr="1"/>
      <dgm:spPr/>
      <dgm:t>
        <a:bodyPr/>
        <a:lstStyle/>
        <a:p>
          <a:endParaRPr lang="en-US"/>
        </a:p>
      </dgm:t>
    </dgm:pt>
    <dgm:pt modelId="{D99FAEA6-98BF-4B8B-9DB6-208CF4C4FF83}">
      <dgm:prSet phldrT="[Text]"/>
      <dgm:spPr/>
      <dgm:t>
        <a:bodyPr/>
        <a:lstStyle/>
        <a:p>
          <a:r>
            <a:rPr lang="en-US" dirty="0"/>
            <a:t>Block 0</a:t>
          </a:r>
        </a:p>
      </dgm:t>
    </dgm:pt>
    <dgm:pt modelId="{FAAC7EA5-8004-43FD-B695-8B3A01E89221}" type="parTrans" cxnId="{A5729215-7EF4-473D-9FD1-A77F4AC6A6B9}">
      <dgm:prSet/>
      <dgm:spPr/>
      <dgm:t>
        <a:bodyPr/>
        <a:lstStyle/>
        <a:p>
          <a:endParaRPr lang="en-US"/>
        </a:p>
      </dgm:t>
    </dgm:pt>
    <dgm:pt modelId="{FA3E4FA8-A84C-402E-8A18-E0937105A699}" type="sibTrans" cxnId="{A5729215-7EF4-473D-9FD1-A77F4AC6A6B9}">
      <dgm:prSet/>
      <dgm:spPr/>
      <dgm:t>
        <a:bodyPr/>
        <a:lstStyle/>
        <a:p>
          <a:endParaRPr lang="en-US"/>
        </a:p>
      </dgm:t>
    </dgm:pt>
    <dgm:pt modelId="{BCB7F7A7-F4B0-49D6-9AFC-147E9F754594}">
      <dgm:prSet phldrT="[Text]"/>
      <dgm:spPr/>
      <dgm:t>
        <a:bodyPr/>
        <a:lstStyle/>
        <a:p>
          <a:r>
            <a:rPr lang="en-US" dirty="0"/>
            <a:t>Block 1</a:t>
          </a:r>
        </a:p>
        <a:p>
          <a:br>
            <a:rPr lang="en-US" dirty="0"/>
          </a:br>
          <a:r>
            <a:rPr lang="en-US" dirty="0"/>
            <a:t>Hash of Block 0</a:t>
          </a:r>
        </a:p>
      </dgm:t>
    </dgm:pt>
    <dgm:pt modelId="{F1095209-E33C-49E9-8AAD-C887B98E0CDF}" type="parTrans" cxnId="{9B79FE99-2330-45E6-BE1B-1842809AD565}">
      <dgm:prSet/>
      <dgm:spPr/>
      <dgm:t>
        <a:bodyPr/>
        <a:lstStyle/>
        <a:p>
          <a:endParaRPr lang="en-US"/>
        </a:p>
      </dgm:t>
    </dgm:pt>
    <dgm:pt modelId="{086E5539-315C-44E7-AC7E-14384456ED37}" type="sibTrans" cxnId="{9B79FE99-2330-45E6-BE1B-1842809AD565}">
      <dgm:prSet/>
      <dgm:spPr/>
      <dgm:t>
        <a:bodyPr/>
        <a:lstStyle/>
        <a:p>
          <a:endParaRPr lang="en-US"/>
        </a:p>
      </dgm:t>
    </dgm:pt>
    <dgm:pt modelId="{2F3B696C-1BF6-4376-97EC-430BEBC8F914}">
      <dgm:prSet phldrT="[Text]"/>
      <dgm:spPr/>
      <dgm:t>
        <a:bodyPr/>
        <a:lstStyle/>
        <a:p>
          <a:r>
            <a:rPr lang="en-US" dirty="0"/>
            <a:t>Block N</a:t>
          </a:r>
        </a:p>
        <a:p>
          <a:br>
            <a:rPr lang="en-US" dirty="0"/>
          </a:br>
          <a:r>
            <a:rPr lang="en-US" dirty="0"/>
            <a:t>Hash of Block N-1</a:t>
          </a:r>
        </a:p>
      </dgm:t>
    </dgm:pt>
    <dgm:pt modelId="{A6D7DFF9-3F4D-4C11-8CDE-2ACD8E506E4B}" type="parTrans" cxnId="{29A212C2-29FA-4A21-B53F-6276C9C3847F}">
      <dgm:prSet/>
      <dgm:spPr/>
      <dgm:t>
        <a:bodyPr/>
        <a:lstStyle/>
        <a:p>
          <a:endParaRPr lang="en-US"/>
        </a:p>
      </dgm:t>
    </dgm:pt>
    <dgm:pt modelId="{39E175A3-CC7C-44D1-807C-FDD4A6BDD735}" type="sibTrans" cxnId="{29A212C2-29FA-4A21-B53F-6276C9C3847F}">
      <dgm:prSet/>
      <dgm:spPr/>
      <dgm:t>
        <a:bodyPr/>
        <a:lstStyle/>
        <a:p>
          <a:endParaRPr lang="en-US"/>
        </a:p>
      </dgm:t>
    </dgm:pt>
    <dgm:pt modelId="{CACB9B08-4672-4E1F-98B3-322CCFB7C530}">
      <dgm:prSet phldrT="[Text]"/>
      <dgm:spPr/>
      <dgm:t>
        <a:bodyPr/>
        <a:lstStyle/>
        <a:p>
          <a:r>
            <a:rPr lang="en-US" dirty="0"/>
            <a:t>Block 2</a:t>
          </a:r>
        </a:p>
        <a:p>
          <a:br>
            <a:rPr lang="en-US" dirty="0"/>
          </a:br>
          <a:r>
            <a:rPr lang="en-US" dirty="0"/>
            <a:t>Hash of Block 1</a:t>
          </a:r>
        </a:p>
      </dgm:t>
    </dgm:pt>
    <dgm:pt modelId="{E37E589E-49A8-45F6-9FD1-772D1E018D2E}" type="sibTrans" cxnId="{AC3A983C-2731-4680-8AC8-8D62C79D8EDB}">
      <dgm:prSet/>
      <dgm:spPr/>
      <dgm:t>
        <a:bodyPr/>
        <a:lstStyle/>
        <a:p>
          <a:endParaRPr lang="en-US"/>
        </a:p>
      </dgm:t>
    </dgm:pt>
    <dgm:pt modelId="{8789E8DA-9807-4FAF-982E-6C024C4BDE2D}" type="parTrans" cxnId="{AC3A983C-2731-4680-8AC8-8D62C79D8EDB}">
      <dgm:prSet/>
      <dgm:spPr/>
      <dgm:t>
        <a:bodyPr/>
        <a:lstStyle/>
        <a:p>
          <a:endParaRPr lang="en-US"/>
        </a:p>
      </dgm:t>
    </dgm:pt>
    <dgm:pt modelId="{2ECA7678-798B-4C50-A831-4DB65D0E944D}" type="pres">
      <dgm:prSet presAssocID="{F1C16233-3E75-4DBC-8DF7-9D3C94E959DB}" presName="Name0" presStyleCnt="0">
        <dgm:presLayoutVars>
          <dgm:dir/>
          <dgm:resizeHandles val="exact"/>
        </dgm:presLayoutVars>
      </dgm:prSet>
      <dgm:spPr/>
    </dgm:pt>
    <dgm:pt modelId="{15A679C0-1A87-4134-83D3-6F41AC981510}" type="pres">
      <dgm:prSet presAssocID="{D99FAEA6-98BF-4B8B-9DB6-208CF4C4FF83}" presName="node" presStyleLbl="node1" presStyleIdx="0" presStyleCnt="4">
        <dgm:presLayoutVars>
          <dgm:bulletEnabled val="1"/>
        </dgm:presLayoutVars>
      </dgm:prSet>
      <dgm:spPr/>
    </dgm:pt>
    <dgm:pt modelId="{04AECB6C-9ABE-4F48-8DC1-066E41FA5FCD}" type="pres">
      <dgm:prSet presAssocID="{FA3E4FA8-A84C-402E-8A18-E0937105A699}" presName="sibTrans" presStyleLbl="sibTrans2D1" presStyleIdx="0" presStyleCnt="3" custAng="10800000"/>
      <dgm:spPr/>
    </dgm:pt>
    <dgm:pt modelId="{838483C8-1D6D-4F8F-9FF2-ECEF34A0A1B5}" type="pres">
      <dgm:prSet presAssocID="{FA3E4FA8-A84C-402E-8A18-E0937105A699}" presName="connectorText" presStyleLbl="sibTrans2D1" presStyleIdx="0" presStyleCnt="3"/>
      <dgm:spPr/>
    </dgm:pt>
    <dgm:pt modelId="{49BDD032-7994-4F9D-A008-5C3B4233DF82}" type="pres">
      <dgm:prSet presAssocID="{BCB7F7A7-F4B0-49D6-9AFC-147E9F754594}" presName="node" presStyleLbl="node1" presStyleIdx="1" presStyleCnt="4">
        <dgm:presLayoutVars>
          <dgm:bulletEnabled val="1"/>
        </dgm:presLayoutVars>
      </dgm:prSet>
      <dgm:spPr/>
    </dgm:pt>
    <dgm:pt modelId="{81BE2AFD-FAB6-47D3-B7F7-F840B4222879}" type="pres">
      <dgm:prSet presAssocID="{086E5539-315C-44E7-AC7E-14384456ED37}" presName="sibTrans" presStyleLbl="sibTrans2D1" presStyleIdx="1" presStyleCnt="3" custAng="10800000"/>
      <dgm:spPr/>
    </dgm:pt>
    <dgm:pt modelId="{CFDF5CEF-57AA-4CDD-83BC-7AE3FB461E78}" type="pres">
      <dgm:prSet presAssocID="{086E5539-315C-44E7-AC7E-14384456ED37}" presName="connectorText" presStyleLbl="sibTrans2D1" presStyleIdx="1" presStyleCnt="3"/>
      <dgm:spPr/>
    </dgm:pt>
    <dgm:pt modelId="{1492DB1B-1F70-419A-9240-3F0DDBE95D5F}" type="pres">
      <dgm:prSet presAssocID="{CACB9B08-4672-4E1F-98B3-322CCFB7C530}" presName="node" presStyleLbl="node1" presStyleIdx="2" presStyleCnt="4">
        <dgm:presLayoutVars>
          <dgm:bulletEnabled val="1"/>
        </dgm:presLayoutVars>
      </dgm:prSet>
      <dgm:spPr/>
    </dgm:pt>
    <dgm:pt modelId="{F84B0E7C-CC02-4D8E-A13E-3C6F8E799E31}" type="pres">
      <dgm:prSet presAssocID="{E37E589E-49A8-45F6-9FD1-772D1E018D2E}" presName="sibTrans" presStyleLbl="sibTrans2D1" presStyleIdx="2" presStyleCnt="3" custAng="10800000"/>
      <dgm:spPr/>
    </dgm:pt>
    <dgm:pt modelId="{C88377E8-795C-4D77-B709-3E24D7B8B2BE}" type="pres">
      <dgm:prSet presAssocID="{E37E589E-49A8-45F6-9FD1-772D1E018D2E}" presName="connectorText" presStyleLbl="sibTrans2D1" presStyleIdx="2" presStyleCnt="3"/>
      <dgm:spPr/>
    </dgm:pt>
    <dgm:pt modelId="{F9F4735B-F27E-4D9E-A1B7-959823A4C748}" type="pres">
      <dgm:prSet presAssocID="{2F3B696C-1BF6-4376-97EC-430BEBC8F914}" presName="node" presStyleLbl="node1" presStyleIdx="3" presStyleCnt="4">
        <dgm:presLayoutVars>
          <dgm:bulletEnabled val="1"/>
        </dgm:presLayoutVars>
      </dgm:prSet>
      <dgm:spPr/>
    </dgm:pt>
  </dgm:ptLst>
  <dgm:cxnLst>
    <dgm:cxn modelId="{E8239604-7887-4809-B634-A1C1FE08B012}" type="presOf" srcId="{CACB9B08-4672-4E1F-98B3-322CCFB7C530}" destId="{1492DB1B-1F70-419A-9240-3F0DDBE95D5F}" srcOrd="0" destOrd="0" presId="urn:microsoft.com/office/officeart/2005/8/layout/process1"/>
    <dgm:cxn modelId="{A5729215-7EF4-473D-9FD1-A77F4AC6A6B9}" srcId="{F1C16233-3E75-4DBC-8DF7-9D3C94E959DB}" destId="{D99FAEA6-98BF-4B8B-9DB6-208CF4C4FF83}" srcOrd="0" destOrd="0" parTransId="{FAAC7EA5-8004-43FD-B695-8B3A01E89221}" sibTransId="{FA3E4FA8-A84C-402E-8A18-E0937105A699}"/>
    <dgm:cxn modelId="{C5A45421-2D10-4948-A51C-AF63EB026CDF}" type="presOf" srcId="{E37E589E-49A8-45F6-9FD1-772D1E018D2E}" destId="{F84B0E7C-CC02-4D8E-A13E-3C6F8E799E31}" srcOrd="0" destOrd="0" presId="urn:microsoft.com/office/officeart/2005/8/layout/process1"/>
    <dgm:cxn modelId="{AC3A983C-2731-4680-8AC8-8D62C79D8EDB}" srcId="{F1C16233-3E75-4DBC-8DF7-9D3C94E959DB}" destId="{CACB9B08-4672-4E1F-98B3-322CCFB7C530}" srcOrd="2" destOrd="0" parTransId="{8789E8DA-9807-4FAF-982E-6C024C4BDE2D}" sibTransId="{E37E589E-49A8-45F6-9FD1-772D1E018D2E}"/>
    <dgm:cxn modelId="{49DE1665-6741-43FE-9554-B956952046D9}" type="presOf" srcId="{BCB7F7A7-F4B0-49D6-9AFC-147E9F754594}" destId="{49BDD032-7994-4F9D-A008-5C3B4233DF82}" srcOrd="0" destOrd="0" presId="urn:microsoft.com/office/officeart/2005/8/layout/process1"/>
    <dgm:cxn modelId="{52893471-FFF4-44BC-B53D-E77E8EF2198F}" type="presOf" srcId="{FA3E4FA8-A84C-402E-8A18-E0937105A699}" destId="{838483C8-1D6D-4F8F-9FF2-ECEF34A0A1B5}" srcOrd="1" destOrd="0" presId="urn:microsoft.com/office/officeart/2005/8/layout/process1"/>
    <dgm:cxn modelId="{4354918D-C9FC-456B-A86A-5EC152168371}" type="presOf" srcId="{FA3E4FA8-A84C-402E-8A18-E0937105A699}" destId="{04AECB6C-9ABE-4F48-8DC1-066E41FA5FCD}" srcOrd="0" destOrd="0" presId="urn:microsoft.com/office/officeart/2005/8/layout/process1"/>
    <dgm:cxn modelId="{B3B7C496-249A-4066-96A4-89698F535D64}" type="presOf" srcId="{086E5539-315C-44E7-AC7E-14384456ED37}" destId="{CFDF5CEF-57AA-4CDD-83BC-7AE3FB461E78}" srcOrd="1" destOrd="0" presId="urn:microsoft.com/office/officeart/2005/8/layout/process1"/>
    <dgm:cxn modelId="{9B79FE99-2330-45E6-BE1B-1842809AD565}" srcId="{F1C16233-3E75-4DBC-8DF7-9D3C94E959DB}" destId="{BCB7F7A7-F4B0-49D6-9AFC-147E9F754594}" srcOrd="1" destOrd="0" parTransId="{F1095209-E33C-49E9-8AAD-C887B98E0CDF}" sibTransId="{086E5539-315C-44E7-AC7E-14384456ED37}"/>
    <dgm:cxn modelId="{9BEB15A3-49BD-442E-9914-7E98B761A1DD}" type="presOf" srcId="{2F3B696C-1BF6-4376-97EC-430BEBC8F914}" destId="{F9F4735B-F27E-4D9E-A1B7-959823A4C748}" srcOrd="0" destOrd="0" presId="urn:microsoft.com/office/officeart/2005/8/layout/process1"/>
    <dgm:cxn modelId="{B6A210AB-5A83-4A46-9090-ABE7A88317F9}" type="presOf" srcId="{E37E589E-49A8-45F6-9FD1-772D1E018D2E}" destId="{C88377E8-795C-4D77-B709-3E24D7B8B2BE}" srcOrd="1" destOrd="0" presId="urn:microsoft.com/office/officeart/2005/8/layout/process1"/>
    <dgm:cxn modelId="{5EC217AE-281C-4A03-BD7A-30E02FF8964B}" type="presOf" srcId="{086E5539-315C-44E7-AC7E-14384456ED37}" destId="{81BE2AFD-FAB6-47D3-B7F7-F840B4222879}" srcOrd="0" destOrd="0" presId="urn:microsoft.com/office/officeart/2005/8/layout/process1"/>
    <dgm:cxn modelId="{29A212C2-29FA-4A21-B53F-6276C9C3847F}" srcId="{F1C16233-3E75-4DBC-8DF7-9D3C94E959DB}" destId="{2F3B696C-1BF6-4376-97EC-430BEBC8F914}" srcOrd="3" destOrd="0" parTransId="{A6D7DFF9-3F4D-4C11-8CDE-2ACD8E506E4B}" sibTransId="{39E175A3-CC7C-44D1-807C-FDD4A6BDD735}"/>
    <dgm:cxn modelId="{F1BAF8E1-24E2-41C4-BF60-9006A948B186}" type="presOf" srcId="{D99FAEA6-98BF-4B8B-9DB6-208CF4C4FF83}" destId="{15A679C0-1A87-4134-83D3-6F41AC981510}" srcOrd="0" destOrd="0" presId="urn:microsoft.com/office/officeart/2005/8/layout/process1"/>
    <dgm:cxn modelId="{D2B145E6-2901-4D7D-B60D-2FA33F118AB1}" type="presOf" srcId="{F1C16233-3E75-4DBC-8DF7-9D3C94E959DB}" destId="{2ECA7678-798B-4C50-A831-4DB65D0E944D}" srcOrd="0" destOrd="0" presId="urn:microsoft.com/office/officeart/2005/8/layout/process1"/>
    <dgm:cxn modelId="{1B20DB6B-E5EA-4C9C-B773-6F175127B7E5}" type="presParOf" srcId="{2ECA7678-798B-4C50-A831-4DB65D0E944D}" destId="{15A679C0-1A87-4134-83D3-6F41AC981510}" srcOrd="0" destOrd="0" presId="urn:microsoft.com/office/officeart/2005/8/layout/process1"/>
    <dgm:cxn modelId="{B026B9C7-ABE4-4A26-B96A-A7B77913E99A}" type="presParOf" srcId="{2ECA7678-798B-4C50-A831-4DB65D0E944D}" destId="{04AECB6C-9ABE-4F48-8DC1-066E41FA5FCD}" srcOrd="1" destOrd="0" presId="urn:microsoft.com/office/officeart/2005/8/layout/process1"/>
    <dgm:cxn modelId="{C427FF26-E922-4384-88F5-8C09BDCBFDEE}" type="presParOf" srcId="{04AECB6C-9ABE-4F48-8DC1-066E41FA5FCD}" destId="{838483C8-1D6D-4F8F-9FF2-ECEF34A0A1B5}" srcOrd="0" destOrd="0" presId="urn:microsoft.com/office/officeart/2005/8/layout/process1"/>
    <dgm:cxn modelId="{93A57E15-D13D-4D28-ADFB-2F8386765680}" type="presParOf" srcId="{2ECA7678-798B-4C50-A831-4DB65D0E944D}" destId="{49BDD032-7994-4F9D-A008-5C3B4233DF82}" srcOrd="2" destOrd="0" presId="urn:microsoft.com/office/officeart/2005/8/layout/process1"/>
    <dgm:cxn modelId="{695B1092-FCAA-4851-AE43-74232D91B1B2}" type="presParOf" srcId="{2ECA7678-798B-4C50-A831-4DB65D0E944D}" destId="{81BE2AFD-FAB6-47D3-B7F7-F840B4222879}" srcOrd="3" destOrd="0" presId="urn:microsoft.com/office/officeart/2005/8/layout/process1"/>
    <dgm:cxn modelId="{FFD8C9AA-796F-44E6-95C0-01B247501130}" type="presParOf" srcId="{81BE2AFD-FAB6-47D3-B7F7-F840B4222879}" destId="{CFDF5CEF-57AA-4CDD-83BC-7AE3FB461E78}" srcOrd="0" destOrd="0" presId="urn:microsoft.com/office/officeart/2005/8/layout/process1"/>
    <dgm:cxn modelId="{5E831F79-D848-4438-A983-473A09B3C58F}" type="presParOf" srcId="{2ECA7678-798B-4C50-A831-4DB65D0E944D}" destId="{1492DB1B-1F70-419A-9240-3F0DDBE95D5F}" srcOrd="4" destOrd="0" presId="urn:microsoft.com/office/officeart/2005/8/layout/process1"/>
    <dgm:cxn modelId="{757D3D76-1585-431D-9B76-46420689D8F1}" type="presParOf" srcId="{2ECA7678-798B-4C50-A831-4DB65D0E944D}" destId="{F84B0E7C-CC02-4D8E-A13E-3C6F8E799E31}" srcOrd="5" destOrd="0" presId="urn:microsoft.com/office/officeart/2005/8/layout/process1"/>
    <dgm:cxn modelId="{F1243CBD-2D66-47E8-9FA3-52FB82D632E2}" type="presParOf" srcId="{F84B0E7C-CC02-4D8E-A13E-3C6F8E799E31}" destId="{C88377E8-795C-4D77-B709-3E24D7B8B2BE}" srcOrd="0" destOrd="0" presId="urn:microsoft.com/office/officeart/2005/8/layout/process1"/>
    <dgm:cxn modelId="{671B7903-1937-4965-8E92-C6962514DC30}" type="presParOf" srcId="{2ECA7678-798B-4C50-A831-4DB65D0E944D}" destId="{F9F4735B-F27E-4D9E-A1B7-959823A4C748}"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10836-BD34-4AAB-9F1C-AF427A2F9A33}">
      <dsp:nvSpPr>
        <dsp:cNvPr id="0" name=""/>
        <dsp:cNvSpPr/>
      </dsp:nvSpPr>
      <dsp:spPr>
        <a:xfrm>
          <a:off x="1397342" y="846"/>
          <a:ext cx="1811096" cy="1655881"/>
        </a:xfrm>
        <a:prstGeom prst="roundRect">
          <a:avLst>
            <a:gd name="adj" fmla="val 1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Digital (1950s)</a:t>
          </a:r>
        </a:p>
        <a:p>
          <a:pPr marL="114300" lvl="1" indent="-114300" algn="l" defTabSz="622300">
            <a:lnSpc>
              <a:spcPct val="90000"/>
            </a:lnSpc>
            <a:spcBef>
              <a:spcPct val="0"/>
            </a:spcBef>
            <a:spcAft>
              <a:spcPct val="15000"/>
            </a:spcAft>
            <a:buChar char="•"/>
          </a:pPr>
          <a:r>
            <a:rPr lang="en-US" sz="1400" kern="1200" dirty="0"/>
            <a:t>Computer</a:t>
          </a:r>
        </a:p>
      </dsp:txBody>
      <dsp:txXfrm>
        <a:off x="1445841" y="49345"/>
        <a:ext cx="1714098" cy="1558883"/>
      </dsp:txXfrm>
    </dsp:sp>
    <dsp:sp modelId="{F32B2FA4-0426-445A-817F-41E38985209E}">
      <dsp:nvSpPr>
        <dsp:cNvPr id="0" name=""/>
        <dsp:cNvSpPr/>
      </dsp:nvSpPr>
      <dsp:spPr>
        <a:xfrm>
          <a:off x="3367814" y="604211"/>
          <a:ext cx="383952" cy="449151"/>
        </a:xfrm>
        <a:prstGeom prst="rightArrow">
          <a:avLst>
            <a:gd name="adj1" fmla="val 60000"/>
            <a:gd name="adj2" fmla="val 5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367814" y="694041"/>
        <a:ext cx="268766" cy="269491"/>
      </dsp:txXfrm>
    </dsp:sp>
    <dsp:sp modelId="{8F7036B6-9AE6-46B4-BE47-6D4656A44A11}">
      <dsp:nvSpPr>
        <dsp:cNvPr id="0" name=""/>
        <dsp:cNvSpPr/>
      </dsp:nvSpPr>
      <dsp:spPr>
        <a:xfrm>
          <a:off x="3932876" y="846"/>
          <a:ext cx="1811096" cy="1655881"/>
        </a:xfrm>
        <a:prstGeom prst="roundRect">
          <a:avLst>
            <a:gd name="adj" fmla="val 10000"/>
          </a:avLst>
        </a:prstGeom>
        <a:solidFill>
          <a:schemeClr val="accent5">
            <a:hueOff val="2316126"/>
            <a:satOff val="-2001"/>
            <a:lumOff val="-235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2316126"/>
              <a:satOff val="-2001"/>
              <a:lumOff val="-235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Network (1960s)</a:t>
          </a:r>
        </a:p>
        <a:p>
          <a:pPr marL="114300" lvl="1" indent="-114300" algn="l" defTabSz="622300">
            <a:lnSpc>
              <a:spcPct val="90000"/>
            </a:lnSpc>
            <a:spcBef>
              <a:spcPct val="0"/>
            </a:spcBef>
            <a:spcAft>
              <a:spcPct val="15000"/>
            </a:spcAft>
            <a:buChar char="•"/>
          </a:pPr>
          <a:r>
            <a:rPr lang="en-US" sz="1400" kern="1200" dirty="0"/>
            <a:t>Internet</a:t>
          </a:r>
        </a:p>
      </dsp:txBody>
      <dsp:txXfrm>
        <a:off x="3981375" y="49345"/>
        <a:ext cx="1714098" cy="1558883"/>
      </dsp:txXfrm>
    </dsp:sp>
    <dsp:sp modelId="{6E324268-BA18-42EF-9539-9E8E37847432}">
      <dsp:nvSpPr>
        <dsp:cNvPr id="0" name=""/>
        <dsp:cNvSpPr/>
      </dsp:nvSpPr>
      <dsp:spPr>
        <a:xfrm>
          <a:off x="5903349" y="604211"/>
          <a:ext cx="383952" cy="449151"/>
        </a:xfrm>
        <a:prstGeom prst="rightArrow">
          <a:avLst>
            <a:gd name="adj1" fmla="val 60000"/>
            <a:gd name="adj2" fmla="val 50000"/>
          </a:avLst>
        </a:prstGeom>
        <a:solidFill>
          <a:schemeClr val="accent5">
            <a:hueOff val="2702147"/>
            <a:satOff val="-2334"/>
            <a:lumOff val="-274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2702147"/>
              <a:satOff val="-2334"/>
              <a:lumOff val="-274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903349" y="694041"/>
        <a:ext cx="268766" cy="269491"/>
      </dsp:txXfrm>
    </dsp:sp>
    <dsp:sp modelId="{8B0BB58A-178A-47CD-BB90-BCFF340855A4}">
      <dsp:nvSpPr>
        <dsp:cNvPr id="0" name=""/>
        <dsp:cNvSpPr/>
      </dsp:nvSpPr>
      <dsp:spPr>
        <a:xfrm>
          <a:off x="6468411" y="846"/>
          <a:ext cx="1904476" cy="1655881"/>
        </a:xfrm>
        <a:prstGeom prst="roundRect">
          <a:avLst>
            <a:gd name="adj" fmla="val 10000"/>
          </a:avLst>
        </a:prstGeom>
        <a:solidFill>
          <a:schemeClr val="accent5">
            <a:hueOff val="4632252"/>
            <a:satOff val="-4002"/>
            <a:lumOff val="-470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4632252"/>
              <a:satOff val="-4002"/>
              <a:lumOff val="-470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ommunication (1970s)</a:t>
          </a:r>
        </a:p>
        <a:p>
          <a:pPr marL="114300" lvl="1" indent="-114300" algn="l" defTabSz="622300">
            <a:lnSpc>
              <a:spcPct val="90000"/>
            </a:lnSpc>
            <a:spcBef>
              <a:spcPct val="0"/>
            </a:spcBef>
            <a:spcAft>
              <a:spcPct val="15000"/>
            </a:spcAft>
            <a:buChar char="•"/>
          </a:pPr>
          <a:r>
            <a:rPr lang="en-US" sz="1400" kern="1200" dirty="0"/>
            <a:t>Usenet</a:t>
          </a:r>
        </a:p>
        <a:p>
          <a:pPr marL="114300" lvl="1" indent="-114300" algn="l" defTabSz="622300">
            <a:lnSpc>
              <a:spcPct val="90000"/>
            </a:lnSpc>
            <a:spcBef>
              <a:spcPct val="0"/>
            </a:spcBef>
            <a:spcAft>
              <a:spcPct val="15000"/>
            </a:spcAft>
            <a:buChar char="•"/>
          </a:pPr>
          <a:r>
            <a:rPr lang="en-US" sz="1400" kern="1200"/>
            <a:t>Email</a:t>
          </a:r>
          <a:endParaRPr lang="en-US" sz="1400" kern="1200" dirty="0"/>
        </a:p>
        <a:p>
          <a:pPr marL="114300" lvl="1" indent="-114300" algn="l" defTabSz="622300">
            <a:lnSpc>
              <a:spcPct val="90000"/>
            </a:lnSpc>
            <a:spcBef>
              <a:spcPct val="0"/>
            </a:spcBef>
            <a:spcAft>
              <a:spcPct val="15000"/>
            </a:spcAft>
            <a:buChar char="•"/>
          </a:pPr>
          <a:r>
            <a:rPr lang="en-US" sz="1400" kern="1200" dirty="0"/>
            <a:t>Messaging</a:t>
          </a:r>
        </a:p>
      </dsp:txBody>
      <dsp:txXfrm>
        <a:off x="6516910" y="49345"/>
        <a:ext cx="1807478" cy="1558883"/>
      </dsp:txXfrm>
    </dsp:sp>
    <dsp:sp modelId="{E948FDCB-FB32-4E27-BDAB-8AEF3CD91A00}">
      <dsp:nvSpPr>
        <dsp:cNvPr id="0" name=""/>
        <dsp:cNvSpPr/>
      </dsp:nvSpPr>
      <dsp:spPr>
        <a:xfrm>
          <a:off x="8532264" y="604211"/>
          <a:ext cx="383952" cy="449151"/>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5404294"/>
              <a:satOff val="-4669"/>
              <a:lumOff val="-548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8532264" y="694041"/>
        <a:ext cx="268766" cy="269491"/>
      </dsp:txXfrm>
    </dsp:sp>
    <dsp:sp modelId="{CF9037F3-3295-4425-A306-4E5DBA1BFDC7}">
      <dsp:nvSpPr>
        <dsp:cNvPr id="0" name=""/>
        <dsp:cNvSpPr/>
      </dsp:nvSpPr>
      <dsp:spPr>
        <a:xfrm>
          <a:off x="9097326" y="846"/>
          <a:ext cx="1811096" cy="1655881"/>
        </a:xfrm>
        <a:prstGeom prst="roundRect">
          <a:avLst>
            <a:gd name="adj" fmla="val 10000"/>
          </a:avLst>
        </a:prstGeom>
        <a:solidFill>
          <a:schemeClr val="accent5">
            <a:hueOff val="6948378"/>
            <a:satOff val="-6003"/>
            <a:lumOff val="-705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6948378"/>
              <a:satOff val="-6003"/>
              <a:lumOff val="-705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Web (1990s)</a:t>
          </a:r>
        </a:p>
        <a:p>
          <a:pPr marL="114300" lvl="1" indent="-114300" algn="l" defTabSz="622300">
            <a:lnSpc>
              <a:spcPct val="90000"/>
            </a:lnSpc>
            <a:spcBef>
              <a:spcPct val="0"/>
            </a:spcBef>
            <a:spcAft>
              <a:spcPct val="15000"/>
            </a:spcAft>
            <a:buChar char="•"/>
          </a:pPr>
          <a:r>
            <a:rPr lang="en-US" sz="1400" kern="1200" dirty="0"/>
            <a:t>Information</a:t>
          </a:r>
        </a:p>
        <a:p>
          <a:pPr marL="114300" lvl="1" indent="-114300" algn="l" defTabSz="622300">
            <a:lnSpc>
              <a:spcPct val="90000"/>
            </a:lnSpc>
            <a:spcBef>
              <a:spcPct val="0"/>
            </a:spcBef>
            <a:spcAft>
              <a:spcPct val="15000"/>
            </a:spcAft>
            <a:buChar char="•"/>
          </a:pPr>
          <a:r>
            <a:rPr lang="en-US" sz="1400" kern="1200" dirty="0"/>
            <a:t>Ecommerce</a:t>
          </a:r>
        </a:p>
        <a:p>
          <a:pPr marL="114300" lvl="1" indent="-114300" algn="l" defTabSz="622300">
            <a:lnSpc>
              <a:spcPct val="90000"/>
            </a:lnSpc>
            <a:spcBef>
              <a:spcPct val="0"/>
            </a:spcBef>
            <a:spcAft>
              <a:spcPct val="15000"/>
            </a:spcAft>
            <a:buChar char="•"/>
          </a:pPr>
          <a:r>
            <a:rPr lang="en-US" sz="1400" kern="1200" dirty="0"/>
            <a:t>Enterprise</a:t>
          </a:r>
        </a:p>
      </dsp:txBody>
      <dsp:txXfrm>
        <a:off x="9145825" y="49345"/>
        <a:ext cx="1714098" cy="1558883"/>
      </dsp:txXfrm>
    </dsp:sp>
    <dsp:sp modelId="{CAD0ACEE-5126-4EC2-913C-0B36FC729E11}">
      <dsp:nvSpPr>
        <dsp:cNvPr id="0" name=""/>
        <dsp:cNvSpPr/>
      </dsp:nvSpPr>
      <dsp:spPr>
        <a:xfrm rot="5400000">
          <a:off x="9750574" y="1893909"/>
          <a:ext cx="504600" cy="449151"/>
        </a:xfrm>
        <a:prstGeom prst="rightArrow">
          <a:avLst>
            <a:gd name="adj1" fmla="val 60000"/>
            <a:gd name="adj2" fmla="val 50000"/>
          </a:avLst>
        </a:prstGeom>
        <a:solidFill>
          <a:schemeClr val="accent5">
            <a:hueOff val="8106441"/>
            <a:satOff val="-7003"/>
            <a:lumOff val="-823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8106441"/>
              <a:satOff val="-7003"/>
              <a:lumOff val="-823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rot="-5400000">
        <a:off x="9868129" y="1866185"/>
        <a:ext cx="269491" cy="369855"/>
      </dsp:txXfrm>
    </dsp:sp>
    <dsp:sp modelId="{C3F5AF78-4A62-4964-815B-3004C1518921}">
      <dsp:nvSpPr>
        <dsp:cNvPr id="0" name=""/>
        <dsp:cNvSpPr/>
      </dsp:nvSpPr>
      <dsp:spPr>
        <a:xfrm>
          <a:off x="9097326" y="2608805"/>
          <a:ext cx="1811096" cy="1655881"/>
        </a:xfrm>
        <a:prstGeom prst="roundRect">
          <a:avLst>
            <a:gd name="adj" fmla="val 10000"/>
          </a:avLst>
        </a:prstGeom>
        <a:solidFill>
          <a:schemeClr val="accent5">
            <a:hueOff val="9264504"/>
            <a:satOff val="-8003"/>
            <a:lumOff val="-941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9264504"/>
              <a:satOff val="-8003"/>
              <a:lumOff val="-941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Mobile (2000s)</a:t>
          </a:r>
        </a:p>
        <a:p>
          <a:pPr marL="114300" lvl="1" indent="-114300" algn="l" defTabSz="622300">
            <a:lnSpc>
              <a:spcPct val="90000"/>
            </a:lnSpc>
            <a:spcBef>
              <a:spcPct val="0"/>
            </a:spcBef>
            <a:spcAft>
              <a:spcPct val="15000"/>
            </a:spcAft>
            <a:buChar char="•"/>
          </a:pPr>
          <a:r>
            <a:rPr lang="en-US" sz="1400" kern="1200" dirty="0"/>
            <a:t>Apps</a:t>
          </a:r>
        </a:p>
        <a:p>
          <a:pPr marL="114300" lvl="1" indent="-114300" algn="l" defTabSz="622300">
            <a:lnSpc>
              <a:spcPct val="90000"/>
            </a:lnSpc>
            <a:spcBef>
              <a:spcPct val="0"/>
            </a:spcBef>
            <a:spcAft>
              <a:spcPct val="15000"/>
            </a:spcAft>
            <a:buChar char="•"/>
          </a:pPr>
          <a:r>
            <a:rPr lang="en-US" sz="1400" kern="1200" dirty="0"/>
            <a:t>Maps</a:t>
          </a:r>
        </a:p>
        <a:p>
          <a:pPr marL="114300" lvl="1" indent="-114300" algn="l" defTabSz="622300">
            <a:lnSpc>
              <a:spcPct val="90000"/>
            </a:lnSpc>
            <a:spcBef>
              <a:spcPct val="0"/>
            </a:spcBef>
            <a:spcAft>
              <a:spcPct val="15000"/>
            </a:spcAft>
            <a:buChar char="•"/>
          </a:pPr>
          <a:r>
            <a:rPr lang="en-US" sz="1400" kern="1200" dirty="0"/>
            <a:t>Snaps</a:t>
          </a:r>
        </a:p>
      </dsp:txBody>
      <dsp:txXfrm>
        <a:off x="9145825" y="2657304"/>
        <a:ext cx="1714098" cy="1558883"/>
      </dsp:txXfrm>
    </dsp:sp>
    <dsp:sp modelId="{5E214CC5-234C-4009-B93D-2E7F4C9A5FE6}">
      <dsp:nvSpPr>
        <dsp:cNvPr id="0" name=""/>
        <dsp:cNvSpPr/>
      </dsp:nvSpPr>
      <dsp:spPr>
        <a:xfrm rot="10800000">
          <a:off x="8553997" y="3212170"/>
          <a:ext cx="383952" cy="449151"/>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0808588"/>
              <a:satOff val="-9337"/>
              <a:lumOff val="-1097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8669183" y="3302000"/>
        <a:ext cx="268766" cy="269491"/>
      </dsp:txXfrm>
    </dsp:sp>
    <dsp:sp modelId="{10CE7FA0-0CAF-43D9-AC95-2168C43C59B8}">
      <dsp:nvSpPr>
        <dsp:cNvPr id="0" name=""/>
        <dsp:cNvSpPr/>
      </dsp:nvSpPr>
      <dsp:spPr>
        <a:xfrm>
          <a:off x="6561791" y="2608805"/>
          <a:ext cx="1811096" cy="1655881"/>
        </a:xfrm>
        <a:prstGeom prst="roundRect">
          <a:avLst>
            <a:gd name="adj" fmla="val 10000"/>
          </a:avLst>
        </a:prstGeom>
        <a:solidFill>
          <a:schemeClr val="accent5">
            <a:hueOff val="11580630"/>
            <a:satOff val="-10004"/>
            <a:lumOff val="-1176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1580630"/>
              <a:satOff val="-10004"/>
              <a:lumOff val="-1176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Social (2000s)</a:t>
          </a:r>
        </a:p>
        <a:p>
          <a:pPr marL="114300" lvl="1" indent="-114300" algn="l" defTabSz="622300">
            <a:lnSpc>
              <a:spcPct val="90000"/>
            </a:lnSpc>
            <a:spcBef>
              <a:spcPct val="0"/>
            </a:spcBef>
            <a:spcAft>
              <a:spcPct val="15000"/>
            </a:spcAft>
            <a:buChar char="•"/>
          </a:pPr>
          <a:r>
            <a:rPr lang="en-US" sz="1400" kern="1200" dirty="0"/>
            <a:t>Media</a:t>
          </a:r>
        </a:p>
        <a:p>
          <a:pPr marL="114300" lvl="1" indent="-114300" algn="l" defTabSz="622300">
            <a:lnSpc>
              <a:spcPct val="90000"/>
            </a:lnSpc>
            <a:spcBef>
              <a:spcPct val="0"/>
            </a:spcBef>
            <a:spcAft>
              <a:spcPct val="15000"/>
            </a:spcAft>
            <a:buChar char="•"/>
          </a:pPr>
          <a:r>
            <a:rPr lang="en-US" sz="1400" kern="1200" dirty="0"/>
            <a:t>Networks</a:t>
          </a:r>
        </a:p>
      </dsp:txBody>
      <dsp:txXfrm>
        <a:off x="6610290" y="2657304"/>
        <a:ext cx="1714098" cy="1558883"/>
      </dsp:txXfrm>
    </dsp:sp>
    <dsp:sp modelId="{21B35B76-C753-49B2-B6BD-274665E2289B}">
      <dsp:nvSpPr>
        <dsp:cNvPr id="0" name=""/>
        <dsp:cNvSpPr/>
      </dsp:nvSpPr>
      <dsp:spPr>
        <a:xfrm rot="10800000">
          <a:off x="6018462" y="3212170"/>
          <a:ext cx="383952" cy="449151"/>
        </a:xfrm>
        <a:prstGeom prst="rightArrow">
          <a:avLst>
            <a:gd name="adj1" fmla="val 60000"/>
            <a:gd name="adj2" fmla="val 50000"/>
          </a:avLst>
        </a:prstGeom>
        <a:solidFill>
          <a:schemeClr val="accent5">
            <a:hueOff val="13510735"/>
            <a:satOff val="-11672"/>
            <a:lumOff val="-1372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3510735"/>
              <a:satOff val="-11672"/>
              <a:lumOff val="-1372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6133648" y="3302000"/>
        <a:ext cx="268766" cy="269491"/>
      </dsp:txXfrm>
    </dsp:sp>
    <dsp:sp modelId="{06D6DD59-1338-4DDD-9FBC-6AF8FFA78E27}">
      <dsp:nvSpPr>
        <dsp:cNvPr id="0" name=""/>
        <dsp:cNvSpPr/>
      </dsp:nvSpPr>
      <dsp:spPr>
        <a:xfrm>
          <a:off x="4026256" y="2608805"/>
          <a:ext cx="1811096" cy="1655881"/>
        </a:xfrm>
        <a:prstGeom prst="roundRect">
          <a:avLst>
            <a:gd name="adj" fmla="val 10000"/>
          </a:avLst>
        </a:prstGeom>
        <a:solidFill>
          <a:schemeClr val="accent5">
            <a:hueOff val="13896756"/>
            <a:satOff val="-12005"/>
            <a:lumOff val="-1411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3896756"/>
              <a:satOff val="-12005"/>
              <a:lumOff val="-1411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Data (2010s)</a:t>
          </a:r>
        </a:p>
        <a:p>
          <a:pPr marL="114300" lvl="1" indent="-114300" algn="l" defTabSz="622300">
            <a:lnSpc>
              <a:spcPct val="90000"/>
            </a:lnSpc>
            <a:spcBef>
              <a:spcPct val="0"/>
            </a:spcBef>
            <a:spcAft>
              <a:spcPct val="15000"/>
            </a:spcAft>
            <a:buChar char="•"/>
          </a:pPr>
          <a:r>
            <a:rPr lang="en-US" sz="1400" kern="1200" dirty="0"/>
            <a:t>Analytics</a:t>
          </a:r>
        </a:p>
        <a:p>
          <a:pPr marL="114300" lvl="1" indent="-114300" algn="l" defTabSz="622300">
            <a:lnSpc>
              <a:spcPct val="90000"/>
            </a:lnSpc>
            <a:spcBef>
              <a:spcPct val="0"/>
            </a:spcBef>
            <a:spcAft>
              <a:spcPct val="15000"/>
            </a:spcAft>
            <a:buChar char="•"/>
          </a:pPr>
          <a:r>
            <a:rPr lang="en-US" sz="1400" kern="1200" dirty="0"/>
            <a:t>Machine Learning</a:t>
          </a:r>
        </a:p>
        <a:p>
          <a:pPr marL="114300" lvl="1" indent="-114300" algn="l" defTabSz="622300">
            <a:lnSpc>
              <a:spcPct val="90000"/>
            </a:lnSpc>
            <a:spcBef>
              <a:spcPct val="0"/>
            </a:spcBef>
            <a:spcAft>
              <a:spcPct val="15000"/>
            </a:spcAft>
            <a:buChar char="•"/>
          </a:pPr>
          <a:r>
            <a:rPr lang="en-US" sz="1400" kern="1200" dirty="0"/>
            <a:t>Internet of Things</a:t>
          </a:r>
        </a:p>
        <a:p>
          <a:pPr marL="114300" lvl="1" indent="-114300" algn="l" defTabSz="622300">
            <a:lnSpc>
              <a:spcPct val="90000"/>
            </a:lnSpc>
            <a:spcBef>
              <a:spcPct val="0"/>
            </a:spcBef>
            <a:spcAft>
              <a:spcPct val="15000"/>
            </a:spcAft>
            <a:buChar char="•"/>
          </a:pPr>
          <a:r>
            <a:rPr lang="en-US" sz="1400" kern="1200" dirty="0"/>
            <a:t>Big Data</a:t>
          </a:r>
        </a:p>
      </dsp:txBody>
      <dsp:txXfrm>
        <a:off x="4074755" y="2657304"/>
        <a:ext cx="1714098" cy="1558883"/>
      </dsp:txXfrm>
    </dsp:sp>
    <dsp:sp modelId="{CEB69F7F-1637-4967-9F83-41E1C0C39EF7}">
      <dsp:nvSpPr>
        <dsp:cNvPr id="0" name=""/>
        <dsp:cNvSpPr/>
      </dsp:nvSpPr>
      <dsp:spPr>
        <a:xfrm rot="10800000">
          <a:off x="3482928" y="3212170"/>
          <a:ext cx="383952" cy="449151"/>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598114" y="3302000"/>
        <a:ext cx="268766" cy="269491"/>
      </dsp:txXfrm>
    </dsp:sp>
    <dsp:sp modelId="{5E1F623B-63C3-43F1-B0B3-45ACC740D5C5}">
      <dsp:nvSpPr>
        <dsp:cNvPr id="0" name=""/>
        <dsp:cNvSpPr/>
      </dsp:nvSpPr>
      <dsp:spPr>
        <a:xfrm>
          <a:off x="960777" y="2381166"/>
          <a:ext cx="2341041" cy="2111158"/>
        </a:xfrm>
        <a:prstGeom prst="roundRect">
          <a:avLst>
            <a:gd name="adj" fmla="val 1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rypto (2009 - )</a:t>
          </a:r>
        </a:p>
        <a:p>
          <a:pPr marL="171450" lvl="1" indent="-171450" algn="l" defTabSz="800100">
            <a:lnSpc>
              <a:spcPct val="90000"/>
            </a:lnSpc>
            <a:spcBef>
              <a:spcPct val="0"/>
            </a:spcBef>
            <a:spcAft>
              <a:spcPct val="15000"/>
            </a:spcAft>
            <a:buChar char="•"/>
          </a:pPr>
          <a:r>
            <a:rPr lang="en-US" sz="1800" kern="1200" dirty="0"/>
            <a:t>Bitcoin</a:t>
          </a:r>
        </a:p>
        <a:p>
          <a:pPr marL="171450" lvl="1" indent="-171450" algn="l" defTabSz="800100">
            <a:lnSpc>
              <a:spcPct val="90000"/>
            </a:lnSpc>
            <a:spcBef>
              <a:spcPct val="0"/>
            </a:spcBef>
            <a:spcAft>
              <a:spcPct val="15000"/>
            </a:spcAft>
            <a:buChar char="•"/>
          </a:pPr>
          <a:r>
            <a:rPr lang="en-US" sz="1800" kern="1200" dirty="0"/>
            <a:t>Blockchain</a:t>
          </a:r>
        </a:p>
        <a:p>
          <a:pPr marL="171450" lvl="1" indent="-171450" algn="l" defTabSz="800100">
            <a:lnSpc>
              <a:spcPct val="90000"/>
            </a:lnSpc>
            <a:spcBef>
              <a:spcPct val="0"/>
            </a:spcBef>
            <a:spcAft>
              <a:spcPct val="15000"/>
            </a:spcAft>
            <a:buChar char="•"/>
          </a:pPr>
          <a:r>
            <a:rPr lang="en-US" sz="1800" kern="1200" dirty="0"/>
            <a:t>Smart contracts</a:t>
          </a:r>
        </a:p>
        <a:p>
          <a:pPr marL="171450" lvl="1" indent="-171450" algn="l" defTabSz="800100">
            <a:lnSpc>
              <a:spcPct val="90000"/>
            </a:lnSpc>
            <a:spcBef>
              <a:spcPct val="0"/>
            </a:spcBef>
            <a:spcAft>
              <a:spcPct val="15000"/>
            </a:spcAft>
            <a:buChar char="•"/>
          </a:pPr>
          <a:r>
            <a:rPr lang="en-US" sz="1800" kern="1200" dirty="0"/>
            <a:t>Internet of Money</a:t>
          </a:r>
        </a:p>
        <a:p>
          <a:pPr marL="171450" lvl="1" indent="-171450" algn="l" defTabSz="800100">
            <a:lnSpc>
              <a:spcPct val="90000"/>
            </a:lnSpc>
            <a:spcBef>
              <a:spcPct val="0"/>
            </a:spcBef>
            <a:spcAft>
              <a:spcPct val="15000"/>
            </a:spcAft>
            <a:buChar char="•"/>
          </a:pPr>
          <a:r>
            <a:rPr lang="en-US" sz="1800" kern="1200" dirty="0"/>
            <a:t>Internet of Value</a:t>
          </a:r>
        </a:p>
      </dsp:txBody>
      <dsp:txXfrm>
        <a:off x="1022611" y="2443000"/>
        <a:ext cx="2217373" cy="19874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DDABFE-739B-4C8D-BA35-855356A26080}">
      <dsp:nvSpPr>
        <dsp:cNvPr id="0" name=""/>
        <dsp:cNvSpPr/>
      </dsp:nvSpPr>
      <dsp:spPr>
        <a:xfrm>
          <a:off x="554261" y="3334"/>
          <a:ext cx="2034956" cy="1220973"/>
        </a:xfrm>
        <a:prstGeom prst="roundRect">
          <a:avLst>
            <a:gd name="adj" fmla="val 1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lice sends Bob a transaction</a:t>
          </a:r>
        </a:p>
      </dsp:txBody>
      <dsp:txXfrm>
        <a:off x="590022" y="39095"/>
        <a:ext cx="1963434" cy="1149451"/>
      </dsp:txXfrm>
    </dsp:sp>
    <dsp:sp modelId="{5E55B4E3-84E5-4090-B8E9-E72013610DFA}">
      <dsp:nvSpPr>
        <dsp:cNvPr id="0" name=""/>
        <dsp:cNvSpPr/>
      </dsp:nvSpPr>
      <dsp:spPr>
        <a:xfrm>
          <a:off x="2768294" y="361486"/>
          <a:ext cx="431410" cy="504669"/>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b="1" kern="1200"/>
        </a:p>
      </dsp:txBody>
      <dsp:txXfrm>
        <a:off x="2768294" y="462420"/>
        <a:ext cx="301987" cy="302801"/>
      </dsp:txXfrm>
    </dsp:sp>
    <dsp:sp modelId="{FA444A36-E01E-4DE6-921B-2E58F6AEDD94}">
      <dsp:nvSpPr>
        <dsp:cNvPr id="0" name=""/>
        <dsp:cNvSpPr/>
      </dsp:nvSpPr>
      <dsp:spPr>
        <a:xfrm>
          <a:off x="3403200" y="3334"/>
          <a:ext cx="2034956" cy="1220973"/>
        </a:xfrm>
        <a:prstGeom prst="roundRect">
          <a:avLst>
            <a:gd name="adj" fmla="val 10000"/>
          </a:avLst>
        </a:prstGeom>
        <a:solidFill>
          <a:schemeClr val="accent5">
            <a:hueOff val="1621288"/>
            <a:satOff val="-1401"/>
            <a:lumOff val="-164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Transaction is broadcast through the blockchain network to other nodes</a:t>
          </a:r>
        </a:p>
      </dsp:txBody>
      <dsp:txXfrm>
        <a:off x="3438961" y="39095"/>
        <a:ext cx="1963434" cy="1149451"/>
      </dsp:txXfrm>
    </dsp:sp>
    <dsp:sp modelId="{E560CE92-A98B-4B72-A531-EA4B382A0F89}">
      <dsp:nvSpPr>
        <dsp:cNvPr id="0" name=""/>
        <dsp:cNvSpPr/>
      </dsp:nvSpPr>
      <dsp:spPr>
        <a:xfrm>
          <a:off x="5617232" y="361486"/>
          <a:ext cx="431410" cy="504669"/>
        </a:xfrm>
        <a:prstGeom prst="rightArrow">
          <a:avLst>
            <a:gd name="adj1" fmla="val 60000"/>
            <a:gd name="adj2" fmla="val 50000"/>
          </a:avLst>
        </a:prstGeom>
        <a:solidFill>
          <a:schemeClr val="accent5">
            <a:hueOff val="1801431"/>
            <a:satOff val="-1556"/>
            <a:lumOff val="-183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b="1" kern="1200"/>
        </a:p>
      </dsp:txBody>
      <dsp:txXfrm>
        <a:off x="5617232" y="462420"/>
        <a:ext cx="301987" cy="302801"/>
      </dsp:txXfrm>
    </dsp:sp>
    <dsp:sp modelId="{323F867A-C5BB-49B7-86FE-E5CE6DE2DB84}">
      <dsp:nvSpPr>
        <dsp:cNvPr id="0" name=""/>
        <dsp:cNvSpPr/>
      </dsp:nvSpPr>
      <dsp:spPr>
        <a:xfrm>
          <a:off x="6252139" y="3334"/>
          <a:ext cx="2034956" cy="1220973"/>
        </a:xfrm>
        <a:prstGeom prst="roundRect">
          <a:avLst>
            <a:gd name="adj" fmla="val 10000"/>
          </a:avLst>
        </a:prstGeom>
        <a:solidFill>
          <a:schemeClr val="accent5">
            <a:hueOff val="3242576"/>
            <a:satOff val="-2801"/>
            <a:lumOff val="-329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Nodes validate transactions</a:t>
          </a:r>
        </a:p>
      </dsp:txBody>
      <dsp:txXfrm>
        <a:off x="6287900" y="39095"/>
        <a:ext cx="1963434" cy="1149451"/>
      </dsp:txXfrm>
    </dsp:sp>
    <dsp:sp modelId="{CF732B0F-6C31-4ED9-9271-F7EE42469025}">
      <dsp:nvSpPr>
        <dsp:cNvPr id="0" name=""/>
        <dsp:cNvSpPr/>
      </dsp:nvSpPr>
      <dsp:spPr>
        <a:xfrm>
          <a:off x="8466171" y="361486"/>
          <a:ext cx="431410" cy="504669"/>
        </a:xfrm>
        <a:prstGeom prst="rightArrow">
          <a:avLst>
            <a:gd name="adj1" fmla="val 60000"/>
            <a:gd name="adj2" fmla="val 50000"/>
          </a:avLst>
        </a:prstGeom>
        <a:solidFill>
          <a:schemeClr val="accent5">
            <a:hueOff val="3602863"/>
            <a:satOff val="-3112"/>
            <a:lumOff val="-366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b="1" kern="1200"/>
        </a:p>
      </dsp:txBody>
      <dsp:txXfrm>
        <a:off x="8466171" y="462420"/>
        <a:ext cx="301987" cy="302801"/>
      </dsp:txXfrm>
    </dsp:sp>
    <dsp:sp modelId="{5FCE63A7-FA91-4271-A8B0-6763C52231CF}">
      <dsp:nvSpPr>
        <dsp:cNvPr id="0" name=""/>
        <dsp:cNvSpPr/>
      </dsp:nvSpPr>
      <dsp:spPr>
        <a:xfrm>
          <a:off x="9101078" y="3334"/>
          <a:ext cx="2034956" cy="1220973"/>
        </a:xfrm>
        <a:prstGeom prst="roundRect">
          <a:avLst>
            <a:gd name="adj" fmla="val 10000"/>
          </a:avLst>
        </a:prstGeom>
        <a:solidFill>
          <a:schemeClr val="accent5">
            <a:hueOff val="4863864"/>
            <a:satOff val="-4202"/>
            <a:lumOff val="-494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If </a:t>
          </a:r>
          <a:r>
            <a:rPr lang="en-US" sz="1600" b="1" kern="1200" dirty="0"/>
            <a:t>the transaction is valid, the nodes propagate it further</a:t>
          </a:r>
        </a:p>
      </dsp:txBody>
      <dsp:txXfrm>
        <a:off x="9136839" y="39095"/>
        <a:ext cx="1963434" cy="1149451"/>
      </dsp:txXfrm>
    </dsp:sp>
    <dsp:sp modelId="{5BBB349F-06FE-43BE-812B-D2638D867C4E}">
      <dsp:nvSpPr>
        <dsp:cNvPr id="0" name=""/>
        <dsp:cNvSpPr/>
      </dsp:nvSpPr>
      <dsp:spPr>
        <a:xfrm rot="5400000">
          <a:off x="9902850" y="1366755"/>
          <a:ext cx="431410" cy="504669"/>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US" sz="2200" b="1" kern="1200"/>
        </a:p>
      </dsp:txBody>
      <dsp:txXfrm rot="-5400000">
        <a:off x="9967155" y="1403385"/>
        <a:ext cx="302801" cy="301987"/>
      </dsp:txXfrm>
    </dsp:sp>
    <dsp:sp modelId="{F12FFE6C-699B-44A7-BCF5-2DCE6E63CFD4}">
      <dsp:nvSpPr>
        <dsp:cNvPr id="0" name=""/>
        <dsp:cNvSpPr/>
      </dsp:nvSpPr>
      <dsp:spPr>
        <a:xfrm>
          <a:off x="9101078" y="2038290"/>
          <a:ext cx="2034956" cy="1220973"/>
        </a:xfrm>
        <a:prstGeom prst="roundRect">
          <a:avLst>
            <a:gd name="adj" fmla="val 10000"/>
          </a:avLst>
        </a:prstGeom>
        <a:solidFill>
          <a:schemeClr val="accent5">
            <a:hueOff val="6485153"/>
            <a:satOff val="-5602"/>
            <a:lumOff val="-658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 (volunteer) node collects valid transactions and puts them into a block</a:t>
          </a:r>
        </a:p>
      </dsp:txBody>
      <dsp:txXfrm>
        <a:off x="9136839" y="2074051"/>
        <a:ext cx="1963434" cy="1149451"/>
      </dsp:txXfrm>
    </dsp:sp>
    <dsp:sp modelId="{4346544D-C7C5-4143-93E6-364652B7D7BC}">
      <dsp:nvSpPr>
        <dsp:cNvPr id="0" name=""/>
        <dsp:cNvSpPr/>
      </dsp:nvSpPr>
      <dsp:spPr>
        <a:xfrm rot="10800000">
          <a:off x="8490591" y="2396442"/>
          <a:ext cx="431410" cy="504669"/>
        </a:xfrm>
        <a:prstGeom prst="rightArrow">
          <a:avLst>
            <a:gd name="adj1" fmla="val 60000"/>
            <a:gd name="adj2" fmla="val 50000"/>
          </a:avLst>
        </a:prstGeom>
        <a:solidFill>
          <a:schemeClr val="accent5">
            <a:hueOff val="7205725"/>
            <a:satOff val="-6225"/>
            <a:lumOff val="-731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b="1" kern="1200"/>
        </a:p>
      </dsp:txBody>
      <dsp:txXfrm rot="10800000">
        <a:off x="8620014" y="2497376"/>
        <a:ext cx="301987" cy="302801"/>
      </dsp:txXfrm>
    </dsp:sp>
    <dsp:sp modelId="{BBC0AA16-0E0F-40AD-B0A2-9AFE0A038863}">
      <dsp:nvSpPr>
        <dsp:cNvPr id="0" name=""/>
        <dsp:cNvSpPr/>
      </dsp:nvSpPr>
      <dsp:spPr>
        <a:xfrm>
          <a:off x="6252139" y="2038290"/>
          <a:ext cx="2034956" cy="1220973"/>
        </a:xfrm>
        <a:prstGeom prst="roundRect">
          <a:avLst>
            <a:gd name="adj" fmla="val 10000"/>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The block contains a hash (fingerprint) of the previous block</a:t>
          </a:r>
        </a:p>
      </dsp:txBody>
      <dsp:txXfrm>
        <a:off x="6287900" y="2074051"/>
        <a:ext cx="1963434" cy="1149451"/>
      </dsp:txXfrm>
    </dsp:sp>
    <dsp:sp modelId="{384EAF68-1D25-4530-B121-65104C6C2A2F}">
      <dsp:nvSpPr>
        <dsp:cNvPr id="0" name=""/>
        <dsp:cNvSpPr/>
      </dsp:nvSpPr>
      <dsp:spPr>
        <a:xfrm rot="10800000">
          <a:off x="5641652" y="2396442"/>
          <a:ext cx="431410" cy="504669"/>
        </a:xfrm>
        <a:prstGeom prst="rightArrow">
          <a:avLst>
            <a:gd name="adj1" fmla="val 60000"/>
            <a:gd name="adj2" fmla="val 50000"/>
          </a:avLst>
        </a:prstGeom>
        <a:solidFill>
          <a:schemeClr val="accent5">
            <a:hueOff val="9007157"/>
            <a:satOff val="-7781"/>
            <a:lumOff val="-914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b="1" kern="1200"/>
        </a:p>
      </dsp:txBody>
      <dsp:txXfrm rot="10800000">
        <a:off x="5771075" y="2497376"/>
        <a:ext cx="301987" cy="302801"/>
      </dsp:txXfrm>
    </dsp:sp>
    <dsp:sp modelId="{D859F742-3AE5-48DA-89EB-195B4E302239}">
      <dsp:nvSpPr>
        <dsp:cNvPr id="0" name=""/>
        <dsp:cNvSpPr/>
      </dsp:nvSpPr>
      <dsp:spPr>
        <a:xfrm>
          <a:off x="3403200" y="2038290"/>
          <a:ext cx="2034956" cy="1220973"/>
        </a:xfrm>
        <a:prstGeom prst="roundRect">
          <a:avLst>
            <a:gd name="adj" fmla="val 10000"/>
          </a:avLst>
        </a:prstGeom>
        <a:solidFill>
          <a:schemeClr val="accent5">
            <a:hueOff val="9727729"/>
            <a:satOff val="-8404"/>
            <a:lumOff val="-988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Then broadcasts the block to the network</a:t>
          </a:r>
        </a:p>
      </dsp:txBody>
      <dsp:txXfrm>
        <a:off x="3438961" y="2074051"/>
        <a:ext cx="1963434" cy="1149451"/>
      </dsp:txXfrm>
    </dsp:sp>
    <dsp:sp modelId="{046945F9-6A22-4A1B-B6A8-E46266A9F6F1}">
      <dsp:nvSpPr>
        <dsp:cNvPr id="0" name=""/>
        <dsp:cNvSpPr/>
      </dsp:nvSpPr>
      <dsp:spPr>
        <a:xfrm rot="10800000">
          <a:off x="2792713" y="2396442"/>
          <a:ext cx="431410" cy="504669"/>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b="1" kern="1200"/>
        </a:p>
      </dsp:txBody>
      <dsp:txXfrm rot="10800000">
        <a:off x="2922136" y="2497376"/>
        <a:ext cx="301987" cy="302801"/>
      </dsp:txXfrm>
    </dsp:sp>
    <dsp:sp modelId="{38FE627D-FF32-43E7-8FC0-943D72E381C2}">
      <dsp:nvSpPr>
        <dsp:cNvPr id="0" name=""/>
        <dsp:cNvSpPr/>
      </dsp:nvSpPr>
      <dsp:spPr>
        <a:xfrm>
          <a:off x="554261" y="2038290"/>
          <a:ext cx="2034956" cy="1220973"/>
        </a:xfrm>
        <a:prstGeom prst="roundRect">
          <a:avLst>
            <a:gd name="adj" fmla="val 10000"/>
          </a:avLst>
        </a:prstGeom>
        <a:solidFill>
          <a:schemeClr val="accent5">
            <a:hueOff val="11349017"/>
            <a:satOff val="-9804"/>
            <a:lumOff val="-1152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Other nodes validate and append their </a:t>
          </a:r>
          <a:r>
            <a:rPr lang="en-US" sz="1600" b="1" kern="1200" dirty="0" err="1"/>
            <a:t>blockchain</a:t>
          </a:r>
          <a:r>
            <a:rPr lang="en-US" sz="1600" b="1" kern="1200" dirty="0"/>
            <a:t> with the new block</a:t>
          </a:r>
        </a:p>
      </dsp:txBody>
      <dsp:txXfrm>
        <a:off x="590022" y="2074051"/>
        <a:ext cx="1963434" cy="1149451"/>
      </dsp:txXfrm>
    </dsp:sp>
    <dsp:sp modelId="{14859D47-CFEF-4D1D-AA88-F9690ED84F04}">
      <dsp:nvSpPr>
        <dsp:cNvPr id="0" name=""/>
        <dsp:cNvSpPr/>
      </dsp:nvSpPr>
      <dsp:spPr>
        <a:xfrm rot="5400000">
          <a:off x="1356034" y="3401711"/>
          <a:ext cx="431410" cy="504669"/>
        </a:xfrm>
        <a:prstGeom prst="rightArrow">
          <a:avLst>
            <a:gd name="adj1" fmla="val 60000"/>
            <a:gd name="adj2" fmla="val 50000"/>
          </a:avLst>
        </a:prstGeom>
        <a:solidFill>
          <a:schemeClr val="accent5">
            <a:hueOff val="12610020"/>
            <a:satOff val="-10894"/>
            <a:lumOff val="-1280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US" sz="2200" b="1" kern="1200"/>
        </a:p>
      </dsp:txBody>
      <dsp:txXfrm rot="-5400000">
        <a:off x="1420339" y="3438341"/>
        <a:ext cx="302801" cy="301987"/>
      </dsp:txXfrm>
    </dsp:sp>
    <dsp:sp modelId="{7299614B-5EB2-46D3-9871-E787BBBA7DFD}">
      <dsp:nvSpPr>
        <dsp:cNvPr id="0" name=""/>
        <dsp:cNvSpPr/>
      </dsp:nvSpPr>
      <dsp:spPr>
        <a:xfrm>
          <a:off x="554261" y="4073246"/>
          <a:ext cx="2034956" cy="1220973"/>
        </a:xfrm>
        <a:prstGeom prst="roundRect">
          <a:avLst>
            <a:gd name="adj" fmla="val 10000"/>
          </a:avLst>
        </a:prstGeom>
        <a:solidFill>
          <a:schemeClr val="accent5">
            <a:hueOff val="12970305"/>
            <a:satOff val="-11205"/>
            <a:lumOff val="-1317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t>The </a:t>
          </a:r>
          <a:r>
            <a:rPr lang="en-US" sz="1600" b="1" kern="1200" dirty="0"/>
            <a:t>blockchain can only be appended</a:t>
          </a:r>
        </a:p>
      </dsp:txBody>
      <dsp:txXfrm>
        <a:off x="590022" y="4109007"/>
        <a:ext cx="1963434" cy="1149451"/>
      </dsp:txXfrm>
    </dsp:sp>
    <dsp:sp modelId="{F7C26A1F-4492-42A7-9153-17DC634ED812}">
      <dsp:nvSpPr>
        <dsp:cNvPr id="0" name=""/>
        <dsp:cNvSpPr/>
      </dsp:nvSpPr>
      <dsp:spPr>
        <a:xfrm>
          <a:off x="2768294" y="4431399"/>
          <a:ext cx="431410" cy="504669"/>
        </a:xfrm>
        <a:prstGeom prst="rightArrow">
          <a:avLst>
            <a:gd name="adj1" fmla="val 60000"/>
            <a:gd name="adj2" fmla="val 50000"/>
          </a:avLst>
        </a:prstGeom>
        <a:solidFill>
          <a:schemeClr val="accent5">
            <a:hueOff val="14411451"/>
            <a:satOff val="-12450"/>
            <a:lumOff val="-1463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b="1" kern="1200"/>
        </a:p>
      </dsp:txBody>
      <dsp:txXfrm>
        <a:off x="2768294" y="4532333"/>
        <a:ext cx="301987" cy="302801"/>
      </dsp:txXfrm>
    </dsp:sp>
    <dsp:sp modelId="{ECCB419A-3C24-4B24-AC6E-A4499CD74DB1}">
      <dsp:nvSpPr>
        <dsp:cNvPr id="0" name=""/>
        <dsp:cNvSpPr/>
      </dsp:nvSpPr>
      <dsp:spPr>
        <a:xfrm>
          <a:off x="3403200" y="4073246"/>
          <a:ext cx="2034956" cy="1220973"/>
        </a:xfrm>
        <a:prstGeom prst="roundRect">
          <a:avLst>
            <a:gd name="adj" fmla="val 10000"/>
          </a:avLst>
        </a:prstGeom>
        <a:solidFill>
          <a:schemeClr val="accent5">
            <a:hueOff val="14591593"/>
            <a:satOff val="-12605"/>
            <a:lumOff val="-1482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Changes to the history of the blockchain are tamper evident and in some cases tamper proof</a:t>
          </a:r>
        </a:p>
      </dsp:txBody>
      <dsp:txXfrm>
        <a:off x="3438961" y="4109007"/>
        <a:ext cx="1963434" cy="1149451"/>
      </dsp:txXfrm>
    </dsp:sp>
    <dsp:sp modelId="{C0EE9AF1-7913-405D-9255-4B9684A1DB33}">
      <dsp:nvSpPr>
        <dsp:cNvPr id="0" name=""/>
        <dsp:cNvSpPr/>
      </dsp:nvSpPr>
      <dsp:spPr>
        <a:xfrm>
          <a:off x="5617232" y="4431399"/>
          <a:ext cx="431410" cy="504669"/>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b="1" kern="1200"/>
        </a:p>
      </dsp:txBody>
      <dsp:txXfrm>
        <a:off x="5617232" y="4532333"/>
        <a:ext cx="301987" cy="302801"/>
      </dsp:txXfrm>
    </dsp:sp>
    <dsp:sp modelId="{D5A2ED24-6865-48EF-899A-10126CC996F3}">
      <dsp:nvSpPr>
        <dsp:cNvPr id="0" name=""/>
        <dsp:cNvSpPr/>
      </dsp:nvSpPr>
      <dsp:spPr>
        <a:xfrm>
          <a:off x="6252139" y="4073246"/>
          <a:ext cx="2034956" cy="1220973"/>
        </a:xfrm>
        <a:prstGeom prst="roundRect">
          <a:avLst>
            <a:gd name="adj" fmla="val 1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Everyone in the network now knows that Alice has sent Bob a transaction</a:t>
          </a:r>
        </a:p>
      </dsp:txBody>
      <dsp:txXfrm>
        <a:off x="6287900" y="4109007"/>
        <a:ext cx="1963434" cy="114945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DA9FD9-9E1D-49F8-8DA0-ECF68E895817}">
      <dsp:nvSpPr>
        <dsp:cNvPr id="0" name=""/>
        <dsp:cNvSpPr/>
      </dsp:nvSpPr>
      <dsp:spPr>
        <a:xfrm>
          <a:off x="2506256" y="1344905"/>
          <a:ext cx="3117603" cy="3117603"/>
        </a:xfrm>
        <a:prstGeom prst="ellipse">
          <a:avLst/>
        </a:prstGeom>
        <a:solidFill>
          <a:schemeClr val="accent5">
            <a:alpha val="50000"/>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0"/>
              <a:satOff val="0"/>
              <a:lumOff val="0"/>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r>
            <a:rPr lang="en-US" sz="5400" b="0" kern="1200" dirty="0"/>
            <a:t>Bitcoin</a:t>
          </a:r>
        </a:p>
      </dsp:txBody>
      <dsp:txXfrm>
        <a:off x="2962818" y="1801467"/>
        <a:ext cx="2204479" cy="2204479"/>
      </dsp:txXfrm>
    </dsp:sp>
    <dsp:sp modelId="{3A7180B0-CFDD-422B-88F7-6968322FAB48}">
      <dsp:nvSpPr>
        <dsp:cNvPr id="0" name=""/>
        <dsp:cNvSpPr/>
      </dsp:nvSpPr>
      <dsp:spPr>
        <a:xfrm>
          <a:off x="3011098" y="-178374"/>
          <a:ext cx="2107920" cy="2107920"/>
        </a:xfrm>
        <a:prstGeom prst="ellipse">
          <a:avLst/>
        </a:prstGeom>
        <a:solidFill>
          <a:schemeClr val="accent5">
            <a:alpha val="50000"/>
            <a:hueOff val="3242576"/>
            <a:satOff val="-2801"/>
            <a:lumOff val="-329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3242576"/>
              <a:satOff val="-2801"/>
              <a:lumOff val="-3294"/>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Cryptography</a:t>
          </a:r>
        </a:p>
      </dsp:txBody>
      <dsp:txXfrm>
        <a:off x="3319796" y="130324"/>
        <a:ext cx="1490524" cy="1490524"/>
      </dsp:txXfrm>
    </dsp:sp>
    <dsp:sp modelId="{4AF9099B-9E10-43E5-AEFC-B4EA1CA3B34E}">
      <dsp:nvSpPr>
        <dsp:cNvPr id="0" name=""/>
        <dsp:cNvSpPr/>
      </dsp:nvSpPr>
      <dsp:spPr>
        <a:xfrm>
          <a:off x="4939955" y="1223023"/>
          <a:ext cx="2107920" cy="2107920"/>
        </a:xfrm>
        <a:prstGeom prst="ellipse">
          <a:avLst/>
        </a:prstGeom>
        <a:solidFill>
          <a:schemeClr val="accent5">
            <a:alpha val="50000"/>
            <a:hueOff val="6485153"/>
            <a:satOff val="-5602"/>
            <a:lumOff val="-6587"/>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6485153"/>
              <a:satOff val="-5602"/>
              <a:lumOff val="-6587"/>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Economics</a:t>
          </a:r>
        </a:p>
      </dsp:txBody>
      <dsp:txXfrm>
        <a:off x="5248653" y="1531721"/>
        <a:ext cx="1490524" cy="1490524"/>
      </dsp:txXfrm>
    </dsp:sp>
    <dsp:sp modelId="{224104FD-56C7-4194-BB5E-6C75A4E600D5}">
      <dsp:nvSpPr>
        <dsp:cNvPr id="0" name=""/>
        <dsp:cNvSpPr/>
      </dsp:nvSpPr>
      <dsp:spPr>
        <a:xfrm>
          <a:off x="4203197" y="3490531"/>
          <a:ext cx="2107920" cy="2107920"/>
        </a:xfrm>
        <a:prstGeom prst="ellipse">
          <a:avLst/>
        </a:prstGeom>
        <a:solidFill>
          <a:schemeClr val="accent5">
            <a:alpha val="50000"/>
            <a:hueOff val="9727729"/>
            <a:satOff val="-8404"/>
            <a:lumOff val="-9881"/>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9727729"/>
              <a:satOff val="-8404"/>
              <a:lumOff val="-9881"/>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Game Theory</a:t>
          </a:r>
        </a:p>
      </dsp:txBody>
      <dsp:txXfrm>
        <a:off x="4511895" y="3799229"/>
        <a:ext cx="1490524" cy="1490524"/>
      </dsp:txXfrm>
    </dsp:sp>
    <dsp:sp modelId="{C89EC7CA-1B01-499B-878B-03DAB2CFB86B}">
      <dsp:nvSpPr>
        <dsp:cNvPr id="0" name=""/>
        <dsp:cNvSpPr/>
      </dsp:nvSpPr>
      <dsp:spPr>
        <a:xfrm>
          <a:off x="1818998" y="3490531"/>
          <a:ext cx="2107920" cy="2107920"/>
        </a:xfrm>
        <a:prstGeom prst="ellipse">
          <a:avLst/>
        </a:prstGeom>
        <a:solidFill>
          <a:schemeClr val="accent5">
            <a:alpha val="50000"/>
            <a:hueOff val="12970305"/>
            <a:satOff val="-11205"/>
            <a:lumOff val="-1317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12970305"/>
              <a:satOff val="-11205"/>
              <a:lumOff val="-13174"/>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Decentralized consensus</a:t>
          </a:r>
        </a:p>
      </dsp:txBody>
      <dsp:txXfrm>
        <a:off x="2127696" y="3799229"/>
        <a:ext cx="1490524" cy="1490524"/>
      </dsp:txXfrm>
    </dsp:sp>
    <dsp:sp modelId="{D1CA2F11-3FBE-4EE8-9610-A819C220AB63}">
      <dsp:nvSpPr>
        <dsp:cNvPr id="0" name=""/>
        <dsp:cNvSpPr/>
      </dsp:nvSpPr>
      <dsp:spPr>
        <a:xfrm>
          <a:off x="1082240" y="1223023"/>
          <a:ext cx="2107920" cy="2107920"/>
        </a:xfrm>
        <a:prstGeom prst="ellipse">
          <a:avLst/>
        </a:prstGeom>
        <a:solidFill>
          <a:schemeClr val="accent5">
            <a:alpha val="50000"/>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alpha val="50000"/>
              <a:hueOff val="16212881"/>
              <a:satOff val="-14006"/>
              <a:lumOff val="-16468"/>
              <a:alphaOff val="0"/>
            </a:schemeClr>
          </a:contourClr>
        </a:sp3d>
      </dsp:spPr>
      <dsp:style>
        <a:lnRef idx="0">
          <a:scrgbClr r="0" g="0" b="0"/>
        </a:lnRef>
        <a:fillRef idx="3">
          <a:scrgbClr r="0" g="0" b="0"/>
        </a:fillRef>
        <a:effectRef idx="3">
          <a:scrgbClr r="0" g="0" b="0"/>
        </a:effectRef>
        <a:fontRef idx="minor">
          <a:schemeClr val="tx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Blockchain</a:t>
          </a:r>
        </a:p>
      </dsp:txBody>
      <dsp:txXfrm>
        <a:off x="1390938" y="1531721"/>
        <a:ext cx="1490524" cy="149052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0547AE-F31A-4027-A666-09EDFDDCA9AB}">
      <dsp:nvSpPr>
        <dsp:cNvPr id="0" name=""/>
        <dsp:cNvSpPr/>
      </dsp:nvSpPr>
      <dsp:spPr>
        <a:xfrm>
          <a:off x="3252046" y="545"/>
          <a:ext cx="4878070" cy="2125740"/>
        </a:xfrm>
        <a:prstGeom prst="rightArrow">
          <a:avLst>
            <a:gd name="adj1" fmla="val 75000"/>
            <a:gd name="adj2" fmla="val 50000"/>
          </a:avLst>
        </a:prstGeom>
        <a:solidFill>
          <a:schemeClr val="accent3">
            <a:tint val="40000"/>
            <a:alpha val="90000"/>
            <a:hueOff val="0"/>
            <a:satOff val="0"/>
            <a:lumOff val="0"/>
            <a:alphaOff val="0"/>
          </a:schemeClr>
        </a:solidFill>
        <a:ln w="10000" cap="flat" cmpd="sng" algn="ctr">
          <a:solidFill>
            <a:schemeClr val="accent3">
              <a:tint val="40000"/>
              <a:alpha val="90000"/>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5875" tIns="15875" rIns="15875" bIns="1587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Secures the </a:t>
          </a:r>
          <a:r>
            <a:rPr lang="en-US" sz="2500" b="1" kern="1200" dirty="0">
              <a:solidFill>
                <a:srgbClr val="FF0000"/>
              </a:solidFill>
            </a:rPr>
            <a:t>history</a:t>
          </a:r>
          <a:r>
            <a:rPr lang="en-US" sz="2500" kern="1200" dirty="0"/>
            <a:t> of transactions</a:t>
          </a:r>
        </a:p>
      </dsp:txBody>
      <dsp:txXfrm>
        <a:off x="3252046" y="266263"/>
        <a:ext cx="4080918" cy="1594305"/>
      </dsp:txXfrm>
    </dsp:sp>
    <dsp:sp modelId="{07800A70-447F-48AE-9ED2-32E8EDF9B233}">
      <dsp:nvSpPr>
        <dsp:cNvPr id="0" name=""/>
        <dsp:cNvSpPr/>
      </dsp:nvSpPr>
      <dsp:spPr>
        <a:xfrm>
          <a:off x="0" y="545"/>
          <a:ext cx="3252046" cy="2125740"/>
        </a:xfrm>
        <a:prstGeom prst="roundRect">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Crypto</a:t>
          </a:r>
        </a:p>
      </dsp:txBody>
      <dsp:txXfrm>
        <a:off x="103770" y="104315"/>
        <a:ext cx="3044506" cy="1918200"/>
      </dsp:txXfrm>
    </dsp:sp>
    <dsp:sp modelId="{2B9670E8-5C8D-46D2-AF5D-EBF60C7C6C9C}">
      <dsp:nvSpPr>
        <dsp:cNvPr id="0" name=""/>
        <dsp:cNvSpPr/>
      </dsp:nvSpPr>
      <dsp:spPr>
        <a:xfrm>
          <a:off x="3252046" y="2338859"/>
          <a:ext cx="4878070" cy="2125740"/>
        </a:xfrm>
        <a:prstGeom prst="rightArrow">
          <a:avLst>
            <a:gd name="adj1" fmla="val 75000"/>
            <a:gd name="adj2" fmla="val 50000"/>
          </a:avLst>
        </a:prstGeom>
        <a:solidFill>
          <a:schemeClr val="accent3">
            <a:tint val="40000"/>
            <a:alpha val="90000"/>
            <a:hueOff val="-6580219"/>
            <a:satOff val="-11976"/>
            <a:lumOff val="-1030"/>
            <a:alphaOff val="0"/>
          </a:schemeClr>
        </a:solidFill>
        <a:ln w="10000" cap="flat" cmpd="sng" algn="ctr">
          <a:solidFill>
            <a:schemeClr val="accent3">
              <a:tint val="40000"/>
              <a:alpha val="90000"/>
              <a:hueOff val="-6580219"/>
              <a:satOff val="-11976"/>
              <a:lumOff val="-103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5875" tIns="15875" rIns="15875" bIns="1587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Uses economic incentives to progress the blockchain </a:t>
          </a:r>
          <a:r>
            <a:rPr lang="en-US" sz="2500" b="1" kern="1200" dirty="0">
              <a:solidFill>
                <a:srgbClr val="FF0000"/>
              </a:solidFill>
            </a:rPr>
            <a:t>future</a:t>
          </a:r>
          <a:r>
            <a:rPr lang="en-US" sz="2500" kern="1200" dirty="0"/>
            <a:t> even in the presence of adversaries</a:t>
          </a:r>
        </a:p>
      </dsp:txBody>
      <dsp:txXfrm>
        <a:off x="3252046" y="2604577"/>
        <a:ext cx="4080918" cy="1594305"/>
      </dsp:txXfrm>
    </dsp:sp>
    <dsp:sp modelId="{85A46366-A3AF-410D-B3B4-1647267D5446}">
      <dsp:nvSpPr>
        <dsp:cNvPr id="0" name=""/>
        <dsp:cNvSpPr/>
      </dsp:nvSpPr>
      <dsp:spPr>
        <a:xfrm>
          <a:off x="0" y="2338859"/>
          <a:ext cx="3252046" cy="2125740"/>
        </a:xfrm>
        <a:prstGeom prst="roundRect">
          <a:avLst/>
        </a:prstGeom>
        <a:solidFill>
          <a:schemeClr val="accent3">
            <a:hueOff val="-6284415"/>
            <a:satOff val="-26412"/>
            <a:lumOff val="176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6284415"/>
              <a:satOff val="-26412"/>
              <a:lumOff val="176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Economics</a:t>
          </a:r>
        </a:p>
      </dsp:txBody>
      <dsp:txXfrm>
        <a:off x="103770" y="2442629"/>
        <a:ext cx="3044506" cy="19182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4EB56B-9AE6-498E-A122-ACD55E73D581}">
      <dsp:nvSpPr>
        <dsp:cNvPr id="0" name=""/>
        <dsp:cNvSpPr/>
      </dsp:nvSpPr>
      <dsp:spPr>
        <a:xfrm>
          <a:off x="5167" y="1082048"/>
          <a:ext cx="2259525" cy="1355715"/>
        </a:xfrm>
        <a:prstGeom prst="roundRect">
          <a:avLst>
            <a:gd name="adj" fmla="val 1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Barter</a:t>
          </a:r>
        </a:p>
      </dsp:txBody>
      <dsp:txXfrm>
        <a:off x="44875" y="1121756"/>
        <a:ext cx="2180109" cy="1276299"/>
      </dsp:txXfrm>
    </dsp:sp>
    <dsp:sp modelId="{D9317850-EE19-4EF0-8BF9-AEBD46B7E903}">
      <dsp:nvSpPr>
        <dsp:cNvPr id="0" name=""/>
        <dsp:cNvSpPr/>
      </dsp:nvSpPr>
      <dsp:spPr>
        <a:xfrm>
          <a:off x="2463531" y="1479725"/>
          <a:ext cx="479019" cy="560362"/>
        </a:xfrm>
        <a:prstGeom prst="rightArrow">
          <a:avLst>
            <a:gd name="adj1" fmla="val 60000"/>
            <a:gd name="adj2" fmla="val 5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463531" y="1591797"/>
        <a:ext cx="335313" cy="336218"/>
      </dsp:txXfrm>
    </dsp:sp>
    <dsp:sp modelId="{C7D27BE1-2431-4774-8F14-287E10DAC21E}">
      <dsp:nvSpPr>
        <dsp:cNvPr id="0" name=""/>
        <dsp:cNvSpPr/>
      </dsp:nvSpPr>
      <dsp:spPr>
        <a:xfrm>
          <a:off x="3168503" y="1082048"/>
          <a:ext cx="2259525" cy="1355715"/>
        </a:xfrm>
        <a:prstGeom prst="roundRect">
          <a:avLst>
            <a:gd name="adj" fmla="val 10000"/>
          </a:avLst>
        </a:prstGeom>
        <a:solidFill>
          <a:schemeClr val="accent5">
            <a:hueOff val="2316126"/>
            <a:satOff val="-2001"/>
            <a:lumOff val="-235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2316126"/>
              <a:satOff val="-2001"/>
              <a:lumOff val="-235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hells</a:t>
          </a:r>
        </a:p>
        <a:p>
          <a:pPr marL="0" lvl="0" indent="0" algn="ctr" defTabSz="800100">
            <a:lnSpc>
              <a:spcPct val="90000"/>
            </a:lnSpc>
            <a:spcBef>
              <a:spcPct val="0"/>
            </a:spcBef>
            <a:spcAft>
              <a:spcPct val="35000"/>
            </a:spcAft>
            <a:buNone/>
          </a:pPr>
          <a:r>
            <a:rPr lang="en-US" sz="1800" kern="1200" dirty="0"/>
            <a:t>Seeds</a:t>
          </a:r>
        </a:p>
        <a:p>
          <a:pPr marL="0" lvl="0" indent="0" algn="ctr" defTabSz="800100">
            <a:lnSpc>
              <a:spcPct val="90000"/>
            </a:lnSpc>
            <a:spcBef>
              <a:spcPct val="0"/>
            </a:spcBef>
            <a:spcAft>
              <a:spcPct val="35000"/>
            </a:spcAft>
            <a:buNone/>
          </a:pPr>
          <a:r>
            <a:rPr lang="en-US" sz="1800" kern="1200" dirty="0"/>
            <a:t>Bulla</a:t>
          </a:r>
        </a:p>
        <a:p>
          <a:pPr marL="0" lvl="0" indent="0" algn="ctr" defTabSz="800100">
            <a:lnSpc>
              <a:spcPct val="90000"/>
            </a:lnSpc>
            <a:spcBef>
              <a:spcPct val="0"/>
            </a:spcBef>
            <a:spcAft>
              <a:spcPct val="35000"/>
            </a:spcAft>
            <a:buNone/>
          </a:pPr>
          <a:r>
            <a:rPr lang="en-US" sz="1800" kern="1200" dirty="0"/>
            <a:t>Salt</a:t>
          </a:r>
        </a:p>
      </dsp:txBody>
      <dsp:txXfrm>
        <a:off x="3208211" y="1121756"/>
        <a:ext cx="2180109" cy="1276299"/>
      </dsp:txXfrm>
    </dsp:sp>
    <dsp:sp modelId="{53A51DE4-3034-4511-9C74-3608AE04CB3F}">
      <dsp:nvSpPr>
        <dsp:cNvPr id="0" name=""/>
        <dsp:cNvSpPr/>
      </dsp:nvSpPr>
      <dsp:spPr>
        <a:xfrm>
          <a:off x="5626867" y="1479725"/>
          <a:ext cx="479019" cy="560362"/>
        </a:xfrm>
        <a:prstGeom prst="rightArrow">
          <a:avLst>
            <a:gd name="adj1" fmla="val 60000"/>
            <a:gd name="adj2" fmla="val 50000"/>
          </a:avLst>
        </a:prstGeom>
        <a:solidFill>
          <a:schemeClr val="accent5">
            <a:hueOff val="2702147"/>
            <a:satOff val="-2334"/>
            <a:lumOff val="-274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2702147"/>
              <a:satOff val="-2334"/>
              <a:lumOff val="-274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626867" y="1591797"/>
        <a:ext cx="335313" cy="336218"/>
      </dsp:txXfrm>
    </dsp:sp>
    <dsp:sp modelId="{A89F1B86-3E82-40F6-9406-6AFE7F778BE2}">
      <dsp:nvSpPr>
        <dsp:cNvPr id="0" name=""/>
        <dsp:cNvSpPr/>
      </dsp:nvSpPr>
      <dsp:spPr>
        <a:xfrm>
          <a:off x="6331839" y="1082048"/>
          <a:ext cx="2259525" cy="1355715"/>
        </a:xfrm>
        <a:prstGeom prst="roundRect">
          <a:avLst>
            <a:gd name="adj" fmla="val 10000"/>
          </a:avLst>
        </a:prstGeom>
        <a:solidFill>
          <a:schemeClr val="accent5">
            <a:hueOff val="4632252"/>
            <a:satOff val="-4002"/>
            <a:lumOff val="-470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4632252"/>
              <a:satOff val="-4002"/>
              <a:lumOff val="-470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Metal coins</a:t>
          </a:r>
        </a:p>
        <a:p>
          <a:pPr marL="171450" lvl="1" indent="-171450" algn="l" defTabSz="800100">
            <a:lnSpc>
              <a:spcPct val="90000"/>
            </a:lnSpc>
            <a:spcBef>
              <a:spcPct val="0"/>
            </a:spcBef>
            <a:spcAft>
              <a:spcPct val="15000"/>
            </a:spcAft>
            <a:buChar char="•"/>
          </a:pPr>
          <a:r>
            <a:rPr lang="en-US" sz="1800" kern="1200" dirty="0"/>
            <a:t>Precious</a:t>
          </a:r>
        </a:p>
        <a:p>
          <a:pPr marL="171450" lvl="1" indent="-171450" algn="l" defTabSz="800100">
            <a:lnSpc>
              <a:spcPct val="90000"/>
            </a:lnSpc>
            <a:spcBef>
              <a:spcPct val="0"/>
            </a:spcBef>
            <a:spcAft>
              <a:spcPct val="15000"/>
            </a:spcAft>
            <a:buChar char="•"/>
          </a:pPr>
          <a:r>
            <a:rPr lang="en-US" sz="1800" kern="1200" dirty="0"/>
            <a:t>Non precious</a:t>
          </a:r>
        </a:p>
      </dsp:txBody>
      <dsp:txXfrm>
        <a:off x="6371547" y="1121756"/>
        <a:ext cx="2180109" cy="1276299"/>
      </dsp:txXfrm>
    </dsp:sp>
    <dsp:sp modelId="{987025F9-6E3D-493A-8293-33B18AC7EC3A}">
      <dsp:nvSpPr>
        <dsp:cNvPr id="0" name=""/>
        <dsp:cNvSpPr/>
      </dsp:nvSpPr>
      <dsp:spPr>
        <a:xfrm>
          <a:off x="8790203" y="1479725"/>
          <a:ext cx="479019" cy="560362"/>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5404294"/>
              <a:satOff val="-4669"/>
              <a:lumOff val="-548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790203" y="1591797"/>
        <a:ext cx="335313" cy="336218"/>
      </dsp:txXfrm>
    </dsp:sp>
    <dsp:sp modelId="{F512B6EA-83C4-45F0-A4BC-4F41AC3FD8A7}">
      <dsp:nvSpPr>
        <dsp:cNvPr id="0" name=""/>
        <dsp:cNvSpPr/>
      </dsp:nvSpPr>
      <dsp:spPr>
        <a:xfrm>
          <a:off x="9495175" y="1082048"/>
          <a:ext cx="2259525" cy="1355715"/>
        </a:xfrm>
        <a:prstGeom prst="roundRect">
          <a:avLst>
            <a:gd name="adj" fmla="val 10000"/>
          </a:avLst>
        </a:prstGeom>
        <a:solidFill>
          <a:schemeClr val="accent5">
            <a:hueOff val="6948378"/>
            <a:satOff val="-6003"/>
            <a:lumOff val="-705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6948378"/>
              <a:satOff val="-6003"/>
              <a:lumOff val="-705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aper money</a:t>
          </a:r>
        </a:p>
      </dsp:txBody>
      <dsp:txXfrm>
        <a:off x="9534883" y="1121756"/>
        <a:ext cx="2180109" cy="1276299"/>
      </dsp:txXfrm>
    </dsp:sp>
    <dsp:sp modelId="{8C47B14B-62A9-42EE-962A-B087B5D3A8A3}">
      <dsp:nvSpPr>
        <dsp:cNvPr id="0" name=""/>
        <dsp:cNvSpPr/>
      </dsp:nvSpPr>
      <dsp:spPr>
        <a:xfrm rot="5400000">
          <a:off x="10385428" y="2727806"/>
          <a:ext cx="479019" cy="560362"/>
        </a:xfrm>
        <a:prstGeom prst="rightArrow">
          <a:avLst>
            <a:gd name="adj1" fmla="val 60000"/>
            <a:gd name="adj2" fmla="val 50000"/>
          </a:avLst>
        </a:prstGeom>
        <a:solidFill>
          <a:schemeClr val="accent5">
            <a:hueOff val="8106441"/>
            <a:satOff val="-7003"/>
            <a:lumOff val="-823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8106441"/>
              <a:satOff val="-7003"/>
              <a:lumOff val="-823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10456829" y="2768477"/>
        <a:ext cx="336218" cy="335313"/>
      </dsp:txXfrm>
    </dsp:sp>
    <dsp:sp modelId="{140C04D3-D480-4ACB-816E-A55FE29D1CDB}">
      <dsp:nvSpPr>
        <dsp:cNvPr id="0" name=""/>
        <dsp:cNvSpPr/>
      </dsp:nvSpPr>
      <dsp:spPr>
        <a:xfrm>
          <a:off x="9495175" y="3341574"/>
          <a:ext cx="2259525" cy="1355715"/>
        </a:xfrm>
        <a:prstGeom prst="roundRect">
          <a:avLst>
            <a:gd name="adj" fmla="val 10000"/>
          </a:avLst>
        </a:prstGeom>
        <a:solidFill>
          <a:schemeClr val="accent5">
            <a:hueOff val="9264504"/>
            <a:satOff val="-8003"/>
            <a:lumOff val="-941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9264504"/>
              <a:satOff val="-8003"/>
              <a:lumOff val="-941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Gold standard</a:t>
          </a:r>
        </a:p>
      </dsp:txBody>
      <dsp:txXfrm>
        <a:off x="9534883" y="3381282"/>
        <a:ext cx="2180109" cy="1276299"/>
      </dsp:txXfrm>
    </dsp:sp>
    <dsp:sp modelId="{BB14833A-86C4-4235-8A8B-4783160C44AD}">
      <dsp:nvSpPr>
        <dsp:cNvPr id="0" name=""/>
        <dsp:cNvSpPr/>
      </dsp:nvSpPr>
      <dsp:spPr>
        <a:xfrm rot="10800000">
          <a:off x="8817317" y="3739250"/>
          <a:ext cx="479019" cy="560362"/>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0808588"/>
              <a:satOff val="-9337"/>
              <a:lumOff val="-1097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8961023" y="3851322"/>
        <a:ext cx="335313" cy="336218"/>
      </dsp:txXfrm>
    </dsp:sp>
    <dsp:sp modelId="{A3D499A6-36D5-471B-BDE1-2080E7F6A1D1}">
      <dsp:nvSpPr>
        <dsp:cNvPr id="0" name=""/>
        <dsp:cNvSpPr/>
      </dsp:nvSpPr>
      <dsp:spPr>
        <a:xfrm>
          <a:off x="6331839" y="3341574"/>
          <a:ext cx="2259525" cy="1355715"/>
        </a:xfrm>
        <a:prstGeom prst="roundRect">
          <a:avLst>
            <a:gd name="adj" fmla="val 10000"/>
          </a:avLst>
        </a:prstGeom>
        <a:solidFill>
          <a:schemeClr val="accent5">
            <a:hueOff val="11580630"/>
            <a:satOff val="-10004"/>
            <a:lumOff val="-1176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1580630"/>
              <a:satOff val="-10004"/>
              <a:lumOff val="-1176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lastic</a:t>
          </a:r>
        </a:p>
      </dsp:txBody>
      <dsp:txXfrm>
        <a:off x="6371547" y="3381282"/>
        <a:ext cx="2180109" cy="1276299"/>
      </dsp:txXfrm>
    </dsp:sp>
    <dsp:sp modelId="{D6F3C003-E58C-466F-A246-5C8EC2C38067}">
      <dsp:nvSpPr>
        <dsp:cNvPr id="0" name=""/>
        <dsp:cNvSpPr/>
      </dsp:nvSpPr>
      <dsp:spPr>
        <a:xfrm rot="10800000">
          <a:off x="5653981" y="3739250"/>
          <a:ext cx="479019" cy="560362"/>
        </a:xfrm>
        <a:prstGeom prst="rightArrow">
          <a:avLst>
            <a:gd name="adj1" fmla="val 60000"/>
            <a:gd name="adj2" fmla="val 50000"/>
          </a:avLst>
        </a:prstGeom>
        <a:solidFill>
          <a:schemeClr val="accent5">
            <a:hueOff val="13510735"/>
            <a:satOff val="-11672"/>
            <a:lumOff val="-13723"/>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3510735"/>
              <a:satOff val="-11672"/>
              <a:lumOff val="-13723"/>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5797687" y="3851322"/>
        <a:ext cx="335313" cy="336218"/>
      </dsp:txXfrm>
    </dsp:sp>
    <dsp:sp modelId="{40B2B4F0-A222-4FFC-9EFE-FBDB0CB11142}">
      <dsp:nvSpPr>
        <dsp:cNvPr id="0" name=""/>
        <dsp:cNvSpPr/>
      </dsp:nvSpPr>
      <dsp:spPr>
        <a:xfrm>
          <a:off x="3168503" y="3341574"/>
          <a:ext cx="2259525" cy="1355715"/>
        </a:xfrm>
        <a:prstGeom prst="roundRect">
          <a:avLst>
            <a:gd name="adj" fmla="val 10000"/>
          </a:avLst>
        </a:prstGeom>
        <a:solidFill>
          <a:schemeClr val="accent5">
            <a:hueOff val="13896756"/>
            <a:satOff val="-12005"/>
            <a:lumOff val="-14115"/>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3896756"/>
              <a:satOff val="-12005"/>
              <a:lumOff val="-14115"/>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Electronic</a:t>
          </a:r>
        </a:p>
        <a:p>
          <a:pPr marL="0" lvl="0" indent="0" algn="ctr" defTabSz="800100">
            <a:lnSpc>
              <a:spcPct val="90000"/>
            </a:lnSpc>
            <a:spcBef>
              <a:spcPct val="0"/>
            </a:spcBef>
            <a:spcAft>
              <a:spcPct val="35000"/>
            </a:spcAft>
            <a:buNone/>
          </a:pPr>
          <a:r>
            <a:rPr lang="en-US" sz="1800" kern="1200" dirty="0"/>
            <a:t>Banking</a:t>
          </a:r>
        </a:p>
        <a:p>
          <a:pPr marL="0" lvl="0" indent="0" algn="ctr" defTabSz="800100">
            <a:lnSpc>
              <a:spcPct val="90000"/>
            </a:lnSpc>
            <a:spcBef>
              <a:spcPct val="0"/>
            </a:spcBef>
            <a:spcAft>
              <a:spcPct val="35000"/>
            </a:spcAft>
            <a:buNone/>
          </a:pPr>
          <a:r>
            <a:rPr lang="en-US" sz="1800" kern="1200" dirty="0" err="1"/>
            <a:t>Paypal</a:t>
          </a:r>
          <a:endParaRPr lang="en-US" sz="1800" kern="1200" dirty="0"/>
        </a:p>
      </dsp:txBody>
      <dsp:txXfrm>
        <a:off x="3208211" y="3381282"/>
        <a:ext cx="2180109" cy="1276299"/>
      </dsp:txXfrm>
    </dsp:sp>
    <dsp:sp modelId="{ECC04854-5AA0-4576-8448-5792D8E63F31}">
      <dsp:nvSpPr>
        <dsp:cNvPr id="0" name=""/>
        <dsp:cNvSpPr/>
      </dsp:nvSpPr>
      <dsp:spPr>
        <a:xfrm rot="10800000">
          <a:off x="2490646" y="3739250"/>
          <a:ext cx="479019" cy="560362"/>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2634352" y="3851322"/>
        <a:ext cx="335313" cy="336218"/>
      </dsp:txXfrm>
    </dsp:sp>
    <dsp:sp modelId="{771D2D64-4966-4893-936A-E0F0C9D4C238}">
      <dsp:nvSpPr>
        <dsp:cNvPr id="0" name=""/>
        <dsp:cNvSpPr/>
      </dsp:nvSpPr>
      <dsp:spPr>
        <a:xfrm>
          <a:off x="5167" y="3341574"/>
          <a:ext cx="2259525" cy="1355715"/>
        </a:xfrm>
        <a:prstGeom prst="roundRect">
          <a:avLst>
            <a:gd name="adj" fmla="val 1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rypto</a:t>
          </a:r>
        </a:p>
      </dsp:txBody>
      <dsp:txXfrm>
        <a:off x="44875" y="3381282"/>
        <a:ext cx="2180109" cy="127629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3D372-30CC-43D2-BC52-CB93CF9645E8}">
      <dsp:nvSpPr>
        <dsp:cNvPr id="0" name=""/>
        <dsp:cNvSpPr/>
      </dsp:nvSpPr>
      <dsp:spPr>
        <a:xfrm>
          <a:off x="4209193" y="2303944"/>
          <a:ext cx="1730500" cy="1787924"/>
        </a:xfrm>
        <a:prstGeom prst="ellipse">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Bitcoin - Cryptocurrency</a:t>
          </a:r>
        </a:p>
      </dsp:txBody>
      <dsp:txXfrm>
        <a:off x="4462619" y="2565779"/>
        <a:ext cx="1223648" cy="1264254"/>
      </dsp:txXfrm>
    </dsp:sp>
    <dsp:sp modelId="{DD3D0358-1293-46C5-891D-18B2CC9CC8E0}">
      <dsp:nvSpPr>
        <dsp:cNvPr id="0" name=""/>
        <dsp:cNvSpPr/>
      </dsp:nvSpPr>
      <dsp:spPr>
        <a:xfrm rot="16200000">
          <a:off x="4687344" y="1452853"/>
          <a:ext cx="774197" cy="631040"/>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4782000" y="1673717"/>
        <a:ext cx="584885" cy="378624"/>
      </dsp:txXfrm>
    </dsp:sp>
    <dsp:sp modelId="{A426699B-ADF5-4066-85DE-CB944486EC4F}">
      <dsp:nvSpPr>
        <dsp:cNvPr id="0" name=""/>
        <dsp:cNvSpPr/>
      </dsp:nvSpPr>
      <dsp:spPr>
        <a:xfrm>
          <a:off x="4377861" y="-99525"/>
          <a:ext cx="1393164" cy="1299200"/>
        </a:xfrm>
        <a:prstGeom prst="ellipse">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Currency</a:t>
          </a:r>
        </a:p>
      </dsp:txBody>
      <dsp:txXfrm>
        <a:off x="4581885" y="90738"/>
        <a:ext cx="985116" cy="918674"/>
      </dsp:txXfrm>
    </dsp:sp>
    <dsp:sp modelId="{3F5E5C1E-F323-4ACB-8F14-46D1965F15F7}">
      <dsp:nvSpPr>
        <dsp:cNvPr id="0" name=""/>
        <dsp:cNvSpPr/>
      </dsp:nvSpPr>
      <dsp:spPr>
        <a:xfrm rot="18000000">
          <a:off x="5398756" y="1652252"/>
          <a:ext cx="771810" cy="631040"/>
        </a:xfrm>
        <a:prstGeom prst="rightArrow">
          <a:avLst>
            <a:gd name="adj1" fmla="val 60000"/>
            <a:gd name="adj2" fmla="val 50000"/>
          </a:avLst>
        </a:prstGeom>
        <a:solidFill>
          <a:schemeClr val="accent5">
            <a:hueOff val="1473898"/>
            <a:satOff val="-1273"/>
            <a:lumOff val="-149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5446084" y="1860435"/>
        <a:ext cx="582498" cy="378624"/>
      </dsp:txXfrm>
    </dsp:sp>
    <dsp:sp modelId="{91FF300D-1889-4E63-947B-4FA763FA9770}">
      <dsp:nvSpPr>
        <dsp:cNvPr id="0" name=""/>
        <dsp:cNvSpPr/>
      </dsp:nvSpPr>
      <dsp:spPr>
        <a:xfrm>
          <a:off x="5701777" y="255217"/>
          <a:ext cx="1393164" cy="1299200"/>
        </a:xfrm>
        <a:prstGeom prst="ellipse">
          <a:avLst/>
        </a:prstGeom>
        <a:solidFill>
          <a:schemeClr val="accent5">
            <a:hueOff val="1473898"/>
            <a:satOff val="-1273"/>
            <a:lumOff val="-149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Digital Cash</a:t>
          </a:r>
        </a:p>
      </dsp:txBody>
      <dsp:txXfrm>
        <a:off x="5905801" y="445480"/>
        <a:ext cx="985116" cy="918674"/>
      </dsp:txXfrm>
    </dsp:sp>
    <dsp:sp modelId="{2B01D8B1-EEF0-4B98-B93E-794E8C7FB56D}">
      <dsp:nvSpPr>
        <dsp:cNvPr id="0" name=""/>
        <dsp:cNvSpPr/>
      </dsp:nvSpPr>
      <dsp:spPr>
        <a:xfrm rot="19800000">
          <a:off x="5905614" y="2181547"/>
          <a:ext cx="765438" cy="631040"/>
        </a:xfrm>
        <a:prstGeom prst="rightArrow">
          <a:avLst>
            <a:gd name="adj1" fmla="val 60000"/>
            <a:gd name="adj2" fmla="val 50000"/>
          </a:avLst>
        </a:prstGeom>
        <a:solidFill>
          <a:schemeClr val="accent5">
            <a:hueOff val="2947797"/>
            <a:satOff val="-2547"/>
            <a:lumOff val="-299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5918295" y="2355083"/>
        <a:ext cx="576126" cy="378624"/>
      </dsp:txXfrm>
    </dsp:sp>
    <dsp:sp modelId="{D688AA2D-FC0F-4915-B3BA-ACF104CA6417}">
      <dsp:nvSpPr>
        <dsp:cNvPr id="0" name=""/>
        <dsp:cNvSpPr/>
      </dsp:nvSpPr>
      <dsp:spPr>
        <a:xfrm>
          <a:off x="6670951" y="1224390"/>
          <a:ext cx="1393164" cy="1299200"/>
        </a:xfrm>
        <a:prstGeom prst="ellipse">
          <a:avLst/>
        </a:prstGeom>
        <a:solidFill>
          <a:schemeClr val="accent5">
            <a:hueOff val="2947797"/>
            <a:satOff val="-2547"/>
            <a:lumOff val="-299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Digital Asset</a:t>
          </a:r>
        </a:p>
      </dsp:txBody>
      <dsp:txXfrm>
        <a:off x="6874975" y="1414653"/>
        <a:ext cx="985116" cy="918674"/>
      </dsp:txXfrm>
    </dsp:sp>
    <dsp:sp modelId="{25FE0500-914D-4D39-AD23-5ED91CD4A0CD}">
      <dsp:nvSpPr>
        <dsp:cNvPr id="0" name=""/>
        <dsp:cNvSpPr/>
      </dsp:nvSpPr>
      <dsp:spPr>
        <a:xfrm>
          <a:off x="6085709" y="2882386"/>
          <a:ext cx="761388" cy="631040"/>
        </a:xfrm>
        <a:prstGeom prst="rightArrow">
          <a:avLst>
            <a:gd name="adj1" fmla="val 60000"/>
            <a:gd name="adj2" fmla="val 50000"/>
          </a:avLst>
        </a:prstGeom>
        <a:solidFill>
          <a:schemeClr val="accent5">
            <a:hueOff val="4421695"/>
            <a:satOff val="-3820"/>
            <a:lumOff val="-449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6085709" y="3008594"/>
        <a:ext cx="572076" cy="378624"/>
      </dsp:txXfrm>
    </dsp:sp>
    <dsp:sp modelId="{64A581B0-05AB-48C2-BB3B-8B11A23F31B5}">
      <dsp:nvSpPr>
        <dsp:cNvPr id="0" name=""/>
        <dsp:cNvSpPr/>
      </dsp:nvSpPr>
      <dsp:spPr>
        <a:xfrm>
          <a:off x="7025693" y="2548306"/>
          <a:ext cx="1393164" cy="1299200"/>
        </a:xfrm>
        <a:prstGeom prst="ellipse">
          <a:avLst/>
        </a:prstGeom>
        <a:solidFill>
          <a:schemeClr val="accent5">
            <a:hueOff val="4421695"/>
            <a:satOff val="-3820"/>
            <a:lumOff val="-449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Investment</a:t>
          </a:r>
        </a:p>
      </dsp:txBody>
      <dsp:txXfrm>
        <a:off x="7229717" y="2738569"/>
        <a:ext cx="985116" cy="918674"/>
      </dsp:txXfrm>
    </dsp:sp>
    <dsp:sp modelId="{F8D41C97-644F-4E70-82C0-043424C0D784}">
      <dsp:nvSpPr>
        <dsp:cNvPr id="0" name=""/>
        <dsp:cNvSpPr/>
      </dsp:nvSpPr>
      <dsp:spPr>
        <a:xfrm rot="1800000">
          <a:off x="5905614" y="3583226"/>
          <a:ext cx="765438" cy="631040"/>
        </a:xfrm>
        <a:prstGeom prst="rightArrow">
          <a:avLst>
            <a:gd name="adj1" fmla="val 60000"/>
            <a:gd name="adj2" fmla="val 50000"/>
          </a:avLst>
        </a:prstGeom>
        <a:solidFill>
          <a:schemeClr val="accent5">
            <a:hueOff val="5895593"/>
            <a:satOff val="-5093"/>
            <a:lumOff val="-598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5918295" y="3662106"/>
        <a:ext cx="576126" cy="378624"/>
      </dsp:txXfrm>
    </dsp:sp>
    <dsp:sp modelId="{97310E23-07B1-4197-86D8-E57DD601BEAC}">
      <dsp:nvSpPr>
        <dsp:cNvPr id="0" name=""/>
        <dsp:cNvSpPr/>
      </dsp:nvSpPr>
      <dsp:spPr>
        <a:xfrm>
          <a:off x="6670951" y="3872223"/>
          <a:ext cx="1393164" cy="1299200"/>
        </a:xfrm>
        <a:prstGeom prst="ellipse">
          <a:avLst/>
        </a:prstGeom>
        <a:solidFill>
          <a:schemeClr val="accent5">
            <a:hueOff val="5895593"/>
            <a:satOff val="-5093"/>
            <a:lumOff val="-598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Security</a:t>
          </a:r>
        </a:p>
      </dsp:txBody>
      <dsp:txXfrm>
        <a:off x="6874975" y="4062486"/>
        <a:ext cx="985116" cy="918674"/>
      </dsp:txXfrm>
    </dsp:sp>
    <dsp:sp modelId="{3AF7A5DB-AEFF-4456-8BA2-D37581A13EB9}">
      <dsp:nvSpPr>
        <dsp:cNvPr id="0" name=""/>
        <dsp:cNvSpPr/>
      </dsp:nvSpPr>
      <dsp:spPr>
        <a:xfrm rot="3600000">
          <a:off x="5398756" y="4112521"/>
          <a:ext cx="771810" cy="631040"/>
        </a:xfrm>
        <a:prstGeom prst="rightArrow">
          <a:avLst>
            <a:gd name="adj1" fmla="val 60000"/>
            <a:gd name="adj2" fmla="val 50000"/>
          </a:avLst>
        </a:prstGeom>
        <a:solidFill>
          <a:schemeClr val="accent5">
            <a:hueOff val="7369492"/>
            <a:satOff val="-6366"/>
            <a:lumOff val="-7485"/>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5446084" y="4156754"/>
        <a:ext cx="582498" cy="378624"/>
      </dsp:txXfrm>
    </dsp:sp>
    <dsp:sp modelId="{8A0A5109-871B-4D26-8705-7B76034F1255}">
      <dsp:nvSpPr>
        <dsp:cNvPr id="0" name=""/>
        <dsp:cNvSpPr/>
      </dsp:nvSpPr>
      <dsp:spPr>
        <a:xfrm>
          <a:off x="5701777" y="4841396"/>
          <a:ext cx="1393164" cy="1299200"/>
        </a:xfrm>
        <a:prstGeom prst="ellipse">
          <a:avLst/>
        </a:prstGeom>
        <a:solidFill>
          <a:schemeClr val="accent5">
            <a:hueOff val="7369492"/>
            <a:satOff val="-6366"/>
            <a:lumOff val="-7485"/>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Commodity</a:t>
          </a:r>
        </a:p>
      </dsp:txBody>
      <dsp:txXfrm>
        <a:off x="5905801" y="5031659"/>
        <a:ext cx="985116" cy="918674"/>
      </dsp:txXfrm>
    </dsp:sp>
    <dsp:sp modelId="{3EA27E8B-A167-4E9E-93F5-5AF867B7514C}">
      <dsp:nvSpPr>
        <dsp:cNvPr id="0" name=""/>
        <dsp:cNvSpPr/>
      </dsp:nvSpPr>
      <dsp:spPr>
        <a:xfrm rot="5400000">
          <a:off x="4687344" y="4311919"/>
          <a:ext cx="774197" cy="631040"/>
        </a:xfrm>
        <a:prstGeom prst="rightArrow">
          <a:avLst>
            <a:gd name="adj1" fmla="val 60000"/>
            <a:gd name="adj2" fmla="val 50000"/>
          </a:avLst>
        </a:prstGeom>
        <a:solidFill>
          <a:schemeClr val="accent5">
            <a:hueOff val="8843390"/>
            <a:satOff val="-7640"/>
            <a:lumOff val="-8983"/>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a:off x="4782000" y="4343471"/>
        <a:ext cx="584885" cy="378624"/>
      </dsp:txXfrm>
    </dsp:sp>
    <dsp:sp modelId="{1249A97D-1E7E-4697-ACF2-2454E1BE6D80}">
      <dsp:nvSpPr>
        <dsp:cNvPr id="0" name=""/>
        <dsp:cNvSpPr/>
      </dsp:nvSpPr>
      <dsp:spPr>
        <a:xfrm>
          <a:off x="4377861" y="5196139"/>
          <a:ext cx="1393164" cy="1299200"/>
        </a:xfrm>
        <a:prstGeom prst="ellipse">
          <a:avLst/>
        </a:prstGeom>
        <a:solidFill>
          <a:schemeClr val="accent5">
            <a:hueOff val="8843390"/>
            <a:satOff val="-7640"/>
            <a:lumOff val="-8983"/>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Property</a:t>
          </a:r>
        </a:p>
      </dsp:txBody>
      <dsp:txXfrm>
        <a:off x="4581885" y="5386402"/>
        <a:ext cx="985116" cy="918674"/>
      </dsp:txXfrm>
    </dsp:sp>
    <dsp:sp modelId="{D51CECD3-5FA5-40FE-9AA1-0DE2CF7AC2B5}">
      <dsp:nvSpPr>
        <dsp:cNvPr id="0" name=""/>
        <dsp:cNvSpPr/>
      </dsp:nvSpPr>
      <dsp:spPr>
        <a:xfrm rot="7200000">
          <a:off x="3978319" y="4112521"/>
          <a:ext cx="771810" cy="631040"/>
        </a:xfrm>
        <a:prstGeom prst="rightArrow">
          <a:avLst>
            <a:gd name="adj1" fmla="val 60000"/>
            <a:gd name="adj2" fmla="val 50000"/>
          </a:avLst>
        </a:prstGeom>
        <a:solidFill>
          <a:schemeClr val="accent5">
            <a:hueOff val="10317288"/>
            <a:satOff val="-8913"/>
            <a:lumOff val="-1048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latin typeface="Calibri" panose="020F0502020204030204" pitchFamily="34" charset="0"/>
          </a:endParaRPr>
        </a:p>
      </dsp:txBody>
      <dsp:txXfrm rot="10800000">
        <a:off x="4120303" y="4156754"/>
        <a:ext cx="582498" cy="378624"/>
      </dsp:txXfrm>
    </dsp:sp>
    <dsp:sp modelId="{C18D5D2D-8BAB-4FD7-8642-69E153A679C0}">
      <dsp:nvSpPr>
        <dsp:cNvPr id="0" name=""/>
        <dsp:cNvSpPr/>
      </dsp:nvSpPr>
      <dsp:spPr>
        <a:xfrm>
          <a:off x="3053945" y="4841396"/>
          <a:ext cx="1393164" cy="1299200"/>
        </a:xfrm>
        <a:prstGeom prst="ellipse">
          <a:avLst/>
        </a:prstGeom>
        <a:solidFill>
          <a:schemeClr val="accent5">
            <a:hueOff val="10317288"/>
            <a:satOff val="-8913"/>
            <a:lumOff val="-1048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Digital Currency</a:t>
          </a:r>
        </a:p>
      </dsp:txBody>
      <dsp:txXfrm>
        <a:off x="3257969" y="5031659"/>
        <a:ext cx="985116" cy="918674"/>
      </dsp:txXfrm>
    </dsp:sp>
    <dsp:sp modelId="{AD285C86-99EF-4EE0-8A3D-A4E6DBC0D694}">
      <dsp:nvSpPr>
        <dsp:cNvPr id="0" name=""/>
        <dsp:cNvSpPr/>
      </dsp:nvSpPr>
      <dsp:spPr>
        <a:xfrm rot="9000000">
          <a:off x="3477833" y="3583226"/>
          <a:ext cx="765438" cy="631040"/>
        </a:xfrm>
        <a:prstGeom prst="rightArrow">
          <a:avLst>
            <a:gd name="adj1" fmla="val 60000"/>
            <a:gd name="adj2" fmla="val 50000"/>
          </a:avLst>
        </a:prstGeom>
        <a:solidFill>
          <a:schemeClr val="accent5">
            <a:hueOff val="11791187"/>
            <a:satOff val="-10186"/>
            <a:lumOff val="-1197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rot="10800000">
        <a:off x="3654464" y="3662106"/>
        <a:ext cx="576126" cy="378624"/>
      </dsp:txXfrm>
    </dsp:sp>
    <dsp:sp modelId="{4A46AD7A-02D7-4646-8781-023F6EAB0198}">
      <dsp:nvSpPr>
        <dsp:cNvPr id="0" name=""/>
        <dsp:cNvSpPr/>
      </dsp:nvSpPr>
      <dsp:spPr>
        <a:xfrm>
          <a:off x="2084771" y="3872223"/>
          <a:ext cx="1393164" cy="1299200"/>
        </a:xfrm>
        <a:prstGeom prst="ellipse">
          <a:avLst/>
        </a:prstGeom>
        <a:solidFill>
          <a:schemeClr val="accent5">
            <a:hueOff val="11791187"/>
            <a:satOff val="-10186"/>
            <a:lumOff val="-1197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Hobby</a:t>
          </a:r>
        </a:p>
      </dsp:txBody>
      <dsp:txXfrm>
        <a:off x="2288795" y="4062486"/>
        <a:ext cx="985116" cy="918674"/>
      </dsp:txXfrm>
    </dsp:sp>
    <dsp:sp modelId="{DCF5213E-A2FE-4272-A4D2-4DB13EB4CC5E}">
      <dsp:nvSpPr>
        <dsp:cNvPr id="0" name=""/>
        <dsp:cNvSpPr/>
      </dsp:nvSpPr>
      <dsp:spPr>
        <a:xfrm rot="10800000">
          <a:off x="3301789" y="2882386"/>
          <a:ext cx="761388" cy="631040"/>
        </a:xfrm>
        <a:prstGeom prst="rightArrow">
          <a:avLst>
            <a:gd name="adj1" fmla="val 60000"/>
            <a:gd name="adj2" fmla="val 50000"/>
          </a:avLst>
        </a:prstGeom>
        <a:solidFill>
          <a:schemeClr val="accent5">
            <a:hueOff val="13265085"/>
            <a:satOff val="-11459"/>
            <a:lumOff val="-1347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rot="10800000">
        <a:off x="3491101" y="3008594"/>
        <a:ext cx="572076" cy="378624"/>
      </dsp:txXfrm>
    </dsp:sp>
    <dsp:sp modelId="{3AFBC3A6-EDF9-4A27-AD82-9739EE337C38}">
      <dsp:nvSpPr>
        <dsp:cNvPr id="0" name=""/>
        <dsp:cNvSpPr/>
      </dsp:nvSpPr>
      <dsp:spPr>
        <a:xfrm>
          <a:off x="1730029" y="2548306"/>
          <a:ext cx="1393164" cy="1299200"/>
        </a:xfrm>
        <a:prstGeom prst="ellipse">
          <a:avLst/>
        </a:prstGeom>
        <a:solidFill>
          <a:schemeClr val="accent5">
            <a:hueOff val="13265085"/>
            <a:satOff val="-11459"/>
            <a:lumOff val="-1347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Famous use of </a:t>
          </a:r>
          <a:r>
            <a:rPr lang="en-US" sz="1400" b="1" kern="1200" dirty="0" err="1">
              <a:latin typeface="Calibri" panose="020F0502020204030204" pitchFamily="34" charset="0"/>
            </a:rPr>
            <a:t>blockchain</a:t>
          </a:r>
          <a:endParaRPr lang="en-US" sz="1400" b="1" kern="1200" dirty="0">
            <a:latin typeface="Calibri" panose="020F0502020204030204" pitchFamily="34" charset="0"/>
          </a:endParaRPr>
        </a:p>
      </dsp:txBody>
      <dsp:txXfrm>
        <a:off x="1934053" y="2738569"/>
        <a:ext cx="985116" cy="918674"/>
      </dsp:txXfrm>
    </dsp:sp>
    <dsp:sp modelId="{58FDE759-4D53-43AE-B42D-8BB0EBAD8914}">
      <dsp:nvSpPr>
        <dsp:cNvPr id="0" name=""/>
        <dsp:cNvSpPr/>
      </dsp:nvSpPr>
      <dsp:spPr>
        <a:xfrm rot="12600000">
          <a:off x="3463479" y="2203150"/>
          <a:ext cx="662009" cy="511543"/>
        </a:xfrm>
        <a:prstGeom prst="rightArrow">
          <a:avLst>
            <a:gd name="adj1" fmla="val 60000"/>
            <a:gd name="adj2" fmla="val 50000"/>
          </a:avLst>
        </a:prstGeom>
        <a:solidFill>
          <a:schemeClr val="accent5">
            <a:hueOff val="14738983"/>
            <a:satOff val="-12733"/>
            <a:lumOff val="-1497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606662" y="2343825"/>
        <a:ext cx="508546" cy="306925"/>
      </dsp:txXfrm>
    </dsp:sp>
    <dsp:sp modelId="{4E72A130-DD15-48C6-B4A3-7EF2061DD2D7}">
      <dsp:nvSpPr>
        <dsp:cNvPr id="0" name=""/>
        <dsp:cNvSpPr/>
      </dsp:nvSpPr>
      <dsp:spPr>
        <a:xfrm>
          <a:off x="2254764" y="1347402"/>
          <a:ext cx="1053177" cy="1053177"/>
        </a:xfrm>
        <a:prstGeom prst="ellipse">
          <a:avLst/>
        </a:prstGeom>
        <a:solidFill>
          <a:schemeClr val="accent5">
            <a:hueOff val="14738983"/>
            <a:satOff val="-12733"/>
            <a:lumOff val="-1497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Protocol</a:t>
          </a:r>
        </a:p>
      </dsp:txBody>
      <dsp:txXfrm>
        <a:off x="2408998" y="1501636"/>
        <a:ext cx="744709" cy="744709"/>
      </dsp:txXfrm>
    </dsp:sp>
    <dsp:sp modelId="{0A08BE8D-CA11-40BC-9938-E1054833D514}">
      <dsp:nvSpPr>
        <dsp:cNvPr id="0" name=""/>
        <dsp:cNvSpPr/>
      </dsp:nvSpPr>
      <dsp:spPr>
        <a:xfrm rot="14400000">
          <a:off x="4004561" y="1655776"/>
          <a:ext cx="654404" cy="511543"/>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4119658" y="1824536"/>
        <a:ext cx="500941" cy="306925"/>
      </dsp:txXfrm>
    </dsp:sp>
    <dsp:sp modelId="{4A735271-A3BC-45B7-AADC-A9CC02BC33D2}">
      <dsp:nvSpPr>
        <dsp:cNvPr id="0" name=""/>
        <dsp:cNvSpPr/>
      </dsp:nvSpPr>
      <dsp:spPr>
        <a:xfrm>
          <a:off x="3223938" y="378228"/>
          <a:ext cx="1053177" cy="1053177"/>
        </a:xfrm>
        <a:prstGeom prst="ellipse">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Calibri" panose="020F0502020204030204" pitchFamily="34" charset="0"/>
            </a:rPr>
            <a:t>Network</a:t>
          </a:r>
        </a:p>
      </dsp:txBody>
      <dsp:txXfrm>
        <a:off x="3378172" y="532462"/>
        <a:ext cx="744709" cy="74470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7DCCAB-3536-4DCF-80AE-5B6A3A3BD7B2}">
      <dsp:nvSpPr>
        <dsp:cNvPr id="0" name=""/>
        <dsp:cNvSpPr/>
      </dsp:nvSpPr>
      <dsp:spPr>
        <a:xfrm>
          <a:off x="4083" y="99274"/>
          <a:ext cx="2211109" cy="1326665"/>
        </a:xfrm>
        <a:prstGeom prst="rect">
          <a:avLst/>
        </a:prstGeom>
        <a:solidFill>
          <a:schemeClr val="accent5">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Open</a:t>
          </a:r>
        </a:p>
      </dsp:txBody>
      <dsp:txXfrm>
        <a:off x="4083" y="99274"/>
        <a:ext cx="2211109" cy="1326665"/>
      </dsp:txXfrm>
    </dsp:sp>
    <dsp:sp modelId="{2A203B84-8677-434F-8547-3237664EA48F}">
      <dsp:nvSpPr>
        <dsp:cNvPr id="0" name=""/>
        <dsp:cNvSpPr/>
      </dsp:nvSpPr>
      <dsp:spPr>
        <a:xfrm>
          <a:off x="2436304" y="99274"/>
          <a:ext cx="2211109" cy="1326665"/>
        </a:xfrm>
        <a:prstGeom prst="rect">
          <a:avLst/>
        </a:prstGeom>
        <a:solidFill>
          <a:schemeClr val="accent5">
            <a:hueOff val="1158063"/>
            <a:satOff val="-1000"/>
            <a:lumOff val="-1176"/>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Fast</a:t>
          </a:r>
        </a:p>
      </dsp:txBody>
      <dsp:txXfrm>
        <a:off x="2436304" y="99274"/>
        <a:ext cx="2211109" cy="1326665"/>
      </dsp:txXfrm>
    </dsp:sp>
    <dsp:sp modelId="{751B289A-F6C6-490C-AD7E-D6F0676A4BD9}">
      <dsp:nvSpPr>
        <dsp:cNvPr id="0" name=""/>
        <dsp:cNvSpPr/>
      </dsp:nvSpPr>
      <dsp:spPr>
        <a:xfrm>
          <a:off x="4868524" y="99274"/>
          <a:ext cx="2211109" cy="1326665"/>
        </a:xfrm>
        <a:prstGeom prst="rect">
          <a:avLst/>
        </a:prstGeom>
        <a:solidFill>
          <a:schemeClr val="accent5">
            <a:hueOff val="2316126"/>
            <a:satOff val="-2001"/>
            <a:lumOff val="-2353"/>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Permissionless</a:t>
          </a:r>
        </a:p>
      </dsp:txBody>
      <dsp:txXfrm>
        <a:off x="4868524" y="99274"/>
        <a:ext cx="2211109" cy="1326665"/>
      </dsp:txXfrm>
    </dsp:sp>
    <dsp:sp modelId="{CC4D85AC-AD6C-4F23-BB0B-82C581A0CD06}">
      <dsp:nvSpPr>
        <dsp:cNvPr id="0" name=""/>
        <dsp:cNvSpPr/>
      </dsp:nvSpPr>
      <dsp:spPr>
        <a:xfrm>
          <a:off x="7300745" y="99274"/>
          <a:ext cx="2211109" cy="1326665"/>
        </a:xfrm>
        <a:prstGeom prst="rect">
          <a:avLst/>
        </a:prstGeom>
        <a:solidFill>
          <a:schemeClr val="accent5">
            <a:hueOff val="3474189"/>
            <a:satOff val="-3001"/>
            <a:lumOff val="-3529"/>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Pseudonymous</a:t>
          </a:r>
        </a:p>
      </dsp:txBody>
      <dsp:txXfrm>
        <a:off x="7300745" y="99274"/>
        <a:ext cx="2211109" cy="1326665"/>
      </dsp:txXfrm>
    </dsp:sp>
    <dsp:sp modelId="{4ACCA183-4D45-43CA-B97E-0372EE2AEE3A}">
      <dsp:nvSpPr>
        <dsp:cNvPr id="0" name=""/>
        <dsp:cNvSpPr/>
      </dsp:nvSpPr>
      <dsp:spPr>
        <a:xfrm>
          <a:off x="9732965" y="99274"/>
          <a:ext cx="2211109" cy="1326665"/>
        </a:xfrm>
        <a:prstGeom prst="rect">
          <a:avLst/>
        </a:prstGeom>
        <a:solidFill>
          <a:schemeClr val="accent5">
            <a:hueOff val="4632252"/>
            <a:satOff val="-4002"/>
            <a:lumOff val="-4705"/>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Secured by cryptography</a:t>
          </a:r>
        </a:p>
      </dsp:txBody>
      <dsp:txXfrm>
        <a:off x="9732965" y="99274"/>
        <a:ext cx="2211109" cy="1326665"/>
      </dsp:txXfrm>
    </dsp:sp>
    <dsp:sp modelId="{9E410226-092C-4CC5-8B42-7E05BEF52265}">
      <dsp:nvSpPr>
        <dsp:cNvPr id="0" name=""/>
        <dsp:cNvSpPr/>
      </dsp:nvSpPr>
      <dsp:spPr>
        <a:xfrm>
          <a:off x="4083" y="1647051"/>
          <a:ext cx="2211109" cy="1326665"/>
        </a:xfrm>
        <a:prstGeom prst="rect">
          <a:avLst/>
        </a:prstGeom>
        <a:solidFill>
          <a:schemeClr val="accent5">
            <a:hueOff val="5790315"/>
            <a:satOff val="-5002"/>
            <a:lumOff val="-5881"/>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Recorded on the public </a:t>
          </a:r>
          <a:r>
            <a:rPr lang="en-US" sz="2200" kern="1200" dirty="0" err="1">
              <a:solidFill>
                <a:srgbClr val="FFFFFF"/>
              </a:solidFill>
            </a:rPr>
            <a:t>blockchain</a:t>
          </a:r>
          <a:r>
            <a:rPr lang="en-US" sz="2200" kern="1200" dirty="0">
              <a:solidFill>
                <a:srgbClr val="FFFFFF"/>
              </a:solidFill>
            </a:rPr>
            <a:t>, </a:t>
          </a:r>
          <a:r>
            <a:rPr lang="en-US" sz="2200" kern="1200" dirty="0" err="1">
              <a:solidFill>
                <a:srgbClr val="FFFFFF"/>
              </a:solidFill>
            </a:rPr>
            <a:t>tracebility</a:t>
          </a:r>
          <a:endParaRPr lang="en-US" sz="2200" kern="1200" dirty="0">
            <a:solidFill>
              <a:srgbClr val="FFFFFF"/>
            </a:solidFill>
          </a:endParaRPr>
        </a:p>
      </dsp:txBody>
      <dsp:txXfrm>
        <a:off x="4083" y="1647051"/>
        <a:ext cx="2211109" cy="1326665"/>
      </dsp:txXfrm>
    </dsp:sp>
    <dsp:sp modelId="{D49EC2BA-DE2C-4481-A4B8-2D3250ADBEA8}">
      <dsp:nvSpPr>
        <dsp:cNvPr id="0" name=""/>
        <dsp:cNvSpPr/>
      </dsp:nvSpPr>
      <dsp:spPr>
        <a:xfrm>
          <a:off x="2436304" y="1647051"/>
          <a:ext cx="2211109" cy="1326665"/>
        </a:xfrm>
        <a:prstGeom prst="rect">
          <a:avLst/>
        </a:prstGeom>
        <a:solidFill>
          <a:schemeClr val="accent5">
            <a:hueOff val="6948378"/>
            <a:satOff val="-6003"/>
            <a:lumOff val="-7058"/>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err="1">
              <a:solidFill>
                <a:srgbClr val="FFFFFF"/>
              </a:solidFill>
            </a:rPr>
            <a:t>Fungibile</a:t>
          </a:r>
          <a:r>
            <a:rPr lang="en-US" sz="2200" kern="1200" dirty="0">
              <a:solidFill>
                <a:srgbClr val="FFFFFF"/>
              </a:solidFill>
            </a:rPr>
            <a:t> (?)</a:t>
          </a:r>
        </a:p>
      </dsp:txBody>
      <dsp:txXfrm>
        <a:off x="2436304" y="1647051"/>
        <a:ext cx="2211109" cy="1326665"/>
      </dsp:txXfrm>
    </dsp:sp>
    <dsp:sp modelId="{4D23E3CC-9D68-4BE7-A84D-8D06E43D1ACF}">
      <dsp:nvSpPr>
        <dsp:cNvPr id="0" name=""/>
        <dsp:cNvSpPr/>
      </dsp:nvSpPr>
      <dsp:spPr>
        <a:xfrm>
          <a:off x="4868524" y="1647051"/>
          <a:ext cx="2211109" cy="1326665"/>
        </a:xfrm>
        <a:prstGeom prst="rect">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Global</a:t>
          </a:r>
        </a:p>
      </dsp:txBody>
      <dsp:txXfrm>
        <a:off x="4868524" y="1647051"/>
        <a:ext cx="2211109" cy="1326665"/>
      </dsp:txXfrm>
    </dsp:sp>
    <dsp:sp modelId="{47C986D9-7F24-475A-B74C-3472315A6BD8}">
      <dsp:nvSpPr>
        <dsp:cNvPr id="0" name=""/>
        <dsp:cNvSpPr/>
      </dsp:nvSpPr>
      <dsp:spPr>
        <a:xfrm>
          <a:off x="7300745" y="1647051"/>
          <a:ext cx="2211109" cy="1326665"/>
        </a:xfrm>
        <a:prstGeom prst="rect">
          <a:avLst/>
        </a:prstGeom>
        <a:solidFill>
          <a:schemeClr val="accent5">
            <a:hueOff val="9264504"/>
            <a:satOff val="-8003"/>
            <a:lumOff val="-941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Decentralized</a:t>
          </a:r>
        </a:p>
      </dsp:txBody>
      <dsp:txXfrm>
        <a:off x="7300745" y="1647051"/>
        <a:ext cx="2211109" cy="1326665"/>
      </dsp:txXfrm>
    </dsp:sp>
    <dsp:sp modelId="{8AB7713E-9C89-4398-9B05-34ECD0842BD6}">
      <dsp:nvSpPr>
        <dsp:cNvPr id="0" name=""/>
        <dsp:cNvSpPr/>
      </dsp:nvSpPr>
      <dsp:spPr>
        <a:xfrm>
          <a:off x="9732965" y="1647051"/>
          <a:ext cx="2211109" cy="1326665"/>
        </a:xfrm>
        <a:prstGeom prst="rect">
          <a:avLst/>
        </a:prstGeom>
        <a:solidFill>
          <a:schemeClr val="accent5">
            <a:hueOff val="10422567"/>
            <a:satOff val="-9004"/>
            <a:lumOff val="-10587"/>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Peer-to-peer</a:t>
          </a:r>
        </a:p>
      </dsp:txBody>
      <dsp:txXfrm>
        <a:off x="9732965" y="1647051"/>
        <a:ext cx="2211109" cy="1326665"/>
      </dsp:txXfrm>
    </dsp:sp>
    <dsp:sp modelId="{E251E7F3-060C-49F6-9D69-AF65467D76CA}">
      <dsp:nvSpPr>
        <dsp:cNvPr id="0" name=""/>
        <dsp:cNvSpPr/>
      </dsp:nvSpPr>
      <dsp:spPr>
        <a:xfrm>
          <a:off x="4083" y="3194828"/>
          <a:ext cx="2211109" cy="1326665"/>
        </a:xfrm>
        <a:prstGeom prst="rect">
          <a:avLst/>
        </a:prstGeom>
        <a:solidFill>
          <a:schemeClr val="accent5">
            <a:hueOff val="11580630"/>
            <a:satOff val="-10004"/>
            <a:lumOff val="-11763"/>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Volatile (fiat)</a:t>
          </a:r>
        </a:p>
      </dsp:txBody>
      <dsp:txXfrm>
        <a:off x="4083" y="3194828"/>
        <a:ext cx="2211109" cy="1326665"/>
      </dsp:txXfrm>
    </dsp:sp>
    <dsp:sp modelId="{185A0A9F-F193-4283-9B8F-2420AF0083C4}">
      <dsp:nvSpPr>
        <dsp:cNvPr id="0" name=""/>
        <dsp:cNvSpPr/>
      </dsp:nvSpPr>
      <dsp:spPr>
        <a:xfrm>
          <a:off x="2436304" y="3194828"/>
          <a:ext cx="2211109" cy="1326665"/>
        </a:xfrm>
        <a:prstGeom prst="rect">
          <a:avLst/>
        </a:prstGeom>
        <a:solidFill>
          <a:schemeClr val="accent5">
            <a:hueOff val="12738692"/>
            <a:satOff val="-11005"/>
            <a:lumOff val="-12939"/>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Divisible</a:t>
          </a:r>
        </a:p>
      </dsp:txBody>
      <dsp:txXfrm>
        <a:off x="2436304" y="3194828"/>
        <a:ext cx="2211109" cy="1326665"/>
      </dsp:txXfrm>
    </dsp:sp>
    <dsp:sp modelId="{80580FEB-301B-473A-B84A-6CFE128393D4}">
      <dsp:nvSpPr>
        <dsp:cNvPr id="0" name=""/>
        <dsp:cNvSpPr/>
      </dsp:nvSpPr>
      <dsp:spPr>
        <a:xfrm>
          <a:off x="4868524" y="3194828"/>
          <a:ext cx="2211109" cy="1326665"/>
        </a:xfrm>
        <a:prstGeom prst="rect">
          <a:avLst/>
        </a:prstGeom>
        <a:solidFill>
          <a:schemeClr val="accent5">
            <a:hueOff val="13896756"/>
            <a:satOff val="-12005"/>
            <a:lumOff val="-14115"/>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Trustless</a:t>
          </a:r>
        </a:p>
      </dsp:txBody>
      <dsp:txXfrm>
        <a:off x="4868524" y="3194828"/>
        <a:ext cx="2211109" cy="1326665"/>
      </dsp:txXfrm>
    </dsp:sp>
    <dsp:sp modelId="{E03F517D-E31E-4817-BC35-66F5609C8AC6}">
      <dsp:nvSpPr>
        <dsp:cNvPr id="0" name=""/>
        <dsp:cNvSpPr/>
      </dsp:nvSpPr>
      <dsp:spPr>
        <a:xfrm>
          <a:off x="7300745" y="3194828"/>
          <a:ext cx="2211109" cy="1326665"/>
        </a:xfrm>
        <a:prstGeom prst="rect">
          <a:avLst/>
        </a:prstGeom>
        <a:solidFill>
          <a:schemeClr val="accent5">
            <a:hueOff val="15054818"/>
            <a:satOff val="-13006"/>
            <a:lumOff val="-15292"/>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No intermediary</a:t>
          </a:r>
        </a:p>
      </dsp:txBody>
      <dsp:txXfrm>
        <a:off x="7300745" y="3194828"/>
        <a:ext cx="2211109" cy="1326665"/>
      </dsp:txXfrm>
    </dsp:sp>
    <dsp:sp modelId="{A3C6C64E-50E9-4A04-8515-8EBB908AA254}">
      <dsp:nvSpPr>
        <dsp:cNvPr id="0" name=""/>
        <dsp:cNvSpPr/>
      </dsp:nvSpPr>
      <dsp:spPr>
        <a:xfrm>
          <a:off x="9732965" y="3194828"/>
          <a:ext cx="2211109" cy="1326665"/>
        </a:xfrm>
        <a:prstGeom prst="rect">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rgbClr val="FFFFFF"/>
              </a:solidFill>
            </a:rPr>
            <a:t>Limited supply</a:t>
          </a:r>
        </a:p>
      </dsp:txBody>
      <dsp:txXfrm>
        <a:off x="9732965" y="3194828"/>
        <a:ext cx="2211109" cy="132666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08931-62FF-4949-8AE6-D5F0D117C9BD}">
      <dsp:nvSpPr>
        <dsp:cNvPr id="0" name=""/>
        <dsp:cNvSpPr/>
      </dsp:nvSpPr>
      <dsp:spPr>
        <a:xfrm>
          <a:off x="261" y="904625"/>
          <a:ext cx="2088795" cy="1523369"/>
        </a:xfrm>
        <a:prstGeom prst="roundRect">
          <a:avLst>
            <a:gd name="adj" fmla="val 1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07 - </a:t>
          </a:r>
          <a:r>
            <a:rPr lang="en-US" sz="2000" kern="1200" dirty="0" err="1"/>
            <a:t>Nakamoto</a:t>
          </a:r>
          <a:r>
            <a:rPr lang="en-US" sz="2000" kern="1200" dirty="0"/>
            <a:t> begins work on bitcoin</a:t>
          </a:r>
        </a:p>
      </dsp:txBody>
      <dsp:txXfrm>
        <a:off x="44879" y="949243"/>
        <a:ext cx="1999559" cy="1434133"/>
      </dsp:txXfrm>
    </dsp:sp>
    <dsp:sp modelId="{30E88609-74C2-495B-99BF-A170253A1BEF}">
      <dsp:nvSpPr>
        <dsp:cNvPr id="0" name=""/>
        <dsp:cNvSpPr/>
      </dsp:nvSpPr>
      <dsp:spPr>
        <a:xfrm>
          <a:off x="2185344" y="1530632"/>
          <a:ext cx="231964" cy="271354"/>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185344" y="1584903"/>
        <a:ext cx="162375" cy="162812"/>
      </dsp:txXfrm>
    </dsp:sp>
    <dsp:sp modelId="{6F807497-FCB1-4A3A-BAA6-C9C039118BE7}">
      <dsp:nvSpPr>
        <dsp:cNvPr id="0" name=""/>
        <dsp:cNvSpPr/>
      </dsp:nvSpPr>
      <dsp:spPr>
        <a:xfrm>
          <a:off x="2526725" y="904625"/>
          <a:ext cx="2088795" cy="1523369"/>
        </a:xfrm>
        <a:prstGeom prst="roundRect">
          <a:avLst>
            <a:gd name="adj" fmla="val 10000"/>
          </a:avLst>
        </a:prstGeom>
        <a:solidFill>
          <a:schemeClr val="accent5">
            <a:hueOff val="1158063"/>
            <a:satOff val="-1000"/>
            <a:lumOff val="-1176"/>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08 - Bitcoin.org registered</a:t>
          </a:r>
        </a:p>
      </dsp:txBody>
      <dsp:txXfrm>
        <a:off x="2571343" y="949243"/>
        <a:ext cx="1999559" cy="1434133"/>
      </dsp:txXfrm>
    </dsp:sp>
    <dsp:sp modelId="{45DA37A5-D194-4080-836F-F0E984A0A919}">
      <dsp:nvSpPr>
        <dsp:cNvPr id="0" name=""/>
        <dsp:cNvSpPr/>
      </dsp:nvSpPr>
      <dsp:spPr>
        <a:xfrm>
          <a:off x="4711808" y="1530632"/>
          <a:ext cx="231964" cy="271354"/>
        </a:xfrm>
        <a:prstGeom prst="rightArrow">
          <a:avLst>
            <a:gd name="adj1" fmla="val 60000"/>
            <a:gd name="adj2" fmla="val 50000"/>
          </a:avLst>
        </a:prstGeom>
        <a:solidFill>
          <a:schemeClr val="accent5">
            <a:hueOff val="1247145"/>
            <a:satOff val="-1077"/>
            <a:lumOff val="-126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711808" y="1584903"/>
        <a:ext cx="162375" cy="162812"/>
      </dsp:txXfrm>
    </dsp:sp>
    <dsp:sp modelId="{7AB97974-D361-41FB-AEBE-8B75DF913887}">
      <dsp:nvSpPr>
        <dsp:cNvPr id="0" name=""/>
        <dsp:cNvSpPr/>
      </dsp:nvSpPr>
      <dsp:spPr>
        <a:xfrm>
          <a:off x="5053189" y="904625"/>
          <a:ext cx="2088795" cy="1523369"/>
        </a:xfrm>
        <a:prstGeom prst="roundRect">
          <a:avLst>
            <a:gd name="adj" fmla="val 10000"/>
          </a:avLst>
        </a:prstGeom>
        <a:solidFill>
          <a:schemeClr val="accent5">
            <a:hueOff val="2316126"/>
            <a:satOff val="-2001"/>
            <a:lumOff val="-2353"/>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Oct 31, 2008 white paper published on crypto mailing list</a:t>
          </a:r>
        </a:p>
      </dsp:txBody>
      <dsp:txXfrm>
        <a:off x="5097807" y="949243"/>
        <a:ext cx="1999559" cy="1434133"/>
      </dsp:txXfrm>
    </dsp:sp>
    <dsp:sp modelId="{B725B5A4-4BE3-4071-A4C7-30001864E533}">
      <dsp:nvSpPr>
        <dsp:cNvPr id="0" name=""/>
        <dsp:cNvSpPr/>
      </dsp:nvSpPr>
      <dsp:spPr>
        <a:xfrm>
          <a:off x="7238272" y="1530632"/>
          <a:ext cx="231964" cy="271354"/>
        </a:xfrm>
        <a:prstGeom prst="rightArrow">
          <a:avLst>
            <a:gd name="adj1" fmla="val 60000"/>
            <a:gd name="adj2" fmla="val 50000"/>
          </a:avLst>
        </a:prstGeom>
        <a:solidFill>
          <a:schemeClr val="accent5">
            <a:hueOff val="2494289"/>
            <a:satOff val="-2155"/>
            <a:lumOff val="-25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238272" y="1584903"/>
        <a:ext cx="162375" cy="162812"/>
      </dsp:txXfrm>
    </dsp:sp>
    <dsp:sp modelId="{6F9AB85B-710F-4E2D-8873-C9544FBD3A29}">
      <dsp:nvSpPr>
        <dsp:cNvPr id="0" name=""/>
        <dsp:cNvSpPr/>
      </dsp:nvSpPr>
      <dsp:spPr>
        <a:xfrm>
          <a:off x="7579653" y="904625"/>
          <a:ext cx="2088795" cy="1523369"/>
        </a:xfrm>
        <a:prstGeom prst="roundRect">
          <a:avLst>
            <a:gd name="adj" fmla="val 10000"/>
          </a:avLst>
        </a:prstGeom>
        <a:solidFill>
          <a:schemeClr val="accent5">
            <a:hueOff val="3474189"/>
            <a:satOff val="-3001"/>
            <a:lumOff val="-352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Jan 3, 2009 – Genesis block 0 mined</a:t>
          </a:r>
        </a:p>
      </dsp:txBody>
      <dsp:txXfrm>
        <a:off x="7624271" y="949243"/>
        <a:ext cx="1999559" cy="1434133"/>
      </dsp:txXfrm>
    </dsp:sp>
    <dsp:sp modelId="{67029E87-F17A-446A-A285-E58C6E1C5BC8}">
      <dsp:nvSpPr>
        <dsp:cNvPr id="0" name=""/>
        <dsp:cNvSpPr/>
      </dsp:nvSpPr>
      <dsp:spPr>
        <a:xfrm>
          <a:off x="9764736" y="1530632"/>
          <a:ext cx="231964" cy="271354"/>
        </a:xfrm>
        <a:prstGeom prst="rightArrow">
          <a:avLst>
            <a:gd name="adj1" fmla="val 60000"/>
            <a:gd name="adj2" fmla="val 50000"/>
          </a:avLst>
        </a:prstGeom>
        <a:solidFill>
          <a:schemeClr val="accent5">
            <a:hueOff val="3741434"/>
            <a:satOff val="-3232"/>
            <a:lumOff val="-380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9764736" y="1584903"/>
        <a:ext cx="162375" cy="162812"/>
      </dsp:txXfrm>
    </dsp:sp>
    <dsp:sp modelId="{9DE663B4-7188-424C-BBE3-7D524E6A4009}">
      <dsp:nvSpPr>
        <dsp:cNvPr id="0" name=""/>
        <dsp:cNvSpPr/>
      </dsp:nvSpPr>
      <dsp:spPr>
        <a:xfrm>
          <a:off x="10106117" y="904625"/>
          <a:ext cx="2088795" cy="1523369"/>
        </a:xfrm>
        <a:prstGeom prst="roundRect">
          <a:avLst>
            <a:gd name="adj" fmla="val 10000"/>
          </a:avLst>
        </a:prstGeom>
        <a:solidFill>
          <a:schemeClr val="accent5">
            <a:hueOff val="4632252"/>
            <a:satOff val="-4002"/>
            <a:lumOff val="-4705"/>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Jan 9, 2009 – Code posted</a:t>
          </a:r>
        </a:p>
      </dsp:txBody>
      <dsp:txXfrm>
        <a:off x="10150735" y="949243"/>
        <a:ext cx="1999559" cy="1434133"/>
      </dsp:txXfrm>
    </dsp:sp>
    <dsp:sp modelId="{D80503C3-4901-49C0-A3ED-01FF82C18D33}">
      <dsp:nvSpPr>
        <dsp:cNvPr id="0" name=""/>
        <dsp:cNvSpPr/>
      </dsp:nvSpPr>
      <dsp:spPr>
        <a:xfrm rot="5400000">
          <a:off x="11034533" y="2504586"/>
          <a:ext cx="231964" cy="271354"/>
        </a:xfrm>
        <a:prstGeom prst="rightArrow">
          <a:avLst>
            <a:gd name="adj1" fmla="val 60000"/>
            <a:gd name="adj2" fmla="val 50000"/>
          </a:avLst>
        </a:prstGeom>
        <a:solidFill>
          <a:schemeClr val="accent5">
            <a:hueOff val="4988579"/>
            <a:satOff val="-4310"/>
            <a:lumOff val="-506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11069110" y="2524281"/>
        <a:ext cx="162812" cy="162375"/>
      </dsp:txXfrm>
    </dsp:sp>
    <dsp:sp modelId="{5CC5C694-40CC-449F-AC2D-52656A2B8244}">
      <dsp:nvSpPr>
        <dsp:cNvPr id="0" name=""/>
        <dsp:cNvSpPr/>
      </dsp:nvSpPr>
      <dsp:spPr>
        <a:xfrm>
          <a:off x="10106117" y="2865663"/>
          <a:ext cx="2088795" cy="1523369"/>
        </a:xfrm>
        <a:prstGeom prst="roundRect">
          <a:avLst>
            <a:gd name="adj" fmla="val 10000"/>
          </a:avLst>
        </a:prstGeom>
        <a:solidFill>
          <a:schemeClr val="accent5">
            <a:hueOff val="5790315"/>
            <a:satOff val="-5002"/>
            <a:lumOff val="-588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Jan 12, 2009 – First transaction from </a:t>
          </a:r>
          <a:r>
            <a:rPr lang="en-US" sz="2000" kern="1200" dirty="0" err="1"/>
            <a:t>Nakamoto</a:t>
          </a:r>
          <a:r>
            <a:rPr lang="en-US" sz="2000" kern="1200" dirty="0"/>
            <a:t> to Finney. Block 170</a:t>
          </a:r>
        </a:p>
      </dsp:txBody>
      <dsp:txXfrm>
        <a:off x="10150735" y="2910281"/>
        <a:ext cx="1999559" cy="1434133"/>
      </dsp:txXfrm>
    </dsp:sp>
    <dsp:sp modelId="{989EB366-3616-4EE5-BA50-E80174B6575F}">
      <dsp:nvSpPr>
        <dsp:cNvPr id="0" name=""/>
        <dsp:cNvSpPr/>
      </dsp:nvSpPr>
      <dsp:spPr>
        <a:xfrm rot="10800000">
          <a:off x="9777866" y="3491670"/>
          <a:ext cx="231964" cy="271354"/>
        </a:xfrm>
        <a:prstGeom prst="rightArrow">
          <a:avLst>
            <a:gd name="adj1" fmla="val 60000"/>
            <a:gd name="adj2" fmla="val 50000"/>
          </a:avLst>
        </a:prstGeom>
        <a:solidFill>
          <a:schemeClr val="accent5">
            <a:hueOff val="6235724"/>
            <a:satOff val="-5387"/>
            <a:lumOff val="-63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9847455" y="3545941"/>
        <a:ext cx="162375" cy="162812"/>
      </dsp:txXfrm>
    </dsp:sp>
    <dsp:sp modelId="{53A88AED-F9AC-4FCA-8125-DF49DF59D738}">
      <dsp:nvSpPr>
        <dsp:cNvPr id="0" name=""/>
        <dsp:cNvSpPr/>
      </dsp:nvSpPr>
      <dsp:spPr>
        <a:xfrm>
          <a:off x="7579653" y="2865663"/>
          <a:ext cx="2088795" cy="1523369"/>
        </a:xfrm>
        <a:prstGeom prst="roundRect">
          <a:avLst>
            <a:gd name="adj" fmla="val 10000"/>
          </a:avLst>
        </a:prstGeom>
        <a:solidFill>
          <a:schemeClr val="accent5">
            <a:hueOff val="6948378"/>
            <a:satOff val="-6003"/>
            <a:lumOff val="-705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Oct 5, 2009 – Exchange rate 1 USD = 1300 BTC</a:t>
          </a:r>
        </a:p>
      </dsp:txBody>
      <dsp:txXfrm>
        <a:off x="7624271" y="2910281"/>
        <a:ext cx="1999559" cy="1434133"/>
      </dsp:txXfrm>
    </dsp:sp>
    <dsp:sp modelId="{5BC36163-3B88-492A-BB18-11A8577D1831}">
      <dsp:nvSpPr>
        <dsp:cNvPr id="0" name=""/>
        <dsp:cNvSpPr/>
      </dsp:nvSpPr>
      <dsp:spPr>
        <a:xfrm rot="10800000">
          <a:off x="7251402" y="3491670"/>
          <a:ext cx="231964" cy="271354"/>
        </a:xfrm>
        <a:prstGeom prst="rightArrow">
          <a:avLst>
            <a:gd name="adj1" fmla="val 60000"/>
            <a:gd name="adj2" fmla="val 50000"/>
          </a:avLst>
        </a:prstGeom>
        <a:solidFill>
          <a:schemeClr val="accent5">
            <a:hueOff val="7482868"/>
            <a:satOff val="-6464"/>
            <a:lumOff val="-760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7320991" y="3545941"/>
        <a:ext cx="162375" cy="162812"/>
      </dsp:txXfrm>
    </dsp:sp>
    <dsp:sp modelId="{C6627354-60E0-4CCF-BB6C-886E0482726C}">
      <dsp:nvSpPr>
        <dsp:cNvPr id="0" name=""/>
        <dsp:cNvSpPr/>
      </dsp:nvSpPr>
      <dsp:spPr>
        <a:xfrm>
          <a:off x="5053189" y="2865663"/>
          <a:ext cx="2088795" cy="1523369"/>
        </a:xfrm>
        <a:prstGeom prst="roundRect">
          <a:avLst>
            <a:gd name="adj" fmla="val 10000"/>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0 – Programmer pays 10000 BTC for 2 pizzas</a:t>
          </a:r>
        </a:p>
      </dsp:txBody>
      <dsp:txXfrm>
        <a:off x="5097807" y="2910281"/>
        <a:ext cx="1999559" cy="1434133"/>
      </dsp:txXfrm>
    </dsp:sp>
    <dsp:sp modelId="{B6C3FC9B-1F7A-4BDE-B013-1C32E186A275}">
      <dsp:nvSpPr>
        <dsp:cNvPr id="0" name=""/>
        <dsp:cNvSpPr/>
      </dsp:nvSpPr>
      <dsp:spPr>
        <a:xfrm rot="10800000">
          <a:off x="4724938" y="3491670"/>
          <a:ext cx="231964" cy="271354"/>
        </a:xfrm>
        <a:prstGeom prst="rightArrow">
          <a:avLst>
            <a:gd name="adj1" fmla="val 60000"/>
            <a:gd name="adj2" fmla="val 50000"/>
          </a:avLst>
        </a:prstGeom>
        <a:solidFill>
          <a:schemeClr val="accent5">
            <a:hueOff val="8730014"/>
            <a:satOff val="-7542"/>
            <a:lumOff val="-886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4794527" y="3545941"/>
        <a:ext cx="162375" cy="162812"/>
      </dsp:txXfrm>
    </dsp:sp>
    <dsp:sp modelId="{31AC987F-70A4-429D-9C26-F070849F049C}">
      <dsp:nvSpPr>
        <dsp:cNvPr id="0" name=""/>
        <dsp:cNvSpPr/>
      </dsp:nvSpPr>
      <dsp:spPr>
        <a:xfrm>
          <a:off x="2526725" y="2865663"/>
          <a:ext cx="2088795" cy="1523369"/>
        </a:xfrm>
        <a:prstGeom prst="roundRect">
          <a:avLst>
            <a:gd name="adj" fmla="val 10000"/>
          </a:avLst>
        </a:prstGeom>
        <a:solidFill>
          <a:schemeClr val="accent5">
            <a:hueOff val="9264504"/>
            <a:satOff val="-8003"/>
            <a:lumOff val="-941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0 – Mining pool established</a:t>
          </a:r>
        </a:p>
      </dsp:txBody>
      <dsp:txXfrm>
        <a:off x="2571343" y="2910281"/>
        <a:ext cx="1999559" cy="1434133"/>
      </dsp:txXfrm>
    </dsp:sp>
    <dsp:sp modelId="{CA642328-5B94-4ACD-B12D-1F31CF8E3C5D}">
      <dsp:nvSpPr>
        <dsp:cNvPr id="0" name=""/>
        <dsp:cNvSpPr/>
      </dsp:nvSpPr>
      <dsp:spPr>
        <a:xfrm rot="10800000">
          <a:off x="2198474" y="3491670"/>
          <a:ext cx="231964" cy="271354"/>
        </a:xfrm>
        <a:prstGeom prst="rightArrow">
          <a:avLst>
            <a:gd name="adj1" fmla="val 60000"/>
            <a:gd name="adj2" fmla="val 50000"/>
          </a:avLst>
        </a:prstGeom>
        <a:solidFill>
          <a:schemeClr val="accent5">
            <a:hueOff val="9977158"/>
            <a:satOff val="-8619"/>
            <a:lumOff val="-101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2268063" y="3545941"/>
        <a:ext cx="162375" cy="162812"/>
      </dsp:txXfrm>
    </dsp:sp>
    <dsp:sp modelId="{B4F5A22E-9BD5-46F3-94A5-C78B1C7AF0BE}">
      <dsp:nvSpPr>
        <dsp:cNvPr id="0" name=""/>
        <dsp:cNvSpPr/>
      </dsp:nvSpPr>
      <dsp:spPr>
        <a:xfrm>
          <a:off x="261" y="2865663"/>
          <a:ext cx="2088795" cy="1523369"/>
        </a:xfrm>
        <a:prstGeom prst="roundRect">
          <a:avLst>
            <a:gd name="adj" fmla="val 10000"/>
          </a:avLst>
        </a:prstGeom>
        <a:solidFill>
          <a:schemeClr val="accent5">
            <a:hueOff val="10422567"/>
            <a:satOff val="-9004"/>
            <a:lumOff val="-1058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2 – </a:t>
          </a:r>
          <a:r>
            <a:rPr lang="en-US" sz="2000" kern="1200" dirty="0" err="1"/>
            <a:t>Wikileaks</a:t>
          </a:r>
          <a:r>
            <a:rPr lang="en-US" sz="2000" kern="1200" dirty="0"/>
            <a:t>, </a:t>
          </a:r>
          <a:r>
            <a:rPr lang="en-US" sz="2000" kern="1200" dirty="0" err="1"/>
            <a:t>Wordpress</a:t>
          </a:r>
          <a:r>
            <a:rPr lang="en-US" sz="2000" kern="1200" dirty="0"/>
            <a:t> accept BTC</a:t>
          </a:r>
        </a:p>
      </dsp:txBody>
      <dsp:txXfrm>
        <a:off x="44879" y="2910281"/>
        <a:ext cx="1999559" cy="1434133"/>
      </dsp:txXfrm>
    </dsp:sp>
    <dsp:sp modelId="{C52E29EE-D0B7-4D91-82EF-BFD9C89DAED1}">
      <dsp:nvSpPr>
        <dsp:cNvPr id="0" name=""/>
        <dsp:cNvSpPr/>
      </dsp:nvSpPr>
      <dsp:spPr>
        <a:xfrm rot="5400000">
          <a:off x="927719" y="4467377"/>
          <a:ext cx="233879" cy="271354"/>
        </a:xfrm>
        <a:prstGeom prst="rightArrow">
          <a:avLst>
            <a:gd name="adj1" fmla="val 60000"/>
            <a:gd name="adj2" fmla="val 50000"/>
          </a:avLst>
        </a:prstGeom>
        <a:solidFill>
          <a:schemeClr val="accent5">
            <a:hueOff val="11224303"/>
            <a:satOff val="-9696"/>
            <a:lumOff val="-1140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963252" y="4486115"/>
        <a:ext cx="162812" cy="163715"/>
      </dsp:txXfrm>
    </dsp:sp>
    <dsp:sp modelId="{A0BCDFA0-5D32-4007-97C7-EA4CE6802226}">
      <dsp:nvSpPr>
        <dsp:cNvPr id="0" name=""/>
        <dsp:cNvSpPr/>
      </dsp:nvSpPr>
      <dsp:spPr>
        <a:xfrm>
          <a:off x="261" y="4830315"/>
          <a:ext cx="2088795" cy="1523369"/>
        </a:xfrm>
        <a:prstGeom prst="roundRect">
          <a:avLst>
            <a:gd name="adj" fmla="val 10000"/>
          </a:avLst>
        </a:prstGeom>
        <a:solidFill>
          <a:schemeClr val="accent5">
            <a:hueOff val="11580630"/>
            <a:satOff val="-10004"/>
            <a:lumOff val="-11763"/>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3 – FBI shuts down Silk road (</a:t>
          </a:r>
          <a:r>
            <a:rPr lang="en-US" sz="2000" kern="1200" dirty="0" err="1"/>
            <a:t>ebay</a:t>
          </a:r>
          <a:r>
            <a:rPr lang="en-US" sz="2000" kern="1200" dirty="0"/>
            <a:t> for drugs) and seizes 144,000 </a:t>
          </a:r>
          <a:r>
            <a:rPr lang="en-US" sz="2000" kern="1200" dirty="0" err="1"/>
            <a:t>btc</a:t>
          </a:r>
          <a:endParaRPr lang="en-US" sz="2000" kern="1200" dirty="0"/>
        </a:p>
      </dsp:txBody>
      <dsp:txXfrm>
        <a:off x="44879" y="4874933"/>
        <a:ext cx="1999559" cy="1434133"/>
      </dsp:txXfrm>
    </dsp:sp>
    <dsp:sp modelId="{DA8854CD-E5CF-40EB-A0C1-B7ED1D91423A}">
      <dsp:nvSpPr>
        <dsp:cNvPr id="0" name=""/>
        <dsp:cNvSpPr/>
      </dsp:nvSpPr>
      <dsp:spPr>
        <a:xfrm>
          <a:off x="2185344" y="5456322"/>
          <a:ext cx="231964" cy="271354"/>
        </a:xfrm>
        <a:prstGeom prst="rightArrow">
          <a:avLst>
            <a:gd name="adj1" fmla="val 60000"/>
            <a:gd name="adj2" fmla="val 50000"/>
          </a:avLst>
        </a:prstGeom>
        <a:solidFill>
          <a:schemeClr val="accent5">
            <a:hueOff val="12471447"/>
            <a:satOff val="-10774"/>
            <a:lumOff val="-126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185344" y="5510593"/>
        <a:ext cx="162375" cy="162812"/>
      </dsp:txXfrm>
    </dsp:sp>
    <dsp:sp modelId="{AE343C9B-B6A6-4E22-8765-14CA0F815F87}">
      <dsp:nvSpPr>
        <dsp:cNvPr id="0" name=""/>
        <dsp:cNvSpPr/>
      </dsp:nvSpPr>
      <dsp:spPr>
        <a:xfrm>
          <a:off x="2526725" y="4830315"/>
          <a:ext cx="2088795" cy="1523369"/>
        </a:xfrm>
        <a:prstGeom prst="roundRect">
          <a:avLst>
            <a:gd name="adj" fmla="val 10000"/>
          </a:avLst>
        </a:prstGeom>
        <a:solidFill>
          <a:schemeClr val="accent5">
            <a:hueOff val="12738692"/>
            <a:satOff val="-11005"/>
            <a:lumOff val="-1293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3 – U of Nicosia accepts BTC for tuition</a:t>
          </a:r>
        </a:p>
      </dsp:txBody>
      <dsp:txXfrm>
        <a:off x="2571343" y="4874933"/>
        <a:ext cx="1999559" cy="1434133"/>
      </dsp:txXfrm>
    </dsp:sp>
    <dsp:sp modelId="{D55A9C49-6E7C-4828-ABD5-6DCA4CB41CE6}">
      <dsp:nvSpPr>
        <dsp:cNvPr id="0" name=""/>
        <dsp:cNvSpPr/>
      </dsp:nvSpPr>
      <dsp:spPr>
        <a:xfrm>
          <a:off x="4711808" y="5456322"/>
          <a:ext cx="231964" cy="271354"/>
        </a:xfrm>
        <a:prstGeom prst="rightArrow">
          <a:avLst>
            <a:gd name="adj1" fmla="val 60000"/>
            <a:gd name="adj2" fmla="val 50000"/>
          </a:avLst>
        </a:prstGeom>
        <a:solidFill>
          <a:schemeClr val="accent5">
            <a:hueOff val="13718592"/>
            <a:satOff val="-11851"/>
            <a:lumOff val="-139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711808" y="5510593"/>
        <a:ext cx="162375" cy="162812"/>
      </dsp:txXfrm>
    </dsp:sp>
    <dsp:sp modelId="{BC528DAD-8076-46BC-A480-80E2B2B24C05}">
      <dsp:nvSpPr>
        <dsp:cNvPr id="0" name=""/>
        <dsp:cNvSpPr/>
      </dsp:nvSpPr>
      <dsp:spPr>
        <a:xfrm>
          <a:off x="5053189" y="4830315"/>
          <a:ext cx="2088795" cy="1523369"/>
        </a:xfrm>
        <a:prstGeom prst="roundRect">
          <a:avLst>
            <a:gd name="adj" fmla="val 10000"/>
          </a:avLst>
        </a:prstGeom>
        <a:solidFill>
          <a:schemeClr val="accent5">
            <a:hueOff val="13896756"/>
            <a:satOff val="-12005"/>
            <a:lumOff val="-14115"/>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4 – </a:t>
          </a:r>
          <a:r>
            <a:rPr lang="en-US" sz="2000" kern="1200" dirty="0" err="1"/>
            <a:t>MtGox</a:t>
          </a:r>
          <a:r>
            <a:rPr lang="en-US" sz="2000" kern="1200" dirty="0"/>
            <a:t> exchange hacked, 744,000 </a:t>
          </a:r>
          <a:r>
            <a:rPr lang="en-US" sz="2000" kern="1200" dirty="0" err="1"/>
            <a:t>btc</a:t>
          </a:r>
          <a:r>
            <a:rPr lang="en-US" sz="2000" kern="1200" dirty="0"/>
            <a:t> stolen. Shuts.</a:t>
          </a:r>
        </a:p>
      </dsp:txBody>
      <dsp:txXfrm>
        <a:off x="5097807" y="4874933"/>
        <a:ext cx="1999559" cy="1434133"/>
      </dsp:txXfrm>
    </dsp:sp>
    <dsp:sp modelId="{58AD457D-7057-4D97-944F-D7847B7012A8}">
      <dsp:nvSpPr>
        <dsp:cNvPr id="0" name=""/>
        <dsp:cNvSpPr/>
      </dsp:nvSpPr>
      <dsp:spPr>
        <a:xfrm>
          <a:off x="7238272" y="5456322"/>
          <a:ext cx="231964" cy="271354"/>
        </a:xfrm>
        <a:prstGeom prst="rightArrow">
          <a:avLst>
            <a:gd name="adj1" fmla="val 60000"/>
            <a:gd name="adj2" fmla="val 50000"/>
          </a:avLst>
        </a:prstGeom>
        <a:solidFill>
          <a:schemeClr val="accent5">
            <a:hueOff val="14965736"/>
            <a:satOff val="-12929"/>
            <a:lumOff val="-1520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238272" y="5510593"/>
        <a:ext cx="162375" cy="162812"/>
      </dsp:txXfrm>
    </dsp:sp>
    <dsp:sp modelId="{E06A8827-6485-48F2-BEEF-28E911183FE5}">
      <dsp:nvSpPr>
        <dsp:cNvPr id="0" name=""/>
        <dsp:cNvSpPr/>
      </dsp:nvSpPr>
      <dsp:spPr>
        <a:xfrm>
          <a:off x="7579653" y="4830315"/>
          <a:ext cx="2088795" cy="1523369"/>
        </a:xfrm>
        <a:prstGeom prst="roundRect">
          <a:avLst>
            <a:gd name="adj" fmla="val 10000"/>
          </a:avLst>
        </a:prstGeom>
        <a:solidFill>
          <a:schemeClr val="accent5">
            <a:hueOff val="15054818"/>
            <a:satOff val="-13006"/>
            <a:lumOff val="-15292"/>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7 – SEC denies bitcoin ETF, reaches 1 BTC = $19000</a:t>
          </a:r>
        </a:p>
      </dsp:txBody>
      <dsp:txXfrm>
        <a:off x="7624271" y="4874933"/>
        <a:ext cx="1999559" cy="1434133"/>
      </dsp:txXfrm>
    </dsp:sp>
    <dsp:sp modelId="{7CBC017C-3F0B-442C-8CEF-8BD6A60E6105}">
      <dsp:nvSpPr>
        <dsp:cNvPr id="0" name=""/>
        <dsp:cNvSpPr/>
      </dsp:nvSpPr>
      <dsp:spPr>
        <a:xfrm>
          <a:off x="9764736" y="5456322"/>
          <a:ext cx="231964" cy="271354"/>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9764736" y="5510593"/>
        <a:ext cx="162375" cy="162812"/>
      </dsp:txXfrm>
    </dsp:sp>
    <dsp:sp modelId="{27491E77-A90C-4BB7-B7E2-5EE32ED72378}">
      <dsp:nvSpPr>
        <dsp:cNvPr id="0" name=""/>
        <dsp:cNvSpPr/>
      </dsp:nvSpPr>
      <dsp:spPr>
        <a:xfrm>
          <a:off x="10106117" y="4826701"/>
          <a:ext cx="1858395" cy="1530597"/>
        </a:xfrm>
        <a:prstGeom prst="roundRect">
          <a:avLst>
            <a:gd name="adj" fmla="val 1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017 Aug 1 etc., Bitcoin forks into more currencies. Hard forks.</a:t>
          </a:r>
        </a:p>
      </dsp:txBody>
      <dsp:txXfrm>
        <a:off x="10150947" y="4871531"/>
        <a:ext cx="1768735" cy="1440937"/>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CD8245-A442-4EC7-A594-D10D847FE5D8}">
      <dsp:nvSpPr>
        <dsp:cNvPr id="0" name=""/>
        <dsp:cNvSpPr/>
      </dsp:nvSpPr>
      <dsp:spPr>
        <a:xfrm>
          <a:off x="9429" y="461359"/>
          <a:ext cx="2818277" cy="3132581"/>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b="1" i="0" kern="1200" dirty="0">
              <a:solidFill>
                <a:srgbClr val="FFFF00"/>
              </a:solidFill>
            </a:rPr>
            <a:t>TEXT</a:t>
          </a:r>
          <a:br>
            <a:rPr lang="en-US" sz="1800" b="0" i="0" kern="1200" dirty="0"/>
          </a:br>
          <a:r>
            <a:rPr lang="en-US" sz="1800" b="0" i="0" kern="1200" dirty="0"/>
            <a:t>Twinkle, twinkle, little star,</a:t>
          </a:r>
          <a:br>
            <a:rPr lang="en-US" sz="1800" kern="1200" dirty="0"/>
          </a:br>
          <a:r>
            <a:rPr lang="en-US" sz="1800" b="0" i="0" kern="1200" dirty="0"/>
            <a:t>How I wonder what you are!</a:t>
          </a:r>
          <a:br>
            <a:rPr lang="en-US" sz="1800" kern="1200" dirty="0"/>
          </a:br>
          <a:r>
            <a:rPr lang="en-US" sz="1800" b="0" i="0" kern="1200" dirty="0"/>
            <a:t>Up above the world so high,</a:t>
          </a:r>
          <a:br>
            <a:rPr lang="en-US" sz="1800" kern="1200" dirty="0"/>
          </a:br>
          <a:r>
            <a:rPr lang="en-US" sz="1800" b="0" i="0" kern="1200" dirty="0"/>
            <a:t>Like a diamond in the sky.</a:t>
          </a:r>
          <a:endParaRPr lang="en-US" sz="1800" kern="1200" dirty="0"/>
        </a:p>
      </dsp:txBody>
      <dsp:txXfrm>
        <a:off x="91974" y="543904"/>
        <a:ext cx="2653187" cy="2967491"/>
      </dsp:txXfrm>
    </dsp:sp>
    <dsp:sp modelId="{14F3D622-98FD-4E75-B244-F0D4150281B4}">
      <dsp:nvSpPr>
        <dsp:cNvPr id="0" name=""/>
        <dsp:cNvSpPr/>
      </dsp:nvSpPr>
      <dsp:spPr>
        <a:xfrm>
          <a:off x="3109534" y="1678184"/>
          <a:ext cx="597474" cy="69893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3109534" y="1817970"/>
        <a:ext cx="418232" cy="419360"/>
      </dsp:txXfrm>
    </dsp:sp>
    <dsp:sp modelId="{3DEFF084-9B4F-4DA7-9779-AD74980CAEE4}">
      <dsp:nvSpPr>
        <dsp:cNvPr id="0" name=""/>
        <dsp:cNvSpPr/>
      </dsp:nvSpPr>
      <dsp:spPr>
        <a:xfrm>
          <a:off x="3955017" y="461359"/>
          <a:ext cx="2818277" cy="3132581"/>
        </a:xfrm>
        <a:prstGeom prst="roundRect">
          <a:avLst>
            <a:gd name="adj" fmla="val 10000"/>
          </a:avLst>
        </a:prstGeom>
        <a:solidFill>
          <a:schemeClr val="accent5">
            <a:hueOff val="8106441"/>
            <a:satOff val="-7003"/>
            <a:lumOff val="-8234"/>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b="1" i="0" kern="1200" dirty="0">
              <a:solidFill>
                <a:srgbClr val="FFFF00"/>
              </a:solidFill>
            </a:rPr>
            <a:t>HASH</a:t>
          </a:r>
          <a:r>
            <a:rPr lang="en-US" sz="2100" kern="1200" dirty="0"/>
            <a:t> </a:t>
          </a:r>
          <a:r>
            <a:rPr lang="en-US" sz="3600" b="1" i="0" kern="1200" dirty="0">
              <a:solidFill>
                <a:srgbClr val="FFFF00"/>
              </a:solidFill>
            </a:rPr>
            <a:t>FUNCTION</a:t>
          </a:r>
          <a:br>
            <a:rPr lang="en-US" sz="2100" kern="1200" dirty="0"/>
          </a:br>
          <a:r>
            <a:rPr lang="en-US" sz="2100" kern="1200" dirty="0"/>
            <a:t>SHA256</a:t>
          </a:r>
        </a:p>
      </dsp:txBody>
      <dsp:txXfrm>
        <a:off x="4037562" y="543904"/>
        <a:ext cx="2653187" cy="2967491"/>
      </dsp:txXfrm>
    </dsp:sp>
    <dsp:sp modelId="{724BB509-6A31-4238-944F-E000856BA731}">
      <dsp:nvSpPr>
        <dsp:cNvPr id="0" name=""/>
        <dsp:cNvSpPr/>
      </dsp:nvSpPr>
      <dsp:spPr>
        <a:xfrm>
          <a:off x="7055123" y="1678184"/>
          <a:ext cx="597474" cy="698932"/>
        </a:xfrm>
        <a:prstGeom prst="rightArrow">
          <a:avLst>
            <a:gd name="adj1" fmla="val 60000"/>
            <a:gd name="adj2" fmla="val 50000"/>
          </a:avLst>
        </a:prstGeom>
        <a:solidFill>
          <a:schemeClr val="accent5">
            <a:hueOff val="16212881"/>
            <a:satOff val="-14006"/>
            <a:lumOff val="-1646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7055123" y="1817970"/>
        <a:ext cx="418232" cy="419360"/>
      </dsp:txXfrm>
    </dsp:sp>
    <dsp:sp modelId="{7E9F46D5-9C18-4599-B147-7C116AC0CC4E}">
      <dsp:nvSpPr>
        <dsp:cNvPr id="0" name=""/>
        <dsp:cNvSpPr/>
      </dsp:nvSpPr>
      <dsp:spPr>
        <a:xfrm>
          <a:off x="7900606" y="461359"/>
          <a:ext cx="2818277" cy="3132581"/>
        </a:xfrm>
        <a:prstGeom prst="roundRect">
          <a:avLst>
            <a:gd name="adj" fmla="val 10000"/>
          </a:avLst>
        </a:prstGeom>
        <a:solidFill>
          <a:schemeClr val="accent5">
            <a:hueOff val="16212881"/>
            <a:satOff val="-14006"/>
            <a:lumOff val="-16468"/>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b="1" i="0" kern="1200" dirty="0">
              <a:solidFill>
                <a:srgbClr val="FFFF00"/>
              </a:solidFill>
            </a:rPr>
            <a:t>HASH</a:t>
          </a:r>
          <a:br>
            <a:rPr lang="en-US" sz="2100" kern="1200" dirty="0"/>
          </a:br>
          <a:r>
            <a:rPr lang="en-US" sz="2100" kern="1200" dirty="0"/>
            <a:t>9d33551</a:t>
          </a:r>
          <a:br>
            <a:rPr lang="en-US" sz="2100" kern="1200" dirty="0"/>
          </a:br>
          <a:r>
            <a:rPr lang="en-US" sz="2100" kern="1200" dirty="0"/>
            <a:t>7ee91c63d</a:t>
          </a:r>
          <a:br>
            <a:rPr lang="en-US" sz="2100" kern="1200" dirty="0"/>
          </a:br>
          <a:r>
            <a:rPr lang="en-US" sz="2100" kern="1200" dirty="0"/>
            <a:t>10fc2fc3</a:t>
          </a:r>
          <a:br>
            <a:rPr lang="en-US" sz="2100" kern="1200" dirty="0"/>
          </a:br>
          <a:r>
            <a:rPr lang="en-US" sz="2100" kern="1200" dirty="0"/>
            <a:t>aafdeca6</a:t>
          </a:r>
          <a:br>
            <a:rPr lang="en-US" sz="2100" kern="1200" dirty="0"/>
          </a:br>
          <a:r>
            <a:rPr lang="en-US" sz="2100" kern="1200" dirty="0"/>
            <a:t>38233481d44</a:t>
          </a:r>
          <a:br>
            <a:rPr lang="en-US" sz="2100" kern="1200" dirty="0"/>
          </a:br>
          <a:r>
            <a:rPr lang="en-US" sz="2100" kern="1200" dirty="0"/>
            <a:t>80cd40064c7</a:t>
          </a:r>
          <a:br>
            <a:rPr lang="en-US" sz="2100" kern="1200" dirty="0"/>
          </a:br>
          <a:r>
            <a:rPr lang="en-US" sz="2100" kern="1200" dirty="0"/>
            <a:t>b912158775</a:t>
          </a:r>
          <a:br>
            <a:rPr lang="en-US" sz="2100" kern="1200" dirty="0"/>
          </a:br>
          <a:r>
            <a:rPr lang="en-US" sz="2100" kern="1200" dirty="0"/>
            <a:t>(HEXADECIMAL)</a:t>
          </a:r>
        </a:p>
      </dsp:txBody>
      <dsp:txXfrm>
        <a:off x="7983151" y="543904"/>
        <a:ext cx="2653187" cy="296749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62BA2-59C1-46BE-A3E2-53589B45A982}">
      <dsp:nvSpPr>
        <dsp:cNvPr id="0" name=""/>
        <dsp:cNvSpPr/>
      </dsp:nvSpPr>
      <dsp:spPr>
        <a:xfrm>
          <a:off x="136021" y="3176"/>
          <a:ext cx="3798087" cy="1519234"/>
        </a:xfrm>
        <a:prstGeom prst="chevron">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58420" tIns="29210" rIns="0" bIns="29210" numCol="1" spcCol="1270" anchor="ctr" anchorCtr="0">
          <a:noAutofit/>
        </a:bodyPr>
        <a:lstStyle/>
        <a:p>
          <a:pPr marL="0" lvl="0" indent="0" algn="ctr" defTabSz="2044700">
            <a:lnSpc>
              <a:spcPct val="90000"/>
            </a:lnSpc>
            <a:spcBef>
              <a:spcPct val="0"/>
            </a:spcBef>
            <a:spcAft>
              <a:spcPct val="35000"/>
            </a:spcAft>
            <a:buNone/>
          </a:pPr>
          <a:r>
            <a:rPr lang="en-US" sz="4600" kern="1200" dirty="0"/>
            <a:t>Input</a:t>
          </a:r>
        </a:p>
      </dsp:txBody>
      <dsp:txXfrm>
        <a:off x="895638" y="3176"/>
        <a:ext cx="2278853" cy="1519234"/>
      </dsp:txXfrm>
    </dsp:sp>
    <dsp:sp modelId="{A76E9156-C63C-45F0-B90A-C08B82037310}">
      <dsp:nvSpPr>
        <dsp:cNvPr id="0" name=""/>
        <dsp:cNvSpPr/>
      </dsp:nvSpPr>
      <dsp:spPr>
        <a:xfrm>
          <a:off x="3440357" y="132311"/>
          <a:ext cx="3152412" cy="1260964"/>
        </a:xfrm>
        <a:prstGeom prst="chevron">
          <a:avLst/>
        </a:prstGeom>
        <a:solidFill>
          <a:schemeClr val="accent3">
            <a:tint val="40000"/>
            <a:alpha val="90000"/>
            <a:hueOff val="0"/>
            <a:satOff val="0"/>
            <a:lumOff val="0"/>
            <a:alphaOff val="0"/>
          </a:schemeClr>
        </a:solidFill>
        <a:ln w="10000" cap="flat" cmpd="sng" algn="ctr">
          <a:solidFill>
            <a:schemeClr val="accent3">
              <a:tint val="40000"/>
              <a:alpha val="90000"/>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en-US" sz="1500" kern="1200" dirty="0"/>
            <a:t>Hello World</a:t>
          </a:r>
        </a:p>
      </dsp:txBody>
      <dsp:txXfrm>
        <a:off x="4070839" y="132311"/>
        <a:ext cx="1891448" cy="1260964"/>
      </dsp:txXfrm>
    </dsp:sp>
    <dsp:sp modelId="{80CDF291-C20B-4111-8BD0-C2C02059661B}">
      <dsp:nvSpPr>
        <dsp:cNvPr id="0" name=""/>
        <dsp:cNvSpPr/>
      </dsp:nvSpPr>
      <dsp:spPr>
        <a:xfrm>
          <a:off x="136021" y="1735104"/>
          <a:ext cx="3798087" cy="1519234"/>
        </a:xfrm>
        <a:prstGeom prst="chevron">
          <a:avLst/>
        </a:prstGeom>
        <a:solidFill>
          <a:schemeClr val="accent3">
            <a:hueOff val="-3142207"/>
            <a:satOff val="-13206"/>
            <a:lumOff val="882"/>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3142207"/>
              <a:satOff val="-13206"/>
              <a:lumOff val="882"/>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58420" tIns="29210" rIns="0" bIns="29210" numCol="1" spcCol="1270" anchor="ctr" anchorCtr="0">
          <a:noAutofit/>
        </a:bodyPr>
        <a:lstStyle/>
        <a:p>
          <a:pPr marL="0" lvl="0" indent="0" algn="ctr" defTabSz="2044700">
            <a:lnSpc>
              <a:spcPct val="90000"/>
            </a:lnSpc>
            <a:spcBef>
              <a:spcPct val="0"/>
            </a:spcBef>
            <a:spcAft>
              <a:spcPct val="35000"/>
            </a:spcAft>
            <a:buNone/>
          </a:pPr>
          <a:r>
            <a:rPr lang="en-US" sz="4600" kern="1200" dirty="0"/>
            <a:t>SHA256</a:t>
          </a:r>
        </a:p>
      </dsp:txBody>
      <dsp:txXfrm>
        <a:off x="895638" y="1735104"/>
        <a:ext cx="2278853" cy="1519234"/>
      </dsp:txXfrm>
    </dsp:sp>
    <dsp:sp modelId="{029769B0-6CC1-436E-BFF3-BD2DBAA3DDF1}">
      <dsp:nvSpPr>
        <dsp:cNvPr id="0" name=""/>
        <dsp:cNvSpPr/>
      </dsp:nvSpPr>
      <dsp:spPr>
        <a:xfrm>
          <a:off x="136021" y="3467032"/>
          <a:ext cx="3798087" cy="1519234"/>
        </a:xfrm>
        <a:prstGeom prst="chevron">
          <a:avLst/>
        </a:prstGeom>
        <a:solidFill>
          <a:schemeClr val="accent3">
            <a:hueOff val="-6284415"/>
            <a:satOff val="-26412"/>
            <a:lumOff val="176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6284415"/>
              <a:satOff val="-26412"/>
              <a:lumOff val="176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58420" tIns="29210" rIns="0" bIns="29210" numCol="1" spcCol="1270" anchor="ctr" anchorCtr="0">
          <a:noAutofit/>
        </a:bodyPr>
        <a:lstStyle/>
        <a:p>
          <a:pPr marL="0" lvl="0" indent="0" algn="ctr" defTabSz="2044700">
            <a:lnSpc>
              <a:spcPct val="90000"/>
            </a:lnSpc>
            <a:spcBef>
              <a:spcPct val="0"/>
            </a:spcBef>
            <a:spcAft>
              <a:spcPct val="35000"/>
            </a:spcAft>
            <a:buNone/>
          </a:pPr>
          <a:r>
            <a:rPr lang="en-US" sz="4600" kern="1200" dirty="0"/>
            <a:t>Output</a:t>
          </a:r>
        </a:p>
      </dsp:txBody>
      <dsp:txXfrm>
        <a:off x="895638" y="3467032"/>
        <a:ext cx="2278853" cy="1519234"/>
      </dsp:txXfrm>
    </dsp:sp>
    <dsp:sp modelId="{CFAA1A10-84A7-45C0-81B8-FE903A72CAB1}">
      <dsp:nvSpPr>
        <dsp:cNvPr id="0" name=""/>
        <dsp:cNvSpPr/>
      </dsp:nvSpPr>
      <dsp:spPr>
        <a:xfrm>
          <a:off x="3440357" y="3596167"/>
          <a:ext cx="3152412" cy="1260964"/>
        </a:xfrm>
        <a:prstGeom prst="chevron">
          <a:avLst/>
        </a:prstGeom>
        <a:solidFill>
          <a:schemeClr val="accent3">
            <a:tint val="40000"/>
            <a:alpha val="90000"/>
            <a:hueOff val="-6580219"/>
            <a:satOff val="-11976"/>
            <a:lumOff val="-1030"/>
            <a:alphaOff val="0"/>
          </a:schemeClr>
        </a:solidFill>
        <a:ln w="10000" cap="flat" cmpd="sng" algn="ctr">
          <a:solidFill>
            <a:schemeClr val="accent3">
              <a:tint val="40000"/>
              <a:alpha val="90000"/>
              <a:hueOff val="-6580219"/>
              <a:satOff val="-11976"/>
              <a:lumOff val="-103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9525" rIns="0" bIns="9525" numCol="1" spcCol="1270" anchor="ctr" anchorCtr="0">
          <a:noAutofit/>
        </a:bodyPr>
        <a:lstStyle/>
        <a:p>
          <a:pPr marL="0" lvl="0" indent="0" algn="ctr" defTabSz="666750">
            <a:lnSpc>
              <a:spcPct val="90000"/>
            </a:lnSpc>
            <a:spcBef>
              <a:spcPct val="0"/>
            </a:spcBef>
            <a:spcAft>
              <a:spcPct val="35000"/>
            </a:spcAft>
            <a:buNone/>
          </a:pPr>
          <a:r>
            <a:rPr lang="en-US" sz="1500" kern="1200" dirty="0"/>
            <a:t>a591a6d40b</a:t>
          </a:r>
          <a:br>
            <a:rPr lang="en-US" sz="1500" kern="1200" dirty="0"/>
          </a:br>
          <a:r>
            <a:rPr lang="en-US" sz="1500" kern="1200" dirty="0"/>
            <a:t>f420404a011</a:t>
          </a:r>
          <a:br>
            <a:rPr lang="en-US" sz="1500" kern="1200" dirty="0"/>
          </a:br>
          <a:r>
            <a:rPr lang="en-US" sz="1500" kern="1200" dirty="0"/>
            <a:t>733cfb7b19</a:t>
          </a:r>
          <a:br>
            <a:rPr lang="en-US" sz="1500" kern="1200" dirty="0"/>
          </a:br>
          <a:r>
            <a:rPr lang="en-US" sz="1500" kern="1200" dirty="0"/>
            <a:t>0d62c65bf0b</a:t>
          </a:r>
          <a:br>
            <a:rPr lang="en-US" sz="1500" kern="1200" dirty="0"/>
          </a:br>
          <a:r>
            <a:rPr lang="en-US" sz="1500" kern="1200" dirty="0"/>
            <a:t>cda32b57b27</a:t>
          </a:r>
          <a:br>
            <a:rPr lang="en-US" sz="1500" kern="1200" dirty="0"/>
          </a:br>
          <a:r>
            <a:rPr lang="en-US" sz="1500" kern="1200" dirty="0"/>
            <a:t>7d9ad9f146e</a:t>
          </a:r>
        </a:p>
      </dsp:txBody>
      <dsp:txXfrm>
        <a:off x="4070839" y="3596167"/>
        <a:ext cx="1891448" cy="126096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A679C0-1A87-4134-83D3-6F41AC981510}">
      <dsp:nvSpPr>
        <dsp:cNvPr id="0" name=""/>
        <dsp:cNvSpPr/>
      </dsp:nvSpPr>
      <dsp:spPr>
        <a:xfrm>
          <a:off x="4971"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0</a:t>
          </a:r>
        </a:p>
      </dsp:txBody>
      <dsp:txXfrm>
        <a:off x="43171" y="1840895"/>
        <a:ext cx="2097339" cy="1227843"/>
      </dsp:txXfrm>
    </dsp:sp>
    <dsp:sp modelId="{04AECB6C-9ABE-4F48-8DC1-066E41FA5FCD}">
      <dsp:nvSpPr>
        <dsp:cNvPr id="0" name=""/>
        <dsp:cNvSpPr/>
      </dsp:nvSpPr>
      <dsp:spPr>
        <a:xfrm rot="10800000">
          <a:off x="2396085"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534335" y="2293090"/>
        <a:ext cx="322582" cy="323453"/>
      </dsp:txXfrm>
    </dsp:sp>
    <dsp:sp modelId="{49BDD032-7994-4F9D-A008-5C3B4233DF82}">
      <dsp:nvSpPr>
        <dsp:cNvPr id="0" name=""/>
        <dsp:cNvSpPr/>
      </dsp:nvSpPr>
      <dsp:spPr>
        <a:xfrm>
          <a:off x="3048207"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1</a:t>
          </a:r>
        </a:p>
        <a:p>
          <a:pPr marL="0" lvl="0" indent="0" algn="ctr" defTabSz="844550">
            <a:lnSpc>
              <a:spcPct val="90000"/>
            </a:lnSpc>
            <a:spcBef>
              <a:spcPct val="0"/>
            </a:spcBef>
            <a:spcAft>
              <a:spcPct val="35000"/>
            </a:spcAft>
            <a:buNone/>
          </a:pPr>
          <a:br>
            <a:rPr lang="en-US" sz="1900" kern="1200" dirty="0"/>
          </a:br>
          <a:r>
            <a:rPr lang="en-US" sz="1900" kern="1200" dirty="0"/>
            <a:t>Hash of Block 0</a:t>
          </a:r>
        </a:p>
      </dsp:txBody>
      <dsp:txXfrm>
        <a:off x="3086407" y="1840895"/>
        <a:ext cx="2097339" cy="1227843"/>
      </dsp:txXfrm>
    </dsp:sp>
    <dsp:sp modelId="{81BE2AFD-FAB6-47D3-B7F7-F840B4222879}">
      <dsp:nvSpPr>
        <dsp:cNvPr id="0" name=""/>
        <dsp:cNvSpPr/>
      </dsp:nvSpPr>
      <dsp:spPr>
        <a:xfrm rot="10800000">
          <a:off x="5439321"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577571" y="2293090"/>
        <a:ext cx="322582" cy="323453"/>
      </dsp:txXfrm>
    </dsp:sp>
    <dsp:sp modelId="{1492DB1B-1F70-419A-9240-3F0DDBE95D5F}">
      <dsp:nvSpPr>
        <dsp:cNvPr id="0" name=""/>
        <dsp:cNvSpPr/>
      </dsp:nvSpPr>
      <dsp:spPr>
        <a:xfrm>
          <a:off x="6091442"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2</a:t>
          </a:r>
        </a:p>
        <a:p>
          <a:pPr marL="0" lvl="0" indent="0" algn="ctr" defTabSz="844550">
            <a:lnSpc>
              <a:spcPct val="90000"/>
            </a:lnSpc>
            <a:spcBef>
              <a:spcPct val="0"/>
            </a:spcBef>
            <a:spcAft>
              <a:spcPct val="35000"/>
            </a:spcAft>
            <a:buNone/>
          </a:pPr>
          <a:br>
            <a:rPr lang="en-US" sz="1900" kern="1200" dirty="0"/>
          </a:br>
          <a:r>
            <a:rPr lang="en-US" sz="1900" kern="1200" dirty="0"/>
            <a:t>Hash of Block 1</a:t>
          </a:r>
        </a:p>
      </dsp:txBody>
      <dsp:txXfrm>
        <a:off x="6129642" y="1840895"/>
        <a:ext cx="2097339" cy="1227843"/>
      </dsp:txXfrm>
    </dsp:sp>
    <dsp:sp modelId="{F84B0E7C-CC02-4D8E-A13E-3C6F8E799E31}">
      <dsp:nvSpPr>
        <dsp:cNvPr id="0" name=""/>
        <dsp:cNvSpPr/>
      </dsp:nvSpPr>
      <dsp:spPr>
        <a:xfrm rot="10800000">
          <a:off x="8482556"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8620806" y="2293090"/>
        <a:ext cx="322582" cy="323453"/>
      </dsp:txXfrm>
    </dsp:sp>
    <dsp:sp modelId="{F9F4735B-F27E-4D9E-A1B7-959823A4C748}">
      <dsp:nvSpPr>
        <dsp:cNvPr id="0" name=""/>
        <dsp:cNvSpPr/>
      </dsp:nvSpPr>
      <dsp:spPr>
        <a:xfrm>
          <a:off x="9134678"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N</a:t>
          </a:r>
        </a:p>
        <a:p>
          <a:pPr marL="0" lvl="0" indent="0" algn="ctr" defTabSz="844550">
            <a:lnSpc>
              <a:spcPct val="90000"/>
            </a:lnSpc>
            <a:spcBef>
              <a:spcPct val="0"/>
            </a:spcBef>
            <a:spcAft>
              <a:spcPct val="35000"/>
            </a:spcAft>
            <a:buNone/>
          </a:pPr>
          <a:br>
            <a:rPr lang="en-US" sz="1900" kern="1200" dirty="0"/>
          </a:br>
          <a:r>
            <a:rPr lang="en-US" sz="1900" kern="1200" dirty="0"/>
            <a:t>Hash of Block N-1</a:t>
          </a:r>
        </a:p>
      </dsp:txBody>
      <dsp:txXfrm>
        <a:off x="9172878" y="1840895"/>
        <a:ext cx="2097339" cy="12278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6D5534-555D-449D-B11E-BCFF90106AAD}">
      <dsp:nvSpPr>
        <dsp:cNvPr id="0" name=""/>
        <dsp:cNvSpPr/>
      </dsp:nvSpPr>
      <dsp:spPr>
        <a:xfrm rot="16200000">
          <a:off x="632867" y="-632867"/>
          <a:ext cx="2302473" cy="3568208"/>
        </a:xfrm>
        <a:prstGeom prst="round1Rect">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r>
            <a:rPr lang="en-US" sz="4100" kern="1200" dirty="0">
              <a:solidFill>
                <a:schemeClr val="bg1"/>
              </a:solidFill>
            </a:rPr>
            <a:t>E</a:t>
          </a:r>
          <a:r>
            <a:rPr lang="en-US" sz="4100" kern="1200" dirty="0"/>
            <a:t>xcite: everyone</a:t>
          </a:r>
        </a:p>
      </dsp:txBody>
      <dsp:txXfrm rot="5400000">
        <a:off x="0" y="0"/>
        <a:ext cx="3568208" cy="1726855"/>
      </dsp:txXfrm>
    </dsp:sp>
    <dsp:sp modelId="{1BEF3893-00FB-45A4-8AB8-DABE1122A4F4}">
      <dsp:nvSpPr>
        <dsp:cNvPr id="0" name=""/>
        <dsp:cNvSpPr/>
      </dsp:nvSpPr>
      <dsp:spPr>
        <a:xfrm>
          <a:off x="3568208" y="0"/>
          <a:ext cx="3568208" cy="2302473"/>
        </a:xfrm>
        <a:prstGeom prst="round1Rect">
          <a:avLst/>
        </a:prstGeom>
        <a:solidFill>
          <a:schemeClr val="accent4">
            <a:hueOff val="-1558329"/>
            <a:satOff val="8804"/>
            <a:lumOff val="98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r>
            <a:rPr lang="en-US" sz="4100" kern="1200" dirty="0">
              <a:solidFill>
                <a:schemeClr val="bg1"/>
              </a:solidFill>
            </a:rPr>
            <a:t>E</a:t>
          </a:r>
          <a:r>
            <a:rPr lang="en-US" sz="4100" kern="1200" dirty="0"/>
            <a:t>xplain: concepts</a:t>
          </a:r>
        </a:p>
      </dsp:txBody>
      <dsp:txXfrm>
        <a:off x="3568208" y="0"/>
        <a:ext cx="3568208" cy="1726855"/>
      </dsp:txXfrm>
    </dsp:sp>
    <dsp:sp modelId="{5F1520F8-E93D-4C5B-8AF3-7F82A916241F}">
      <dsp:nvSpPr>
        <dsp:cNvPr id="0" name=""/>
        <dsp:cNvSpPr/>
      </dsp:nvSpPr>
      <dsp:spPr>
        <a:xfrm rot="10800000">
          <a:off x="0" y="2302473"/>
          <a:ext cx="3568208" cy="2302473"/>
        </a:xfrm>
        <a:prstGeom prst="round1Rect">
          <a:avLst/>
        </a:prstGeom>
        <a:solidFill>
          <a:schemeClr val="accent4">
            <a:hueOff val="-3116659"/>
            <a:satOff val="17608"/>
            <a:lumOff val="196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r>
            <a:rPr lang="en-US" sz="4100" kern="1200" dirty="0">
              <a:solidFill>
                <a:schemeClr val="bg1"/>
              </a:solidFill>
            </a:rPr>
            <a:t>E</a:t>
          </a:r>
          <a:r>
            <a:rPr lang="en-US" sz="4100" kern="1200" dirty="0"/>
            <a:t>xplore: technology</a:t>
          </a:r>
        </a:p>
      </dsp:txBody>
      <dsp:txXfrm rot="10800000">
        <a:off x="0" y="2878091"/>
        <a:ext cx="3568208" cy="1726855"/>
      </dsp:txXfrm>
    </dsp:sp>
    <dsp:sp modelId="{3A72C1C9-65C1-4725-B129-92269A2E31A8}">
      <dsp:nvSpPr>
        <dsp:cNvPr id="0" name=""/>
        <dsp:cNvSpPr/>
      </dsp:nvSpPr>
      <dsp:spPr>
        <a:xfrm rot="5400000">
          <a:off x="4201076" y="1669605"/>
          <a:ext cx="2302473" cy="3568208"/>
        </a:xfrm>
        <a:prstGeom prst="round1Rect">
          <a:avLst/>
        </a:prstGeom>
        <a:solidFill>
          <a:schemeClr val="accent4">
            <a:hueOff val="-4674988"/>
            <a:satOff val="26412"/>
            <a:lumOff val="2942"/>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r>
            <a:rPr lang="en-US" sz="4100" kern="1200" dirty="0">
              <a:solidFill>
                <a:schemeClr val="bg1"/>
              </a:solidFill>
            </a:rPr>
            <a:t>E</a:t>
          </a:r>
          <a:r>
            <a:rPr lang="en-US" sz="4100" kern="1200" dirty="0"/>
            <a:t>ducate: everyone</a:t>
          </a:r>
        </a:p>
      </dsp:txBody>
      <dsp:txXfrm rot="-5400000">
        <a:off x="3568209" y="2878091"/>
        <a:ext cx="3568208" cy="1726855"/>
      </dsp:txXfrm>
    </dsp:sp>
    <dsp:sp modelId="{4FB1F3E0-198C-4355-AE47-B587B2A82EAC}">
      <dsp:nvSpPr>
        <dsp:cNvPr id="0" name=""/>
        <dsp:cNvSpPr/>
      </dsp:nvSpPr>
      <dsp:spPr>
        <a:xfrm>
          <a:off x="855356" y="1726855"/>
          <a:ext cx="5425703" cy="1151236"/>
        </a:xfrm>
        <a:prstGeom prst="roundRect">
          <a:avLst/>
        </a:prstGeom>
        <a:solidFill>
          <a:schemeClr val="accent4">
            <a:tint val="4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Learning</a:t>
          </a:r>
        </a:p>
      </dsp:txBody>
      <dsp:txXfrm>
        <a:off x="911555" y="1783054"/>
        <a:ext cx="5313305" cy="1038838"/>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ED8AAF-596D-47CC-8AA9-FE9A403D71B5}">
      <dsp:nvSpPr>
        <dsp:cNvPr id="0" name=""/>
        <dsp:cNvSpPr/>
      </dsp:nvSpPr>
      <dsp:spPr>
        <a:xfrm>
          <a:off x="15838" y="873144"/>
          <a:ext cx="3042131" cy="2860019"/>
        </a:xfrm>
        <a:prstGeom prst="roundRect">
          <a:avLst>
            <a:gd name="adj" fmla="val 1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Private Key</a:t>
          </a:r>
        </a:p>
        <a:p>
          <a:pPr marL="0" lvl="0" indent="0" algn="ctr" defTabSz="1244600">
            <a:lnSpc>
              <a:spcPct val="90000"/>
            </a:lnSpc>
            <a:spcBef>
              <a:spcPct val="0"/>
            </a:spcBef>
            <a:spcAft>
              <a:spcPct val="35000"/>
            </a:spcAft>
            <a:buNone/>
          </a:pPr>
          <a:r>
            <a:rPr lang="en-US" sz="2000" kern="1200" dirty="0"/>
            <a:t>Known only to Alice</a:t>
          </a:r>
        </a:p>
        <a:p>
          <a:pPr marL="0" lvl="0" indent="0" algn="ctr" defTabSz="1244600">
            <a:lnSpc>
              <a:spcPct val="90000"/>
            </a:lnSpc>
            <a:spcBef>
              <a:spcPct val="0"/>
            </a:spcBef>
            <a:spcAft>
              <a:spcPct val="35000"/>
            </a:spcAft>
            <a:buNone/>
          </a:pPr>
          <a:r>
            <a:rPr lang="en-US" sz="2000" b="0" i="0" kern="1200" dirty="0">
              <a:solidFill>
                <a:srgbClr val="FFFF00"/>
              </a:solidFill>
            </a:rPr>
            <a:t>KxTRGmkJwiwP5mWueT6oB8NN3ZJMnvz6pPyo1Z6CDDFo95YK9SnB</a:t>
          </a:r>
          <a:endParaRPr lang="en-US" sz="2000" kern="1200" dirty="0">
            <a:solidFill>
              <a:srgbClr val="FFFF00"/>
            </a:solidFill>
          </a:endParaRPr>
        </a:p>
      </dsp:txBody>
      <dsp:txXfrm>
        <a:off x="99605" y="956911"/>
        <a:ext cx="2874597" cy="2692485"/>
      </dsp:txXfrm>
    </dsp:sp>
    <dsp:sp modelId="{EA4F222E-15F1-47FB-9D7C-355D31BC7A68}">
      <dsp:nvSpPr>
        <dsp:cNvPr id="0" name=""/>
        <dsp:cNvSpPr/>
      </dsp:nvSpPr>
      <dsp:spPr>
        <a:xfrm>
          <a:off x="3362182" y="1925929"/>
          <a:ext cx="644931" cy="754448"/>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a:p>
      </dsp:txBody>
      <dsp:txXfrm>
        <a:off x="3362182" y="2076819"/>
        <a:ext cx="451452" cy="452668"/>
      </dsp:txXfrm>
    </dsp:sp>
    <dsp:sp modelId="{BBE0EBDE-874A-41F3-9DB8-19304A96A924}">
      <dsp:nvSpPr>
        <dsp:cNvPr id="0" name=""/>
        <dsp:cNvSpPr/>
      </dsp:nvSpPr>
      <dsp:spPr>
        <a:xfrm>
          <a:off x="4274821" y="873144"/>
          <a:ext cx="3042131" cy="2860019"/>
        </a:xfrm>
        <a:prstGeom prst="roundRect">
          <a:avLst>
            <a:gd name="adj" fmla="val 10000"/>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Public Key</a:t>
          </a:r>
        </a:p>
        <a:p>
          <a:pPr marL="0" lvl="0" indent="0" algn="ctr" defTabSz="1244600">
            <a:lnSpc>
              <a:spcPct val="90000"/>
            </a:lnSpc>
            <a:spcBef>
              <a:spcPct val="0"/>
            </a:spcBef>
            <a:spcAft>
              <a:spcPct val="35000"/>
            </a:spcAft>
            <a:buNone/>
          </a:pPr>
          <a:r>
            <a:rPr lang="en-US" sz="2000" kern="1200" dirty="0"/>
            <a:t>Revealed when Alice redeems her coins</a:t>
          </a:r>
        </a:p>
        <a:p>
          <a:pPr marL="0" lvl="0" indent="0" algn="ctr" defTabSz="1244600">
            <a:lnSpc>
              <a:spcPct val="90000"/>
            </a:lnSpc>
            <a:spcBef>
              <a:spcPct val="0"/>
            </a:spcBef>
            <a:spcAft>
              <a:spcPct val="35000"/>
            </a:spcAft>
            <a:buNone/>
          </a:pPr>
          <a:r>
            <a:rPr lang="en-US" sz="2000" b="0" i="0" kern="1200" dirty="0">
              <a:solidFill>
                <a:srgbClr val="FFFF00"/>
              </a:solidFill>
            </a:rPr>
            <a:t>02347A9CC5A0DE6B4CED592C6BCECCFD940BFD11B42867836E338A4020E75A48AB</a:t>
          </a:r>
          <a:endParaRPr lang="en-US" sz="2000" kern="1200" dirty="0">
            <a:solidFill>
              <a:srgbClr val="FFFF00"/>
            </a:solidFill>
          </a:endParaRPr>
        </a:p>
      </dsp:txBody>
      <dsp:txXfrm>
        <a:off x="4358588" y="956911"/>
        <a:ext cx="2874597" cy="2692485"/>
      </dsp:txXfrm>
    </dsp:sp>
    <dsp:sp modelId="{662AEF14-A6E0-4DE5-B42B-EB215E8E5522}">
      <dsp:nvSpPr>
        <dsp:cNvPr id="0" name=""/>
        <dsp:cNvSpPr/>
      </dsp:nvSpPr>
      <dsp:spPr>
        <a:xfrm>
          <a:off x="7621166" y="1925929"/>
          <a:ext cx="644931" cy="754448"/>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a:p>
      </dsp:txBody>
      <dsp:txXfrm>
        <a:off x="7621166" y="2076819"/>
        <a:ext cx="451452" cy="452668"/>
      </dsp:txXfrm>
    </dsp:sp>
    <dsp:sp modelId="{C99AFD6D-42F6-4905-BA3D-5CEC84A17F6A}">
      <dsp:nvSpPr>
        <dsp:cNvPr id="0" name=""/>
        <dsp:cNvSpPr/>
      </dsp:nvSpPr>
      <dsp:spPr>
        <a:xfrm>
          <a:off x="8533805" y="873144"/>
          <a:ext cx="3042131" cy="2860019"/>
        </a:xfrm>
        <a:prstGeom prst="roundRect">
          <a:avLst>
            <a:gd name="adj" fmla="val 1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Public Address</a:t>
          </a:r>
        </a:p>
        <a:p>
          <a:pPr marL="0" lvl="0" indent="0" algn="ctr" defTabSz="1244600">
            <a:lnSpc>
              <a:spcPct val="90000"/>
            </a:lnSpc>
            <a:spcBef>
              <a:spcPct val="0"/>
            </a:spcBef>
            <a:spcAft>
              <a:spcPct val="35000"/>
            </a:spcAft>
            <a:buNone/>
          </a:pPr>
          <a:r>
            <a:rPr lang="en-US" sz="2000" kern="1200" dirty="0"/>
            <a:t>Publicly available on the blockchain. Not linked to Alice. Only Bob knows that is belongs to Alice.</a:t>
          </a:r>
        </a:p>
        <a:p>
          <a:pPr marL="0" lvl="0" indent="0" algn="ctr" defTabSz="1244600">
            <a:lnSpc>
              <a:spcPct val="90000"/>
            </a:lnSpc>
            <a:spcBef>
              <a:spcPct val="0"/>
            </a:spcBef>
            <a:spcAft>
              <a:spcPct val="35000"/>
            </a:spcAft>
            <a:buNone/>
          </a:pPr>
          <a:r>
            <a:rPr lang="en-US" sz="2000" b="0" i="0" kern="1200" dirty="0">
              <a:solidFill>
                <a:srgbClr val="FFFF00"/>
              </a:solidFill>
            </a:rPr>
            <a:t>15L2F3ZToMtHJjQzLfw7o8e323XTcBxrm4</a:t>
          </a:r>
          <a:endParaRPr lang="en-US" sz="2000" kern="1200" dirty="0">
            <a:solidFill>
              <a:srgbClr val="FFFF00"/>
            </a:solidFill>
          </a:endParaRPr>
        </a:p>
      </dsp:txBody>
      <dsp:txXfrm>
        <a:off x="8617572" y="956911"/>
        <a:ext cx="2874597" cy="269248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C98577-9720-4B53-BD8F-59407FA52E71}">
      <dsp:nvSpPr>
        <dsp:cNvPr id="0" name=""/>
        <dsp:cNvSpPr/>
      </dsp:nvSpPr>
      <dsp:spPr>
        <a:xfrm>
          <a:off x="2243" y="0"/>
          <a:ext cx="2027734" cy="968124"/>
        </a:xfrm>
        <a:prstGeom prst="rect">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err="1"/>
            <a:t>Tx</a:t>
          </a:r>
          <a:endParaRPr lang="en-US" sz="2400" kern="1200" dirty="0"/>
        </a:p>
        <a:p>
          <a:pPr marL="228600" lvl="1" indent="-228600" algn="l" defTabSz="889000">
            <a:lnSpc>
              <a:spcPct val="90000"/>
            </a:lnSpc>
            <a:spcBef>
              <a:spcPct val="0"/>
            </a:spcBef>
            <a:spcAft>
              <a:spcPct val="15000"/>
            </a:spcAft>
            <a:buChar char="•"/>
          </a:pPr>
          <a:r>
            <a:rPr lang="en-US" sz="2000" kern="1200" dirty="0"/>
            <a:t>Send .9 BTC</a:t>
          </a:r>
        </a:p>
      </dsp:txBody>
      <dsp:txXfrm>
        <a:off x="2243" y="0"/>
        <a:ext cx="2027734" cy="96812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5D0553-645B-4A73-BC58-4D3B4821876E}">
      <dsp:nvSpPr>
        <dsp:cNvPr id="0" name=""/>
        <dsp:cNvSpPr/>
      </dsp:nvSpPr>
      <dsp:spPr>
        <a:xfrm>
          <a:off x="9908" y="1230052"/>
          <a:ext cx="2961624" cy="1776974"/>
        </a:xfrm>
        <a:prstGeom prst="roundRect">
          <a:avLst>
            <a:gd name="adj" fmla="val 1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reate keys</a:t>
          </a:r>
        </a:p>
        <a:p>
          <a:pPr marL="114300" lvl="1" indent="-114300" algn="l" defTabSz="622300">
            <a:lnSpc>
              <a:spcPct val="90000"/>
            </a:lnSpc>
            <a:spcBef>
              <a:spcPct val="0"/>
            </a:spcBef>
            <a:spcAft>
              <a:spcPct val="15000"/>
            </a:spcAft>
            <a:buChar char="•"/>
          </a:pPr>
          <a:r>
            <a:rPr lang="en-US" sz="1400" kern="1200" dirty="0"/>
            <a:t>Alice chooses a size and generates a private key</a:t>
          </a:r>
        </a:p>
        <a:p>
          <a:pPr marL="114300" lvl="1" indent="-114300" algn="l" defTabSz="622300">
            <a:lnSpc>
              <a:spcPct val="90000"/>
            </a:lnSpc>
            <a:spcBef>
              <a:spcPct val="0"/>
            </a:spcBef>
            <a:spcAft>
              <a:spcPct val="15000"/>
            </a:spcAft>
            <a:buChar char="•"/>
          </a:pPr>
          <a:r>
            <a:rPr lang="en-US" sz="1400" kern="1200" dirty="0"/>
            <a:t>Then Alice uses the private key to generate a paired public key</a:t>
          </a:r>
        </a:p>
      </dsp:txBody>
      <dsp:txXfrm>
        <a:off x="61954" y="1282098"/>
        <a:ext cx="2857532" cy="1672882"/>
      </dsp:txXfrm>
    </dsp:sp>
    <dsp:sp modelId="{882FEAC3-9BC5-4984-A4C3-65B3FD8538E1}">
      <dsp:nvSpPr>
        <dsp:cNvPr id="0" name=""/>
        <dsp:cNvSpPr/>
      </dsp:nvSpPr>
      <dsp:spPr>
        <a:xfrm>
          <a:off x="3267695" y="1751298"/>
          <a:ext cx="627864" cy="734482"/>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267695" y="1898194"/>
        <a:ext cx="439505" cy="440690"/>
      </dsp:txXfrm>
    </dsp:sp>
    <dsp:sp modelId="{F530A767-A704-4CBE-913F-E91F32B8AC6F}">
      <dsp:nvSpPr>
        <dsp:cNvPr id="0" name=""/>
        <dsp:cNvSpPr/>
      </dsp:nvSpPr>
      <dsp:spPr>
        <a:xfrm>
          <a:off x="4156182" y="1230052"/>
          <a:ext cx="2961624" cy="1776974"/>
        </a:xfrm>
        <a:prstGeom prst="roundRect">
          <a:avLst>
            <a:gd name="adj" fmla="val 10000"/>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reate Signature</a:t>
          </a:r>
        </a:p>
        <a:p>
          <a:pPr marL="114300" lvl="1" indent="-114300" algn="l" defTabSz="622300">
            <a:lnSpc>
              <a:spcPct val="90000"/>
            </a:lnSpc>
            <a:spcBef>
              <a:spcPct val="0"/>
            </a:spcBef>
            <a:spcAft>
              <a:spcPct val="15000"/>
            </a:spcAft>
            <a:buChar char="•"/>
          </a:pPr>
          <a:r>
            <a:rPr lang="en-US" sz="1400" kern="1200" dirty="0"/>
            <a:t>Alice uses the private key to sign a message (document)</a:t>
          </a:r>
        </a:p>
        <a:p>
          <a:pPr marL="114300" lvl="1" indent="-114300" algn="l" defTabSz="622300">
            <a:lnSpc>
              <a:spcPct val="90000"/>
            </a:lnSpc>
            <a:spcBef>
              <a:spcPct val="0"/>
            </a:spcBef>
            <a:spcAft>
              <a:spcPct val="15000"/>
            </a:spcAft>
            <a:buChar char="•"/>
          </a:pPr>
          <a:r>
            <a:rPr lang="en-US" sz="1400" kern="1200" dirty="0"/>
            <a:t>This creates a unique signature</a:t>
          </a:r>
        </a:p>
        <a:p>
          <a:pPr marL="114300" lvl="1" indent="-114300" algn="l" defTabSz="622300">
            <a:lnSpc>
              <a:spcPct val="90000"/>
            </a:lnSpc>
            <a:spcBef>
              <a:spcPct val="0"/>
            </a:spcBef>
            <a:spcAft>
              <a:spcPct val="15000"/>
            </a:spcAft>
            <a:buChar char="•"/>
          </a:pPr>
          <a:r>
            <a:rPr lang="en-US" sz="1400" kern="1200" dirty="0"/>
            <a:t>Alice sends the signature, message and public key to Bob</a:t>
          </a:r>
        </a:p>
      </dsp:txBody>
      <dsp:txXfrm>
        <a:off x="4208228" y="1282098"/>
        <a:ext cx="2857532" cy="1672882"/>
      </dsp:txXfrm>
    </dsp:sp>
    <dsp:sp modelId="{B9250C3A-158B-4CC2-8B9D-3432F701855C}">
      <dsp:nvSpPr>
        <dsp:cNvPr id="0" name=""/>
        <dsp:cNvSpPr/>
      </dsp:nvSpPr>
      <dsp:spPr>
        <a:xfrm>
          <a:off x="7413968" y="1751298"/>
          <a:ext cx="627864" cy="734482"/>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413968" y="1898194"/>
        <a:ext cx="439505" cy="440690"/>
      </dsp:txXfrm>
    </dsp:sp>
    <dsp:sp modelId="{F435E16F-BC5B-4E9D-B5B0-4FC8185E2128}">
      <dsp:nvSpPr>
        <dsp:cNvPr id="0" name=""/>
        <dsp:cNvSpPr/>
      </dsp:nvSpPr>
      <dsp:spPr>
        <a:xfrm>
          <a:off x="8302456" y="1230052"/>
          <a:ext cx="2961624" cy="1776974"/>
        </a:xfrm>
        <a:prstGeom prst="roundRect">
          <a:avLst>
            <a:gd name="adj" fmla="val 1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Verify</a:t>
          </a:r>
        </a:p>
        <a:p>
          <a:pPr marL="114300" lvl="1" indent="-114300" algn="l" defTabSz="622300">
            <a:lnSpc>
              <a:spcPct val="90000"/>
            </a:lnSpc>
            <a:spcBef>
              <a:spcPct val="0"/>
            </a:spcBef>
            <a:spcAft>
              <a:spcPct val="15000"/>
            </a:spcAft>
            <a:buChar char="•"/>
          </a:pPr>
          <a:r>
            <a:rPr lang="en-US" sz="1400" kern="1200" dirty="0"/>
            <a:t>Bob uses the signature, message and public key to verify that Alice must have known the private key (to the public key)</a:t>
          </a:r>
        </a:p>
        <a:p>
          <a:pPr marL="114300" lvl="1" indent="-114300" algn="l" defTabSz="622300">
            <a:lnSpc>
              <a:spcPct val="90000"/>
            </a:lnSpc>
            <a:spcBef>
              <a:spcPct val="0"/>
            </a:spcBef>
            <a:spcAft>
              <a:spcPct val="15000"/>
            </a:spcAft>
            <a:buChar char="•"/>
          </a:pPr>
          <a:r>
            <a:rPr lang="en-US" sz="1400" kern="1200" dirty="0"/>
            <a:t>Therefore Alice is the </a:t>
          </a:r>
          <a:r>
            <a:rPr lang="en-US" sz="1400" kern="1200" dirty="0" err="1"/>
            <a:t>bonafide</a:t>
          </a:r>
          <a:r>
            <a:rPr lang="en-US" sz="1400" kern="1200" dirty="0"/>
            <a:t> signee</a:t>
          </a:r>
        </a:p>
      </dsp:txBody>
      <dsp:txXfrm>
        <a:off x="8354502" y="1282098"/>
        <a:ext cx="2857532" cy="1672882"/>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236C9-F075-4B20-809B-96A1EAADFB93}">
      <dsp:nvSpPr>
        <dsp:cNvPr id="0" name=""/>
        <dsp:cNvSpPr/>
      </dsp:nvSpPr>
      <dsp:spPr>
        <a:xfrm>
          <a:off x="0" y="-133092"/>
          <a:ext cx="7395934" cy="1705274"/>
        </a:xfrm>
        <a:prstGeom prst="rect">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Block size (in Bytes)</a:t>
          </a:r>
          <a:br>
            <a:rPr lang="en-US" sz="2800" kern="1200" dirty="0"/>
          </a:br>
          <a:r>
            <a:rPr lang="en-US" sz="2800" kern="1200" dirty="0"/>
            <a:t>Block header</a:t>
          </a:r>
          <a:br>
            <a:rPr lang="en-US" sz="2800" kern="1200" dirty="0"/>
          </a:br>
          <a:r>
            <a:rPr lang="en-US" sz="2800" kern="1200" dirty="0"/>
            <a:t>Transaction counter (number)</a:t>
          </a:r>
          <a:br>
            <a:rPr lang="en-US" sz="2800" kern="1200" dirty="0"/>
          </a:br>
          <a:r>
            <a:rPr lang="en-US" sz="2800" kern="1200" dirty="0"/>
            <a:t>List of transactions</a:t>
          </a:r>
        </a:p>
      </dsp:txBody>
      <dsp:txXfrm>
        <a:off x="0" y="-133092"/>
        <a:ext cx="7395934" cy="1705274"/>
      </dsp:txXfrm>
    </dsp:sp>
    <dsp:sp modelId="{9EF5E2D7-033F-4DBF-AE33-F918BEEF7B50}">
      <dsp:nvSpPr>
        <dsp:cNvPr id="0" name=""/>
        <dsp:cNvSpPr/>
      </dsp:nvSpPr>
      <dsp:spPr>
        <a:xfrm>
          <a:off x="0" y="1430088"/>
          <a:ext cx="1848983" cy="2463100"/>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840" tIns="243840" rIns="243840" bIns="243840" numCol="1" spcCol="1270" anchor="ctr" anchorCtr="0">
          <a:noAutofit/>
        </a:bodyPr>
        <a:lstStyle/>
        <a:p>
          <a:pPr marL="0" lvl="0" indent="0" algn="ctr" defTabSz="2844800">
            <a:lnSpc>
              <a:spcPct val="90000"/>
            </a:lnSpc>
            <a:spcBef>
              <a:spcPct val="0"/>
            </a:spcBef>
            <a:spcAft>
              <a:spcPct val="35000"/>
            </a:spcAft>
            <a:buNone/>
          </a:pPr>
          <a:r>
            <a:rPr lang="en-US" sz="6400" kern="1200" dirty="0"/>
            <a:t>Tx1</a:t>
          </a:r>
        </a:p>
      </dsp:txBody>
      <dsp:txXfrm>
        <a:off x="0" y="1430088"/>
        <a:ext cx="1848983" cy="2463100"/>
      </dsp:txXfrm>
    </dsp:sp>
    <dsp:sp modelId="{362084D0-18BB-4BD2-9ADE-7DA49FE976E1}">
      <dsp:nvSpPr>
        <dsp:cNvPr id="0" name=""/>
        <dsp:cNvSpPr/>
      </dsp:nvSpPr>
      <dsp:spPr>
        <a:xfrm>
          <a:off x="1848983" y="1430088"/>
          <a:ext cx="1848983" cy="2463100"/>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840" tIns="243840" rIns="243840" bIns="243840" numCol="1" spcCol="1270" anchor="ctr" anchorCtr="0">
          <a:noAutofit/>
        </a:bodyPr>
        <a:lstStyle/>
        <a:p>
          <a:pPr marL="0" lvl="0" indent="0" algn="ctr" defTabSz="2844800">
            <a:lnSpc>
              <a:spcPct val="90000"/>
            </a:lnSpc>
            <a:spcBef>
              <a:spcPct val="0"/>
            </a:spcBef>
            <a:spcAft>
              <a:spcPct val="35000"/>
            </a:spcAft>
            <a:buNone/>
          </a:pPr>
          <a:r>
            <a:rPr lang="en-US" sz="6400" kern="1200" dirty="0"/>
            <a:t>Tx2</a:t>
          </a:r>
        </a:p>
      </dsp:txBody>
      <dsp:txXfrm>
        <a:off x="1848983" y="1430088"/>
        <a:ext cx="1848983" cy="2463100"/>
      </dsp:txXfrm>
    </dsp:sp>
    <dsp:sp modelId="{B1DCB617-022C-46C5-9D19-5E7942F8FFED}">
      <dsp:nvSpPr>
        <dsp:cNvPr id="0" name=""/>
        <dsp:cNvSpPr/>
      </dsp:nvSpPr>
      <dsp:spPr>
        <a:xfrm>
          <a:off x="3697967" y="1430088"/>
          <a:ext cx="1848983" cy="2463100"/>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840" tIns="243840" rIns="243840" bIns="243840" numCol="1" spcCol="1270" anchor="ctr" anchorCtr="0">
          <a:noAutofit/>
        </a:bodyPr>
        <a:lstStyle/>
        <a:p>
          <a:pPr marL="0" lvl="0" indent="0" algn="ctr" defTabSz="2844800">
            <a:lnSpc>
              <a:spcPct val="90000"/>
            </a:lnSpc>
            <a:spcBef>
              <a:spcPct val="0"/>
            </a:spcBef>
            <a:spcAft>
              <a:spcPct val="35000"/>
            </a:spcAft>
            <a:buNone/>
          </a:pPr>
          <a:r>
            <a:rPr lang="en-US" sz="6400" kern="1200" dirty="0"/>
            <a:t>Tx3</a:t>
          </a:r>
        </a:p>
      </dsp:txBody>
      <dsp:txXfrm>
        <a:off x="3697967" y="1430088"/>
        <a:ext cx="1848983" cy="2463100"/>
      </dsp:txXfrm>
    </dsp:sp>
    <dsp:sp modelId="{5235E597-3D07-4886-8697-D7F082691EAB}">
      <dsp:nvSpPr>
        <dsp:cNvPr id="0" name=""/>
        <dsp:cNvSpPr/>
      </dsp:nvSpPr>
      <dsp:spPr>
        <a:xfrm>
          <a:off x="5546950" y="1430088"/>
          <a:ext cx="1848983" cy="2463100"/>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840" tIns="243840" rIns="243840" bIns="243840" numCol="1" spcCol="1270" anchor="ctr" anchorCtr="0">
          <a:noAutofit/>
        </a:bodyPr>
        <a:lstStyle/>
        <a:p>
          <a:pPr marL="0" lvl="0" indent="0" algn="ctr" defTabSz="2844800">
            <a:lnSpc>
              <a:spcPct val="90000"/>
            </a:lnSpc>
            <a:spcBef>
              <a:spcPct val="0"/>
            </a:spcBef>
            <a:spcAft>
              <a:spcPct val="35000"/>
            </a:spcAft>
            <a:buNone/>
          </a:pPr>
          <a:r>
            <a:rPr lang="en-US" sz="6400" kern="1200" dirty="0"/>
            <a:t>…</a:t>
          </a:r>
        </a:p>
      </dsp:txBody>
      <dsp:txXfrm>
        <a:off x="5546950" y="1430088"/>
        <a:ext cx="1848983" cy="2463100"/>
      </dsp:txXfrm>
    </dsp:sp>
    <dsp:sp modelId="{2DA1031C-60B5-439E-9C70-7E0E1D5ACB01}">
      <dsp:nvSpPr>
        <dsp:cNvPr id="0" name=""/>
        <dsp:cNvSpPr/>
      </dsp:nvSpPr>
      <dsp:spPr>
        <a:xfrm>
          <a:off x="0" y="3769097"/>
          <a:ext cx="7395934" cy="273677"/>
        </a:xfrm>
        <a:prstGeom prst="rect">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AB5AD-349B-415B-AC54-9EC1EEE41472}">
      <dsp:nvSpPr>
        <dsp:cNvPr id="0" name=""/>
        <dsp:cNvSpPr/>
      </dsp:nvSpPr>
      <dsp:spPr>
        <a:xfrm>
          <a:off x="0" y="0"/>
          <a:ext cx="8647913" cy="3460849"/>
        </a:xfrm>
        <a:prstGeom prst="rect">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dirty="0"/>
            <a:t>Version (number)</a:t>
          </a:r>
          <a:br>
            <a:rPr lang="en-US" sz="3500" kern="1200" dirty="0"/>
          </a:br>
          <a:r>
            <a:rPr lang="en-US" sz="3500" kern="1200" dirty="0"/>
            <a:t>Hash of previous block</a:t>
          </a:r>
          <a:br>
            <a:rPr lang="en-US" sz="3500" kern="1200" dirty="0"/>
          </a:br>
          <a:r>
            <a:rPr lang="en-US" sz="3500" kern="1200" dirty="0" err="1"/>
            <a:t>Merkle</a:t>
          </a:r>
          <a:r>
            <a:rPr lang="en-US" sz="3500" kern="1200" dirty="0"/>
            <a:t> root (fingerprint of all transactions)</a:t>
          </a:r>
          <a:br>
            <a:rPr lang="en-US" sz="3500" kern="1200" dirty="0"/>
          </a:br>
          <a:r>
            <a:rPr lang="en-US" sz="3500" i="1" kern="1200" dirty="0"/>
            <a:t>Timestamp*</a:t>
          </a:r>
          <a:br>
            <a:rPr lang="en-US" sz="3500" i="1" kern="1200" dirty="0"/>
          </a:br>
          <a:r>
            <a:rPr lang="en-US" sz="3500" i="1" kern="1200" dirty="0"/>
            <a:t>Difficulty target*</a:t>
          </a:r>
          <a:br>
            <a:rPr lang="en-US" sz="3500" i="1" kern="1200" dirty="0"/>
          </a:br>
          <a:r>
            <a:rPr lang="en-US" sz="3500" i="1" kern="1200" dirty="0"/>
            <a:t>Nonce*</a:t>
          </a:r>
        </a:p>
      </dsp:txBody>
      <dsp:txXfrm>
        <a:off x="0" y="0"/>
        <a:ext cx="8647913" cy="346084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C98577-9720-4B53-BD8F-59407FA52E71}">
      <dsp:nvSpPr>
        <dsp:cNvPr id="0" name=""/>
        <dsp:cNvSpPr/>
      </dsp:nvSpPr>
      <dsp:spPr>
        <a:xfrm>
          <a:off x="0" y="0"/>
          <a:ext cx="821200" cy="492720"/>
        </a:xfrm>
        <a:prstGeom prst="rect">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1</a:t>
          </a:r>
        </a:p>
      </dsp:txBody>
      <dsp:txXfrm>
        <a:off x="0" y="0"/>
        <a:ext cx="821200" cy="49272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6B6FDF-20A3-4877-A2D1-0718E6509028}">
      <dsp:nvSpPr>
        <dsp:cNvPr id="0" name=""/>
        <dsp:cNvSpPr/>
      </dsp:nvSpPr>
      <dsp:spPr>
        <a:xfrm>
          <a:off x="0" y="182845"/>
          <a:ext cx="971927" cy="1668742"/>
        </a:xfrm>
        <a:prstGeom prst="rect">
          <a:avLst/>
        </a:prstGeom>
        <a:solidFill>
          <a:schemeClr val="accent4">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4">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Block</a:t>
          </a:r>
        </a:p>
        <a:p>
          <a:pPr marL="114300" lvl="1" indent="-114300" algn="l" defTabSz="666750">
            <a:lnSpc>
              <a:spcPct val="90000"/>
            </a:lnSpc>
            <a:spcBef>
              <a:spcPct val="0"/>
            </a:spcBef>
            <a:spcAft>
              <a:spcPct val="15000"/>
            </a:spcAft>
            <a:buChar char="•"/>
          </a:pPr>
          <a:r>
            <a:rPr lang="en-US" sz="1500" kern="1200" dirty="0"/>
            <a:t>TX1</a:t>
          </a:r>
        </a:p>
        <a:p>
          <a:pPr marL="114300" lvl="1" indent="-114300" algn="l" defTabSz="666750">
            <a:lnSpc>
              <a:spcPct val="90000"/>
            </a:lnSpc>
            <a:spcBef>
              <a:spcPct val="0"/>
            </a:spcBef>
            <a:spcAft>
              <a:spcPct val="15000"/>
            </a:spcAft>
            <a:buChar char="•"/>
          </a:pPr>
          <a:r>
            <a:rPr lang="en-US" sz="1500" kern="1200" dirty="0"/>
            <a:t>TX2</a:t>
          </a:r>
        </a:p>
        <a:p>
          <a:pPr marL="114300" lvl="1" indent="-114300" algn="l" defTabSz="666750">
            <a:lnSpc>
              <a:spcPct val="90000"/>
            </a:lnSpc>
            <a:spcBef>
              <a:spcPct val="0"/>
            </a:spcBef>
            <a:spcAft>
              <a:spcPct val="15000"/>
            </a:spcAft>
            <a:buChar char="•"/>
          </a:pPr>
          <a:r>
            <a:rPr lang="en-US" sz="1500" kern="1200" dirty="0"/>
            <a:t>TX3</a:t>
          </a:r>
        </a:p>
        <a:p>
          <a:pPr marL="114300" lvl="1" indent="-114300" algn="l" defTabSz="666750">
            <a:lnSpc>
              <a:spcPct val="90000"/>
            </a:lnSpc>
            <a:spcBef>
              <a:spcPct val="0"/>
            </a:spcBef>
            <a:spcAft>
              <a:spcPct val="15000"/>
            </a:spcAft>
            <a:buChar char="•"/>
          </a:pPr>
          <a:r>
            <a:rPr lang="en-US" sz="1500" kern="1200" dirty="0"/>
            <a:t>TX4</a:t>
          </a:r>
        </a:p>
        <a:p>
          <a:pPr marL="114300" lvl="1" indent="-114300" algn="l" defTabSz="666750">
            <a:lnSpc>
              <a:spcPct val="90000"/>
            </a:lnSpc>
            <a:spcBef>
              <a:spcPct val="0"/>
            </a:spcBef>
            <a:spcAft>
              <a:spcPct val="15000"/>
            </a:spcAft>
            <a:buChar char="•"/>
          </a:pPr>
          <a:r>
            <a:rPr lang="en-US" sz="1500" kern="1200" dirty="0"/>
            <a:t>TX5</a:t>
          </a:r>
        </a:p>
      </dsp:txBody>
      <dsp:txXfrm>
        <a:off x="0" y="182845"/>
        <a:ext cx="971927" cy="166874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28224-E15C-4D1F-B2C0-F33C74DE4695}">
      <dsp:nvSpPr>
        <dsp:cNvPr id="0" name=""/>
        <dsp:cNvSpPr/>
      </dsp:nvSpPr>
      <dsp:spPr>
        <a:xfrm>
          <a:off x="0" y="107047"/>
          <a:ext cx="1159323" cy="695593"/>
        </a:xfrm>
        <a:prstGeom prst="roundRect">
          <a:avLst>
            <a:gd name="adj" fmla="val 1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lock 4</a:t>
          </a:r>
        </a:p>
      </dsp:txBody>
      <dsp:txXfrm>
        <a:off x="20373" y="127420"/>
        <a:ext cx="1118577" cy="654847"/>
      </dsp:txXfrm>
    </dsp:sp>
    <dsp:sp modelId="{940471B9-744B-4D9B-A499-A763A7DF19C0}">
      <dsp:nvSpPr>
        <dsp:cNvPr id="0" name=""/>
        <dsp:cNvSpPr/>
      </dsp:nvSpPr>
      <dsp:spPr>
        <a:xfrm rot="5400000">
          <a:off x="456773" y="883794"/>
          <a:ext cx="245776" cy="287512"/>
        </a:xfrm>
        <a:prstGeom prst="rightArrow">
          <a:avLst>
            <a:gd name="adj1" fmla="val 60000"/>
            <a:gd name="adj2" fmla="val 5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904662"/>
        <a:ext cx="172508" cy="172043"/>
      </dsp:txXfrm>
    </dsp:sp>
    <dsp:sp modelId="{7C2E10AC-59E7-4CD2-9387-A79414701974}">
      <dsp:nvSpPr>
        <dsp:cNvPr id="0" name=""/>
        <dsp:cNvSpPr/>
      </dsp:nvSpPr>
      <dsp:spPr>
        <a:xfrm>
          <a:off x="0" y="1266370"/>
          <a:ext cx="1159323" cy="695593"/>
        </a:xfrm>
        <a:prstGeom prst="roundRect">
          <a:avLst>
            <a:gd name="adj" fmla="val 10000"/>
          </a:avLst>
        </a:prstGeom>
        <a:solidFill>
          <a:schemeClr val="accent5">
            <a:hueOff val="4053220"/>
            <a:satOff val="-3502"/>
            <a:lumOff val="-4117"/>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4053220"/>
              <a:satOff val="-3502"/>
              <a:lumOff val="-4117"/>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lock 3</a:t>
          </a:r>
        </a:p>
      </dsp:txBody>
      <dsp:txXfrm>
        <a:off x="20373" y="1286743"/>
        <a:ext cx="1118577" cy="654847"/>
      </dsp:txXfrm>
    </dsp:sp>
    <dsp:sp modelId="{F838F4A0-E84C-433C-8DB8-4832537345A3}">
      <dsp:nvSpPr>
        <dsp:cNvPr id="0" name=""/>
        <dsp:cNvSpPr/>
      </dsp:nvSpPr>
      <dsp:spPr>
        <a:xfrm rot="5400000">
          <a:off x="456773" y="2043117"/>
          <a:ext cx="245776" cy="287512"/>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5404294"/>
              <a:satOff val="-4669"/>
              <a:lumOff val="-548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2063985"/>
        <a:ext cx="172508" cy="172043"/>
      </dsp:txXfrm>
    </dsp:sp>
    <dsp:sp modelId="{B8517952-6C83-4CCC-8EC4-6EAB65C2FF1C}">
      <dsp:nvSpPr>
        <dsp:cNvPr id="0" name=""/>
        <dsp:cNvSpPr/>
      </dsp:nvSpPr>
      <dsp:spPr>
        <a:xfrm>
          <a:off x="0" y="2425693"/>
          <a:ext cx="1159323" cy="695593"/>
        </a:xfrm>
        <a:prstGeom prst="roundRect">
          <a:avLst>
            <a:gd name="adj" fmla="val 10000"/>
          </a:avLst>
        </a:prstGeom>
        <a:solidFill>
          <a:schemeClr val="accent5">
            <a:hueOff val="8106441"/>
            <a:satOff val="-7003"/>
            <a:lumOff val="-823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8106441"/>
              <a:satOff val="-7003"/>
              <a:lumOff val="-823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lock 2</a:t>
          </a:r>
        </a:p>
      </dsp:txBody>
      <dsp:txXfrm>
        <a:off x="20373" y="2446066"/>
        <a:ext cx="1118577" cy="654847"/>
      </dsp:txXfrm>
    </dsp:sp>
    <dsp:sp modelId="{8F721480-5647-4B1F-9333-2CB93EF5DE18}">
      <dsp:nvSpPr>
        <dsp:cNvPr id="0" name=""/>
        <dsp:cNvSpPr/>
      </dsp:nvSpPr>
      <dsp:spPr>
        <a:xfrm rot="5400000">
          <a:off x="456773" y="3202440"/>
          <a:ext cx="245776" cy="287512"/>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0808588"/>
              <a:satOff val="-9337"/>
              <a:lumOff val="-1097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3223308"/>
        <a:ext cx="172508" cy="172043"/>
      </dsp:txXfrm>
    </dsp:sp>
    <dsp:sp modelId="{2C38D92E-C86A-4C42-A8BF-5157757EBEEA}">
      <dsp:nvSpPr>
        <dsp:cNvPr id="0" name=""/>
        <dsp:cNvSpPr/>
      </dsp:nvSpPr>
      <dsp:spPr>
        <a:xfrm>
          <a:off x="0" y="3585016"/>
          <a:ext cx="1159323" cy="695593"/>
        </a:xfrm>
        <a:prstGeom prst="roundRect">
          <a:avLst>
            <a:gd name="adj" fmla="val 10000"/>
          </a:avLst>
        </a:prstGeom>
        <a:solidFill>
          <a:schemeClr val="accent5">
            <a:hueOff val="12159661"/>
            <a:satOff val="-10505"/>
            <a:lumOff val="-12351"/>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2159661"/>
              <a:satOff val="-10505"/>
              <a:lumOff val="-12351"/>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lock 1</a:t>
          </a:r>
        </a:p>
      </dsp:txBody>
      <dsp:txXfrm>
        <a:off x="20373" y="3605389"/>
        <a:ext cx="1118577" cy="654847"/>
      </dsp:txXfrm>
    </dsp:sp>
    <dsp:sp modelId="{9228D13A-DF69-4910-99BD-6983DEB0B6FE}">
      <dsp:nvSpPr>
        <dsp:cNvPr id="0" name=""/>
        <dsp:cNvSpPr/>
      </dsp:nvSpPr>
      <dsp:spPr>
        <a:xfrm rot="5400000">
          <a:off x="456773" y="4361763"/>
          <a:ext cx="245776" cy="287512"/>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4382631"/>
        <a:ext cx="172508" cy="172043"/>
      </dsp:txXfrm>
    </dsp:sp>
    <dsp:sp modelId="{60E64AD6-BD96-4696-9E4A-3DADEE55E866}">
      <dsp:nvSpPr>
        <dsp:cNvPr id="0" name=""/>
        <dsp:cNvSpPr/>
      </dsp:nvSpPr>
      <dsp:spPr>
        <a:xfrm>
          <a:off x="0" y="4744339"/>
          <a:ext cx="1159323" cy="695593"/>
        </a:xfrm>
        <a:prstGeom prst="roundRect">
          <a:avLst>
            <a:gd name="adj" fmla="val 1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lock 0</a:t>
          </a:r>
        </a:p>
      </dsp:txBody>
      <dsp:txXfrm>
        <a:off x="20373" y="4764712"/>
        <a:ext cx="1118577" cy="654847"/>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39B43-5277-4B55-9634-9E76CFD5F86F}">
      <dsp:nvSpPr>
        <dsp:cNvPr id="0" name=""/>
        <dsp:cNvSpPr/>
      </dsp:nvSpPr>
      <dsp:spPr>
        <a:xfrm>
          <a:off x="0" y="193752"/>
          <a:ext cx="2800537" cy="1680322"/>
        </a:xfrm>
        <a:prstGeom prst="rect">
          <a:avLst/>
        </a:prstGeom>
        <a:solidFill>
          <a:schemeClr val="accent6">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6">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Miner</a:t>
          </a:r>
        </a:p>
        <a:p>
          <a:pPr marL="114300" lvl="1" indent="-114300" algn="l" defTabSz="622300">
            <a:lnSpc>
              <a:spcPct val="90000"/>
            </a:lnSpc>
            <a:spcBef>
              <a:spcPct val="0"/>
            </a:spcBef>
            <a:spcAft>
              <a:spcPct val="15000"/>
            </a:spcAft>
            <a:buChar char="•"/>
          </a:pPr>
          <a:r>
            <a:rPr lang="en-US" sz="1400" kern="1200"/>
            <a:t>Verify </a:t>
          </a:r>
          <a:r>
            <a:rPr lang="en-US" sz="1400" kern="1200" dirty="0"/>
            <a:t>all transactions</a:t>
          </a:r>
        </a:p>
        <a:p>
          <a:pPr marL="114300" lvl="1" indent="-114300" algn="l" defTabSz="622300">
            <a:lnSpc>
              <a:spcPct val="90000"/>
            </a:lnSpc>
            <a:spcBef>
              <a:spcPct val="0"/>
            </a:spcBef>
            <a:spcAft>
              <a:spcPct val="15000"/>
            </a:spcAft>
            <a:buChar char="•"/>
          </a:pPr>
          <a:r>
            <a:rPr lang="en-US" sz="1400" kern="1200" dirty="0"/>
            <a:t>Stuff transactions into a block</a:t>
          </a:r>
        </a:p>
        <a:p>
          <a:pPr marL="114300" lvl="1" indent="-114300" algn="l" defTabSz="622300">
            <a:lnSpc>
              <a:spcPct val="90000"/>
            </a:lnSpc>
            <a:spcBef>
              <a:spcPct val="0"/>
            </a:spcBef>
            <a:spcAft>
              <a:spcPct val="15000"/>
            </a:spcAft>
            <a:buChar char="•"/>
          </a:pPr>
          <a:r>
            <a:rPr lang="en-US" sz="1400" kern="1200" dirty="0"/>
            <a:t>Solve a math puzzle Proof of Work</a:t>
          </a:r>
        </a:p>
        <a:p>
          <a:pPr marL="114300" lvl="1" indent="-114300" algn="l" defTabSz="622300">
            <a:lnSpc>
              <a:spcPct val="90000"/>
            </a:lnSpc>
            <a:spcBef>
              <a:spcPct val="0"/>
            </a:spcBef>
            <a:spcAft>
              <a:spcPct val="15000"/>
            </a:spcAft>
            <a:buChar char="•"/>
          </a:pPr>
          <a:r>
            <a:rPr lang="en-US" sz="1400" kern="1200" dirty="0"/>
            <a:t>Add the block to the blockchain</a:t>
          </a:r>
        </a:p>
      </dsp:txBody>
      <dsp:txXfrm>
        <a:off x="0" y="193752"/>
        <a:ext cx="2800537" cy="168032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FF9EB3-CDCF-4CDD-823F-F3E2FD01D445}">
      <dsp:nvSpPr>
        <dsp:cNvPr id="0" name=""/>
        <dsp:cNvSpPr/>
      </dsp:nvSpPr>
      <dsp:spPr>
        <a:xfrm>
          <a:off x="0" y="0"/>
          <a:ext cx="4281636" cy="731181"/>
        </a:xfrm>
        <a:prstGeom prst="roundRect">
          <a:avLst>
            <a:gd name="adj" fmla="val 10000"/>
          </a:avLst>
        </a:prstGeom>
        <a:solidFill>
          <a:schemeClr val="accent3">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Sun</a:t>
          </a:r>
        </a:p>
      </dsp:txBody>
      <dsp:txXfrm>
        <a:off x="21416" y="21416"/>
        <a:ext cx="3407086" cy="688349"/>
      </dsp:txXfrm>
    </dsp:sp>
    <dsp:sp modelId="{735465FD-BC8F-4FCD-92B7-B841141A670B}">
      <dsp:nvSpPr>
        <dsp:cNvPr id="0" name=""/>
        <dsp:cNvSpPr/>
      </dsp:nvSpPr>
      <dsp:spPr>
        <a:xfrm>
          <a:off x="319732" y="832733"/>
          <a:ext cx="4281636" cy="731181"/>
        </a:xfrm>
        <a:prstGeom prst="roundRect">
          <a:avLst>
            <a:gd name="adj" fmla="val 10000"/>
          </a:avLst>
        </a:prstGeom>
        <a:solidFill>
          <a:schemeClr val="accent3">
            <a:hueOff val="-1571104"/>
            <a:satOff val="-6603"/>
            <a:lumOff val="44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Set</a:t>
          </a:r>
        </a:p>
      </dsp:txBody>
      <dsp:txXfrm>
        <a:off x="341148" y="854149"/>
        <a:ext cx="3443804" cy="688349"/>
      </dsp:txXfrm>
    </dsp:sp>
    <dsp:sp modelId="{3AD0FA0B-F679-4079-92EA-7332F86611C0}">
      <dsp:nvSpPr>
        <dsp:cNvPr id="0" name=""/>
        <dsp:cNvSpPr/>
      </dsp:nvSpPr>
      <dsp:spPr>
        <a:xfrm>
          <a:off x="639465" y="1665467"/>
          <a:ext cx="4281636" cy="731181"/>
        </a:xfrm>
        <a:prstGeom prst="roundRect">
          <a:avLst>
            <a:gd name="adj" fmla="val 10000"/>
          </a:avLst>
        </a:prstGeom>
        <a:solidFill>
          <a:schemeClr val="accent3">
            <a:hueOff val="-3142207"/>
            <a:satOff val="-13206"/>
            <a:lumOff val="882"/>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Up</a:t>
          </a:r>
        </a:p>
      </dsp:txBody>
      <dsp:txXfrm>
        <a:off x="660881" y="1686883"/>
        <a:ext cx="3443804" cy="688349"/>
      </dsp:txXfrm>
    </dsp:sp>
    <dsp:sp modelId="{8F9184A3-2FE4-45A7-9085-F4560A442613}">
      <dsp:nvSpPr>
        <dsp:cNvPr id="0" name=""/>
        <dsp:cNvSpPr/>
      </dsp:nvSpPr>
      <dsp:spPr>
        <a:xfrm>
          <a:off x="959197" y="2498201"/>
          <a:ext cx="4281636" cy="731181"/>
        </a:xfrm>
        <a:prstGeom prst="roundRect">
          <a:avLst>
            <a:gd name="adj" fmla="val 10000"/>
          </a:avLst>
        </a:prstGeom>
        <a:solidFill>
          <a:schemeClr val="accent3">
            <a:hueOff val="-4713311"/>
            <a:satOff val="-19809"/>
            <a:lumOff val="1323"/>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Town</a:t>
          </a:r>
        </a:p>
      </dsp:txBody>
      <dsp:txXfrm>
        <a:off x="980613" y="2519617"/>
        <a:ext cx="3443804" cy="688349"/>
      </dsp:txXfrm>
    </dsp:sp>
    <dsp:sp modelId="{4BEFBAB4-3FCA-4CF8-A2B3-6F16E30141D8}">
      <dsp:nvSpPr>
        <dsp:cNvPr id="0" name=""/>
        <dsp:cNvSpPr/>
      </dsp:nvSpPr>
      <dsp:spPr>
        <a:xfrm>
          <a:off x="1278930" y="3330935"/>
          <a:ext cx="4281636" cy="731181"/>
        </a:xfrm>
        <a:prstGeom prst="roundRect">
          <a:avLst>
            <a:gd name="adj" fmla="val 10000"/>
          </a:avLst>
        </a:prstGeom>
        <a:solidFill>
          <a:schemeClr val="accent3">
            <a:hueOff val="-6284415"/>
            <a:satOff val="-26412"/>
            <a:lumOff val="176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dirty="0"/>
            <a:t>Center</a:t>
          </a:r>
        </a:p>
      </dsp:txBody>
      <dsp:txXfrm>
        <a:off x="1300346" y="3352351"/>
        <a:ext cx="3443804" cy="688349"/>
      </dsp:txXfrm>
    </dsp:sp>
    <dsp:sp modelId="{40BB69CC-4D80-4DD2-BDA7-E00D2A44291F}">
      <dsp:nvSpPr>
        <dsp:cNvPr id="0" name=""/>
        <dsp:cNvSpPr/>
      </dsp:nvSpPr>
      <dsp:spPr>
        <a:xfrm>
          <a:off x="3806368" y="534168"/>
          <a:ext cx="475267" cy="475267"/>
        </a:xfrm>
        <a:prstGeom prst="downArrow">
          <a:avLst>
            <a:gd name="adj1" fmla="val 55000"/>
            <a:gd name="adj2" fmla="val 45000"/>
          </a:avLst>
        </a:prstGeom>
        <a:solidFill>
          <a:schemeClr val="accent3">
            <a:tint val="40000"/>
            <a:alpha val="90000"/>
            <a:hueOff val="0"/>
            <a:satOff val="0"/>
            <a:lumOff val="0"/>
            <a:alphaOff val="0"/>
          </a:schemeClr>
        </a:solidFill>
        <a:ln w="10000"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3913303" y="534168"/>
        <a:ext cx="261397" cy="357638"/>
      </dsp:txXfrm>
    </dsp:sp>
    <dsp:sp modelId="{62ADDC3E-2D3C-4FC5-A367-5B14C5BC56BD}">
      <dsp:nvSpPr>
        <dsp:cNvPr id="0" name=""/>
        <dsp:cNvSpPr/>
      </dsp:nvSpPr>
      <dsp:spPr>
        <a:xfrm>
          <a:off x="4126101" y="1366902"/>
          <a:ext cx="475267" cy="475267"/>
        </a:xfrm>
        <a:prstGeom prst="downArrow">
          <a:avLst>
            <a:gd name="adj1" fmla="val 55000"/>
            <a:gd name="adj2" fmla="val 45000"/>
          </a:avLst>
        </a:prstGeom>
        <a:solidFill>
          <a:schemeClr val="accent3">
            <a:tint val="40000"/>
            <a:alpha val="90000"/>
            <a:hueOff val="-2193406"/>
            <a:satOff val="-3992"/>
            <a:lumOff val="-343"/>
            <a:alphaOff val="0"/>
          </a:schemeClr>
        </a:solidFill>
        <a:ln w="10000" cap="flat" cmpd="sng" algn="ctr">
          <a:solidFill>
            <a:schemeClr val="accent3">
              <a:tint val="40000"/>
              <a:alpha val="90000"/>
              <a:hueOff val="-2193406"/>
              <a:satOff val="-3992"/>
              <a:lumOff val="-34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4233036" y="1366902"/>
        <a:ext cx="261397" cy="357638"/>
      </dsp:txXfrm>
    </dsp:sp>
    <dsp:sp modelId="{F19DD225-8042-4D66-B31F-63180B720AFF}">
      <dsp:nvSpPr>
        <dsp:cNvPr id="0" name=""/>
        <dsp:cNvSpPr/>
      </dsp:nvSpPr>
      <dsp:spPr>
        <a:xfrm>
          <a:off x="4445834" y="2187450"/>
          <a:ext cx="475267" cy="475267"/>
        </a:xfrm>
        <a:prstGeom prst="downArrow">
          <a:avLst>
            <a:gd name="adj1" fmla="val 55000"/>
            <a:gd name="adj2" fmla="val 45000"/>
          </a:avLst>
        </a:prstGeom>
        <a:solidFill>
          <a:schemeClr val="accent3">
            <a:tint val="40000"/>
            <a:alpha val="90000"/>
            <a:hueOff val="-4386812"/>
            <a:satOff val="-7984"/>
            <a:lumOff val="-687"/>
            <a:alphaOff val="0"/>
          </a:schemeClr>
        </a:solidFill>
        <a:ln w="10000" cap="flat" cmpd="sng" algn="ctr">
          <a:solidFill>
            <a:schemeClr val="accent3">
              <a:tint val="40000"/>
              <a:alpha val="90000"/>
              <a:hueOff val="-4386812"/>
              <a:satOff val="-7984"/>
              <a:lumOff val="-687"/>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4552769" y="2187450"/>
        <a:ext cx="261397" cy="357638"/>
      </dsp:txXfrm>
    </dsp:sp>
    <dsp:sp modelId="{2E271E4C-DC88-4130-9FE6-3D267946943E}">
      <dsp:nvSpPr>
        <dsp:cNvPr id="0" name=""/>
        <dsp:cNvSpPr/>
      </dsp:nvSpPr>
      <dsp:spPr>
        <a:xfrm>
          <a:off x="4765566" y="3028308"/>
          <a:ext cx="475267" cy="475267"/>
        </a:xfrm>
        <a:prstGeom prst="downArrow">
          <a:avLst>
            <a:gd name="adj1" fmla="val 55000"/>
            <a:gd name="adj2" fmla="val 45000"/>
          </a:avLst>
        </a:prstGeom>
        <a:solidFill>
          <a:schemeClr val="accent3">
            <a:tint val="40000"/>
            <a:alpha val="90000"/>
            <a:hueOff val="-6580219"/>
            <a:satOff val="-11976"/>
            <a:lumOff val="-1030"/>
            <a:alphaOff val="0"/>
          </a:schemeClr>
        </a:solidFill>
        <a:ln w="10000" cap="flat" cmpd="sng" algn="ctr">
          <a:solidFill>
            <a:schemeClr val="accent3">
              <a:tint val="40000"/>
              <a:alpha val="90000"/>
              <a:hueOff val="-6580219"/>
              <a:satOff val="-11976"/>
              <a:lumOff val="-103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4872501" y="3028308"/>
        <a:ext cx="261397" cy="3576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204AB0-943C-487F-BBCD-E2B664C0AFB8}">
      <dsp:nvSpPr>
        <dsp:cNvPr id="0" name=""/>
        <dsp:cNvSpPr/>
      </dsp:nvSpPr>
      <dsp:spPr>
        <a:xfrm>
          <a:off x="0" y="2859"/>
          <a:ext cx="6691313" cy="804960"/>
        </a:xfrm>
        <a:prstGeom prst="roundRect">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1DSCBc18TSbWdvs47qv7qiTaX5CzskMd4s</a:t>
          </a:r>
          <a:endParaRPr lang="en-US" sz="2400" kern="1200" dirty="0"/>
        </a:p>
      </dsp:txBody>
      <dsp:txXfrm>
        <a:off x="39295" y="42154"/>
        <a:ext cx="6612723" cy="72637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DDABFE-739B-4C8D-BA35-855356A26080}">
      <dsp:nvSpPr>
        <dsp:cNvPr id="0" name=""/>
        <dsp:cNvSpPr/>
      </dsp:nvSpPr>
      <dsp:spPr>
        <a:xfrm>
          <a:off x="554261" y="3334"/>
          <a:ext cx="2034956" cy="1220973"/>
        </a:xfrm>
        <a:prstGeom prst="roundRect">
          <a:avLst>
            <a:gd name="adj" fmla="val 1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lice sends Bob a transaction of bitcoin tokens</a:t>
          </a:r>
        </a:p>
      </dsp:txBody>
      <dsp:txXfrm>
        <a:off x="590022" y="39095"/>
        <a:ext cx="1963434" cy="1149451"/>
      </dsp:txXfrm>
    </dsp:sp>
    <dsp:sp modelId="{5E55B4E3-84E5-4090-B8E9-E72013610DFA}">
      <dsp:nvSpPr>
        <dsp:cNvPr id="0" name=""/>
        <dsp:cNvSpPr/>
      </dsp:nvSpPr>
      <dsp:spPr>
        <a:xfrm>
          <a:off x="2768294" y="361486"/>
          <a:ext cx="431410" cy="504669"/>
        </a:xfrm>
        <a:prstGeom prst="rightArrow">
          <a:avLst>
            <a:gd name="adj1" fmla="val 60000"/>
            <a:gd name="adj2" fmla="val 50000"/>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768294" y="462420"/>
        <a:ext cx="301987" cy="302801"/>
      </dsp:txXfrm>
    </dsp:sp>
    <dsp:sp modelId="{FA444A36-E01E-4DE6-921B-2E58F6AEDD94}">
      <dsp:nvSpPr>
        <dsp:cNvPr id="0" name=""/>
        <dsp:cNvSpPr/>
      </dsp:nvSpPr>
      <dsp:spPr>
        <a:xfrm>
          <a:off x="3403200" y="3334"/>
          <a:ext cx="2034956" cy="1220973"/>
        </a:xfrm>
        <a:prstGeom prst="roundRect">
          <a:avLst>
            <a:gd name="adj" fmla="val 10000"/>
          </a:avLst>
        </a:prstGeom>
        <a:solidFill>
          <a:schemeClr val="accent5">
            <a:hueOff val="1621288"/>
            <a:satOff val="-1401"/>
            <a:lumOff val="-164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ansaction is broadcast through the blockchain network to other nodes</a:t>
          </a:r>
        </a:p>
      </dsp:txBody>
      <dsp:txXfrm>
        <a:off x="3438961" y="39095"/>
        <a:ext cx="1963434" cy="1149451"/>
      </dsp:txXfrm>
    </dsp:sp>
    <dsp:sp modelId="{E560CE92-A98B-4B72-A531-EA4B382A0F89}">
      <dsp:nvSpPr>
        <dsp:cNvPr id="0" name=""/>
        <dsp:cNvSpPr/>
      </dsp:nvSpPr>
      <dsp:spPr>
        <a:xfrm>
          <a:off x="5617232" y="361486"/>
          <a:ext cx="431410" cy="504669"/>
        </a:xfrm>
        <a:prstGeom prst="rightArrow">
          <a:avLst>
            <a:gd name="adj1" fmla="val 60000"/>
            <a:gd name="adj2" fmla="val 50000"/>
          </a:avLst>
        </a:prstGeom>
        <a:solidFill>
          <a:schemeClr val="accent5">
            <a:hueOff val="1801431"/>
            <a:satOff val="-1556"/>
            <a:lumOff val="-183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617232" y="462420"/>
        <a:ext cx="301987" cy="302801"/>
      </dsp:txXfrm>
    </dsp:sp>
    <dsp:sp modelId="{323F867A-C5BB-49B7-86FE-E5CE6DE2DB84}">
      <dsp:nvSpPr>
        <dsp:cNvPr id="0" name=""/>
        <dsp:cNvSpPr/>
      </dsp:nvSpPr>
      <dsp:spPr>
        <a:xfrm>
          <a:off x="6252139" y="3334"/>
          <a:ext cx="2034956" cy="1220973"/>
        </a:xfrm>
        <a:prstGeom prst="roundRect">
          <a:avLst>
            <a:gd name="adj" fmla="val 10000"/>
          </a:avLst>
        </a:prstGeom>
        <a:solidFill>
          <a:schemeClr val="accent5">
            <a:hueOff val="3242576"/>
            <a:satOff val="-2801"/>
            <a:lumOff val="-329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f the transaction is valid, the nodes propagate it further</a:t>
          </a:r>
        </a:p>
      </dsp:txBody>
      <dsp:txXfrm>
        <a:off x="6287900" y="39095"/>
        <a:ext cx="1963434" cy="1149451"/>
      </dsp:txXfrm>
    </dsp:sp>
    <dsp:sp modelId="{CF732B0F-6C31-4ED9-9271-F7EE42469025}">
      <dsp:nvSpPr>
        <dsp:cNvPr id="0" name=""/>
        <dsp:cNvSpPr/>
      </dsp:nvSpPr>
      <dsp:spPr>
        <a:xfrm>
          <a:off x="8466171" y="361486"/>
          <a:ext cx="431410" cy="504669"/>
        </a:xfrm>
        <a:prstGeom prst="rightArrow">
          <a:avLst>
            <a:gd name="adj1" fmla="val 60000"/>
            <a:gd name="adj2" fmla="val 50000"/>
          </a:avLst>
        </a:prstGeom>
        <a:solidFill>
          <a:schemeClr val="accent5">
            <a:hueOff val="3602863"/>
            <a:satOff val="-3112"/>
            <a:lumOff val="-366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8466171" y="462420"/>
        <a:ext cx="301987" cy="302801"/>
      </dsp:txXfrm>
    </dsp:sp>
    <dsp:sp modelId="{578C07A6-258A-46D3-87A0-249B1494BD5E}">
      <dsp:nvSpPr>
        <dsp:cNvPr id="0" name=""/>
        <dsp:cNvSpPr/>
      </dsp:nvSpPr>
      <dsp:spPr>
        <a:xfrm>
          <a:off x="9101078" y="3334"/>
          <a:ext cx="2034956" cy="1220973"/>
        </a:xfrm>
        <a:prstGeom prst="roundRect">
          <a:avLst>
            <a:gd name="adj" fmla="val 10000"/>
          </a:avLst>
        </a:prstGeom>
        <a:solidFill>
          <a:schemeClr val="accent5">
            <a:hueOff val="4863864"/>
            <a:satOff val="-4202"/>
            <a:lumOff val="-494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pecial nodes called ‘miners’ validate a number of transactions. Then solve a difficult math problem.</a:t>
          </a:r>
        </a:p>
      </dsp:txBody>
      <dsp:txXfrm>
        <a:off x="9136839" y="39095"/>
        <a:ext cx="1963434" cy="1149451"/>
      </dsp:txXfrm>
    </dsp:sp>
    <dsp:sp modelId="{E5B094F3-EE85-4317-91E6-21E6039322C1}">
      <dsp:nvSpPr>
        <dsp:cNvPr id="0" name=""/>
        <dsp:cNvSpPr/>
      </dsp:nvSpPr>
      <dsp:spPr>
        <a:xfrm rot="5400000">
          <a:off x="9902850" y="1366755"/>
          <a:ext cx="431410" cy="504669"/>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5400000">
        <a:off x="9967155" y="1403385"/>
        <a:ext cx="302801" cy="301987"/>
      </dsp:txXfrm>
    </dsp:sp>
    <dsp:sp modelId="{10C42B33-3931-4E8D-8AFC-65839E70CEE3}">
      <dsp:nvSpPr>
        <dsp:cNvPr id="0" name=""/>
        <dsp:cNvSpPr/>
      </dsp:nvSpPr>
      <dsp:spPr>
        <a:xfrm>
          <a:off x="9101078" y="2038290"/>
          <a:ext cx="2034956" cy="1220973"/>
        </a:xfrm>
        <a:prstGeom prst="roundRect">
          <a:avLst>
            <a:gd name="adj" fmla="val 10000"/>
          </a:avLst>
        </a:prstGeom>
        <a:solidFill>
          <a:schemeClr val="accent5">
            <a:hueOff val="6485153"/>
            <a:satOff val="-5602"/>
            <a:lumOff val="-6587"/>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f the miner succeeds, it puts the transactions in a ‘block’, adds the block on top of the existing blocks.</a:t>
          </a:r>
        </a:p>
      </dsp:txBody>
      <dsp:txXfrm>
        <a:off x="9136839" y="2074051"/>
        <a:ext cx="1963434" cy="1149451"/>
      </dsp:txXfrm>
    </dsp:sp>
    <dsp:sp modelId="{76C0A1ED-41F1-45FC-A1F9-749FDAB99CEE}">
      <dsp:nvSpPr>
        <dsp:cNvPr id="0" name=""/>
        <dsp:cNvSpPr/>
      </dsp:nvSpPr>
      <dsp:spPr>
        <a:xfrm rot="10800000">
          <a:off x="8490591" y="2396442"/>
          <a:ext cx="431410" cy="504669"/>
        </a:xfrm>
        <a:prstGeom prst="rightArrow">
          <a:avLst>
            <a:gd name="adj1" fmla="val 60000"/>
            <a:gd name="adj2" fmla="val 50000"/>
          </a:avLst>
        </a:prstGeom>
        <a:solidFill>
          <a:schemeClr val="accent5">
            <a:hueOff val="7205725"/>
            <a:satOff val="-6225"/>
            <a:lumOff val="-731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8620014" y="2497376"/>
        <a:ext cx="301987" cy="302801"/>
      </dsp:txXfrm>
    </dsp:sp>
    <dsp:sp modelId="{F12FFE6C-699B-44A7-BCF5-2DCE6E63CFD4}">
      <dsp:nvSpPr>
        <dsp:cNvPr id="0" name=""/>
        <dsp:cNvSpPr/>
      </dsp:nvSpPr>
      <dsp:spPr>
        <a:xfrm>
          <a:off x="6252139" y="2038290"/>
          <a:ext cx="2034956" cy="1220973"/>
        </a:xfrm>
        <a:prstGeom prst="roundRect">
          <a:avLst>
            <a:gd name="adj" fmla="val 10000"/>
          </a:avLst>
        </a:prstGeom>
        <a:solidFill>
          <a:schemeClr val="accent5">
            <a:hueOff val="8106441"/>
            <a:satOff val="-7003"/>
            <a:lumOff val="-823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ner collects bitcoin reward, then broadcasts the new block. Also collects transaction fees in that block</a:t>
          </a:r>
        </a:p>
      </dsp:txBody>
      <dsp:txXfrm>
        <a:off x="6287900" y="2074051"/>
        <a:ext cx="1963434" cy="1149451"/>
      </dsp:txXfrm>
    </dsp:sp>
    <dsp:sp modelId="{4346544D-C7C5-4143-93E6-364652B7D7BC}">
      <dsp:nvSpPr>
        <dsp:cNvPr id="0" name=""/>
        <dsp:cNvSpPr/>
      </dsp:nvSpPr>
      <dsp:spPr>
        <a:xfrm rot="10800000">
          <a:off x="5641652" y="2396442"/>
          <a:ext cx="431410" cy="504669"/>
        </a:xfrm>
        <a:prstGeom prst="rightArrow">
          <a:avLst>
            <a:gd name="adj1" fmla="val 60000"/>
            <a:gd name="adj2" fmla="val 50000"/>
          </a:avLst>
        </a:prstGeom>
        <a:solidFill>
          <a:schemeClr val="accent5">
            <a:hueOff val="9007157"/>
            <a:satOff val="-7781"/>
            <a:lumOff val="-914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5771075" y="2497376"/>
        <a:ext cx="301987" cy="302801"/>
      </dsp:txXfrm>
    </dsp:sp>
    <dsp:sp modelId="{12D539BE-3894-4EBA-8DBF-C57765919661}">
      <dsp:nvSpPr>
        <dsp:cNvPr id="0" name=""/>
        <dsp:cNvSpPr/>
      </dsp:nvSpPr>
      <dsp:spPr>
        <a:xfrm>
          <a:off x="3403200" y="2038290"/>
          <a:ext cx="2034956" cy="1220973"/>
        </a:xfrm>
        <a:prstGeom prst="roundRect">
          <a:avLst>
            <a:gd name="adj" fmla="val 10000"/>
          </a:avLst>
        </a:prstGeom>
        <a:solidFill>
          <a:schemeClr val="accent5">
            <a:hueOff val="9727729"/>
            <a:satOff val="-8404"/>
            <a:lumOff val="-988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irst miner to do so wins by extending the chain of blocks called blockchain</a:t>
          </a:r>
        </a:p>
      </dsp:txBody>
      <dsp:txXfrm>
        <a:off x="3438961" y="2074051"/>
        <a:ext cx="1963434" cy="1149451"/>
      </dsp:txXfrm>
    </dsp:sp>
    <dsp:sp modelId="{BFEAE4EC-9E0F-4395-85E1-AC702EFD95AF}">
      <dsp:nvSpPr>
        <dsp:cNvPr id="0" name=""/>
        <dsp:cNvSpPr/>
      </dsp:nvSpPr>
      <dsp:spPr>
        <a:xfrm rot="10800000">
          <a:off x="2792713" y="2396442"/>
          <a:ext cx="431410" cy="504669"/>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2922136" y="2497376"/>
        <a:ext cx="301987" cy="302801"/>
      </dsp:txXfrm>
    </dsp:sp>
    <dsp:sp modelId="{656F3B6E-702B-499C-A837-4628B1ADEECA}">
      <dsp:nvSpPr>
        <dsp:cNvPr id="0" name=""/>
        <dsp:cNvSpPr/>
      </dsp:nvSpPr>
      <dsp:spPr>
        <a:xfrm>
          <a:off x="554261" y="2038290"/>
          <a:ext cx="2034956" cy="1220973"/>
        </a:xfrm>
        <a:prstGeom prst="roundRect">
          <a:avLst>
            <a:gd name="adj" fmla="val 10000"/>
          </a:avLst>
        </a:prstGeom>
        <a:solidFill>
          <a:schemeClr val="accent5">
            <a:hueOff val="11349017"/>
            <a:satOff val="-9804"/>
            <a:lumOff val="-1152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e race to solve the next block starts again</a:t>
          </a:r>
        </a:p>
      </dsp:txBody>
      <dsp:txXfrm>
        <a:off x="590022" y="2074051"/>
        <a:ext cx="1963434" cy="1149451"/>
      </dsp:txXfrm>
    </dsp:sp>
    <dsp:sp modelId="{F1CDB54D-9037-438B-9778-2B2906CBB9AD}">
      <dsp:nvSpPr>
        <dsp:cNvPr id="0" name=""/>
        <dsp:cNvSpPr/>
      </dsp:nvSpPr>
      <dsp:spPr>
        <a:xfrm rot="5400000">
          <a:off x="1356034" y="3401711"/>
          <a:ext cx="431410" cy="504669"/>
        </a:xfrm>
        <a:prstGeom prst="rightArrow">
          <a:avLst>
            <a:gd name="adj1" fmla="val 60000"/>
            <a:gd name="adj2" fmla="val 50000"/>
          </a:avLst>
        </a:prstGeom>
        <a:solidFill>
          <a:schemeClr val="accent5">
            <a:hueOff val="12610020"/>
            <a:satOff val="-10894"/>
            <a:lumOff val="-1280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5400000">
        <a:off x="1420339" y="3438341"/>
        <a:ext cx="302801" cy="301987"/>
      </dsp:txXfrm>
    </dsp:sp>
    <dsp:sp modelId="{D859F742-3AE5-48DA-89EB-195B4E302239}">
      <dsp:nvSpPr>
        <dsp:cNvPr id="0" name=""/>
        <dsp:cNvSpPr/>
      </dsp:nvSpPr>
      <dsp:spPr>
        <a:xfrm>
          <a:off x="554261" y="4073246"/>
          <a:ext cx="2034956" cy="1220973"/>
        </a:xfrm>
        <a:prstGeom prst="roundRect">
          <a:avLst>
            <a:gd name="adj" fmla="val 10000"/>
          </a:avLst>
        </a:prstGeom>
        <a:solidFill>
          <a:schemeClr val="accent5">
            <a:hueOff val="12970305"/>
            <a:satOff val="-11205"/>
            <a:lumOff val="-13174"/>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he blockchain can only be appended</a:t>
          </a:r>
        </a:p>
      </dsp:txBody>
      <dsp:txXfrm>
        <a:off x="590022" y="4109007"/>
        <a:ext cx="1963434" cy="1149451"/>
      </dsp:txXfrm>
    </dsp:sp>
    <dsp:sp modelId="{046945F9-6A22-4A1B-B6A8-E46266A9F6F1}">
      <dsp:nvSpPr>
        <dsp:cNvPr id="0" name=""/>
        <dsp:cNvSpPr/>
      </dsp:nvSpPr>
      <dsp:spPr>
        <a:xfrm>
          <a:off x="2768294" y="4431399"/>
          <a:ext cx="431410" cy="504669"/>
        </a:xfrm>
        <a:prstGeom prst="rightArrow">
          <a:avLst>
            <a:gd name="adj1" fmla="val 60000"/>
            <a:gd name="adj2" fmla="val 50000"/>
          </a:avLst>
        </a:prstGeom>
        <a:solidFill>
          <a:schemeClr val="accent5">
            <a:hueOff val="14411451"/>
            <a:satOff val="-12450"/>
            <a:lumOff val="-1463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768294" y="4532333"/>
        <a:ext cx="301987" cy="302801"/>
      </dsp:txXfrm>
    </dsp:sp>
    <dsp:sp modelId="{ECCB419A-3C24-4B24-AC6E-A4499CD74DB1}">
      <dsp:nvSpPr>
        <dsp:cNvPr id="0" name=""/>
        <dsp:cNvSpPr/>
      </dsp:nvSpPr>
      <dsp:spPr>
        <a:xfrm>
          <a:off x="3403200" y="4073246"/>
          <a:ext cx="2034956" cy="1220973"/>
        </a:xfrm>
        <a:prstGeom prst="roundRect">
          <a:avLst>
            <a:gd name="adj" fmla="val 10000"/>
          </a:avLst>
        </a:prstGeom>
        <a:solidFill>
          <a:schemeClr val="accent5">
            <a:hueOff val="14591593"/>
            <a:satOff val="-12605"/>
            <a:lumOff val="-14821"/>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anges to the history of the blockchain are tamper evident and in some cases tamper proof</a:t>
          </a:r>
        </a:p>
      </dsp:txBody>
      <dsp:txXfrm>
        <a:off x="3438961" y="4109007"/>
        <a:ext cx="1963434" cy="1149451"/>
      </dsp:txXfrm>
    </dsp:sp>
    <dsp:sp modelId="{C0EE9AF1-7913-405D-9255-4B9684A1DB33}">
      <dsp:nvSpPr>
        <dsp:cNvPr id="0" name=""/>
        <dsp:cNvSpPr/>
      </dsp:nvSpPr>
      <dsp:spPr>
        <a:xfrm>
          <a:off x="5617232" y="4431399"/>
          <a:ext cx="431410" cy="504669"/>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US" sz="2300" kern="1200"/>
        </a:p>
      </dsp:txBody>
      <dsp:txXfrm>
        <a:off x="5617232" y="4532333"/>
        <a:ext cx="301987" cy="302801"/>
      </dsp:txXfrm>
    </dsp:sp>
    <dsp:sp modelId="{D5A2ED24-6865-48EF-899A-10126CC996F3}">
      <dsp:nvSpPr>
        <dsp:cNvPr id="0" name=""/>
        <dsp:cNvSpPr/>
      </dsp:nvSpPr>
      <dsp:spPr>
        <a:xfrm>
          <a:off x="6252139" y="4073246"/>
          <a:ext cx="2034956" cy="1220973"/>
        </a:xfrm>
        <a:prstGeom prst="roundRect">
          <a:avLst>
            <a:gd name="adj" fmla="val 10000"/>
          </a:avLst>
        </a:prstGeom>
        <a:solidFill>
          <a:schemeClr val="accent5">
            <a:hueOff val="16212881"/>
            <a:satOff val="-14006"/>
            <a:lumOff val="-16468"/>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veryone in the network now knows that Alice has sent Bob a transaction</a:t>
          </a:r>
        </a:p>
      </dsp:txBody>
      <dsp:txXfrm>
        <a:off x="6287900" y="4109007"/>
        <a:ext cx="1963434" cy="1149451"/>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F16F45-1BC5-4F5A-B86A-4B5E8D21FABB}">
      <dsp:nvSpPr>
        <dsp:cNvPr id="0" name=""/>
        <dsp:cNvSpPr/>
      </dsp:nvSpPr>
      <dsp:spPr>
        <a:xfrm>
          <a:off x="1357242" y="258569"/>
          <a:ext cx="3341520" cy="3341520"/>
        </a:xfrm>
        <a:prstGeom prst="pie">
          <a:avLst>
            <a:gd name="adj1" fmla="val 16200000"/>
            <a:gd name="adj2" fmla="val 1800000"/>
          </a:avLst>
        </a:prstGeom>
        <a:solidFill>
          <a:schemeClr val="accent2">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sz="3100" kern="1200" dirty="0"/>
            <a:t>Bits</a:t>
          </a:r>
        </a:p>
      </dsp:txBody>
      <dsp:txXfrm>
        <a:off x="3118303" y="966654"/>
        <a:ext cx="1193400" cy="994500"/>
      </dsp:txXfrm>
    </dsp:sp>
    <dsp:sp modelId="{40BA3F4F-299D-43C3-90A4-4642A0BEF0B4}">
      <dsp:nvSpPr>
        <dsp:cNvPr id="0" name=""/>
        <dsp:cNvSpPr/>
      </dsp:nvSpPr>
      <dsp:spPr>
        <a:xfrm>
          <a:off x="1288423" y="377909"/>
          <a:ext cx="3341520" cy="3341520"/>
        </a:xfrm>
        <a:prstGeom prst="pie">
          <a:avLst>
            <a:gd name="adj1" fmla="val 1800000"/>
            <a:gd name="adj2" fmla="val 9000000"/>
          </a:avLst>
        </a:prstGeom>
        <a:solidFill>
          <a:schemeClr val="accent3">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sz="3100" kern="1200" dirty="0"/>
            <a:t>Difficulty</a:t>
          </a:r>
        </a:p>
      </dsp:txBody>
      <dsp:txXfrm>
        <a:off x="2084023" y="2545920"/>
        <a:ext cx="1790100" cy="875160"/>
      </dsp:txXfrm>
    </dsp:sp>
    <dsp:sp modelId="{1BF517B6-048C-4FE8-96EC-AABF597D6C46}">
      <dsp:nvSpPr>
        <dsp:cNvPr id="0" name=""/>
        <dsp:cNvSpPr/>
      </dsp:nvSpPr>
      <dsp:spPr>
        <a:xfrm>
          <a:off x="1219604" y="258569"/>
          <a:ext cx="3341520" cy="3341520"/>
        </a:xfrm>
        <a:prstGeom prst="pie">
          <a:avLst>
            <a:gd name="adj1" fmla="val 9000000"/>
            <a:gd name="adj2" fmla="val 1620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en-US" sz="3100" kern="1200" dirty="0"/>
            <a:t>Target</a:t>
          </a:r>
        </a:p>
      </dsp:txBody>
      <dsp:txXfrm>
        <a:off x="1606663" y="966654"/>
        <a:ext cx="1193400" cy="994500"/>
      </dsp:txXfrm>
    </dsp:sp>
    <dsp:sp modelId="{964654FB-CDCF-4109-A329-822CB3D326F6}">
      <dsp:nvSpPr>
        <dsp:cNvPr id="0" name=""/>
        <dsp:cNvSpPr/>
      </dsp:nvSpPr>
      <dsp:spPr>
        <a:xfrm>
          <a:off x="1150662" y="51713"/>
          <a:ext cx="3755232" cy="3755232"/>
        </a:xfrm>
        <a:prstGeom prst="circularArrow">
          <a:avLst>
            <a:gd name="adj1" fmla="val 5085"/>
            <a:gd name="adj2" fmla="val 327528"/>
            <a:gd name="adj3" fmla="val 1472472"/>
            <a:gd name="adj4" fmla="val 16199432"/>
            <a:gd name="adj5" fmla="val 5932"/>
          </a:avLst>
        </a:prstGeom>
        <a:solidFill>
          <a:schemeClr val="accent2">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B4CCE099-39DE-4840-984B-E3A80853AE50}">
      <dsp:nvSpPr>
        <dsp:cNvPr id="0" name=""/>
        <dsp:cNvSpPr/>
      </dsp:nvSpPr>
      <dsp:spPr>
        <a:xfrm>
          <a:off x="1081567" y="170842"/>
          <a:ext cx="3755232" cy="3755232"/>
        </a:xfrm>
        <a:prstGeom prst="circularArrow">
          <a:avLst>
            <a:gd name="adj1" fmla="val 5085"/>
            <a:gd name="adj2" fmla="val 327528"/>
            <a:gd name="adj3" fmla="val 8671970"/>
            <a:gd name="adj4" fmla="val 1800502"/>
            <a:gd name="adj5" fmla="val 5932"/>
          </a:avLst>
        </a:prstGeom>
        <a:solidFill>
          <a:schemeClr val="accent3">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 modelId="{BDEB777E-78CB-4239-8FCE-7F7B3A42D00F}">
      <dsp:nvSpPr>
        <dsp:cNvPr id="0" name=""/>
        <dsp:cNvSpPr/>
      </dsp:nvSpPr>
      <dsp:spPr>
        <a:xfrm>
          <a:off x="1012472" y="51713"/>
          <a:ext cx="3755232" cy="3755232"/>
        </a:xfrm>
        <a:prstGeom prst="circularArrow">
          <a:avLst>
            <a:gd name="adj1" fmla="val 5085"/>
            <a:gd name="adj2" fmla="val 327528"/>
            <a:gd name="adj3" fmla="val 15873039"/>
            <a:gd name="adj4" fmla="val 9000000"/>
            <a:gd name="adj5" fmla="val 5932"/>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ED5194-8358-4B5D-A693-4058A7308C83}">
      <dsp:nvSpPr>
        <dsp:cNvPr id="0" name=""/>
        <dsp:cNvSpPr/>
      </dsp:nvSpPr>
      <dsp:spPr>
        <a:xfrm>
          <a:off x="271300" y="2"/>
          <a:ext cx="2162424" cy="830967"/>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o </a:t>
          </a:r>
          <a:r>
            <a:rPr lang="en-US" sz="1600" i="1" kern="1200" dirty="0">
              <a:solidFill>
                <a:srgbClr val="FF0000"/>
              </a:solidFill>
            </a:rPr>
            <a:t>not</a:t>
          </a:r>
          <a:r>
            <a:rPr lang="en-US" sz="1600" kern="1200" dirty="0"/>
            <a:t> use blockchain. Business as usual</a:t>
          </a:r>
        </a:p>
      </dsp:txBody>
      <dsp:txXfrm>
        <a:off x="271300" y="2"/>
        <a:ext cx="2162424" cy="830967"/>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10AE53-A800-4AC8-B2EE-BEF8F61A428D}">
      <dsp:nvSpPr>
        <dsp:cNvPr id="0" name=""/>
        <dsp:cNvSpPr/>
      </dsp:nvSpPr>
      <dsp:spPr>
        <a:xfrm>
          <a:off x="0" y="0"/>
          <a:ext cx="5362763" cy="767520"/>
        </a:xfrm>
        <a:prstGeom prst="roundRect">
          <a:avLst/>
        </a:prstGeom>
        <a:solidFill>
          <a:schemeClr val="accent1">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hen to use blockchain</a:t>
          </a:r>
        </a:p>
      </dsp:txBody>
      <dsp:txXfrm>
        <a:off x="37467" y="37467"/>
        <a:ext cx="5287829" cy="692586"/>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03A55E-46F7-4EBC-997B-118235535286}">
      <dsp:nvSpPr>
        <dsp:cNvPr id="0" name=""/>
        <dsp:cNvSpPr/>
      </dsp:nvSpPr>
      <dsp:spPr>
        <a:xfrm>
          <a:off x="0" y="413547"/>
          <a:ext cx="3223926" cy="3146120"/>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866900">
            <a:lnSpc>
              <a:spcPct val="90000"/>
            </a:lnSpc>
            <a:spcBef>
              <a:spcPct val="0"/>
            </a:spcBef>
            <a:spcAft>
              <a:spcPct val="35000"/>
            </a:spcAft>
            <a:buNone/>
          </a:pPr>
          <a:r>
            <a:rPr lang="en-US" sz="4200" kern="1200" dirty="0"/>
            <a:t>Smart Contract: Pre-</a:t>
          </a:r>
          <a:r>
            <a:rPr lang="en-US" sz="4200" kern="1200" dirty="0" err="1"/>
            <a:t>nup</a:t>
          </a:r>
          <a:endParaRPr lang="en-US" sz="4200" kern="1200" dirty="0"/>
        </a:p>
      </dsp:txBody>
      <dsp:txXfrm>
        <a:off x="472133" y="874286"/>
        <a:ext cx="2279660" cy="2224642"/>
      </dsp:txXfrm>
    </dsp:sp>
    <dsp:sp modelId="{FD8DE2CB-B3E8-4EDB-A0CB-EF76086EC911}">
      <dsp:nvSpPr>
        <dsp:cNvPr id="0" name=""/>
        <dsp:cNvSpPr/>
      </dsp:nvSpPr>
      <dsp:spPr>
        <a:xfrm>
          <a:off x="718013" y="0"/>
          <a:ext cx="3871829" cy="4036147"/>
        </a:xfrm>
        <a:prstGeom prst="blockArc">
          <a:avLst>
            <a:gd name="adj1" fmla="val 17527788"/>
            <a:gd name="adj2" fmla="val 4119114"/>
            <a:gd name="adj3" fmla="val 575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1636E6-DE22-4F0E-9B9A-E2B28EC7EECA}">
      <dsp:nvSpPr>
        <dsp:cNvPr id="0" name=""/>
        <dsp:cNvSpPr/>
      </dsp:nvSpPr>
      <dsp:spPr>
        <a:xfrm>
          <a:off x="3568946" y="340247"/>
          <a:ext cx="1028929" cy="1029217"/>
        </a:xfrm>
        <a:prstGeom prst="ellipse">
          <a:avLst/>
        </a:prstGeom>
        <a:blipFill rotWithShape="1">
          <a:blip xmlns:r="http://schemas.openxmlformats.org/officeDocument/2006/relationships" r:embed="rId1"/>
          <a:srcRect/>
          <a:stretch>
            <a:fillRect t="-20000" b="-20000"/>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308C72-44A4-40C6-909D-3F5576EE3793}">
      <dsp:nvSpPr>
        <dsp:cNvPr id="0" name=""/>
        <dsp:cNvSpPr/>
      </dsp:nvSpPr>
      <dsp:spPr>
        <a:xfrm>
          <a:off x="4675921" y="356795"/>
          <a:ext cx="1377262" cy="996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l" defTabSz="755650">
            <a:lnSpc>
              <a:spcPct val="90000"/>
            </a:lnSpc>
            <a:spcBef>
              <a:spcPct val="0"/>
            </a:spcBef>
            <a:spcAft>
              <a:spcPct val="10000"/>
            </a:spcAft>
            <a:buNone/>
          </a:pPr>
          <a:r>
            <a:rPr lang="en-US" sz="1700" kern="1200" dirty="0" err="1"/>
            <a:t>Vana</a:t>
          </a:r>
          <a:r>
            <a:rPr lang="en-US" sz="1700" kern="1200" dirty="0"/>
            <a:t> - $25m</a:t>
          </a:r>
        </a:p>
      </dsp:txBody>
      <dsp:txXfrm>
        <a:off x="4675921" y="356795"/>
        <a:ext cx="1377262" cy="996121"/>
      </dsp:txXfrm>
    </dsp:sp>
    <dsp:sp modelId="{A07C3A79-0128-4BBE-A598-72BAA030D0B7}">
      <dsp:nvSpPr>
        <dsp:cNvPr id="0" name=""/>
        <dsp:cNvSpPr/>
      </dsp:nvSpPr>
      <dsp:spPr>
        <a:xfrm>
          <a:off x="3966631" y="1511133"/>
          <a:ext cx="1028929" cy="1029217"/>
        </a:xfrm>
        <a:prstGeom prst="ellipse">
          <a:avLst/>
        </a:prstGeom>
        <a:blipFill rotWithShape="1">
          <a:blip xmlns:r="http://schemas.openxmlformats.org/officeDocument/2006/relationships" r:embed="rId2"/>
          <a:srcRect/>
          <a:stretch>
            <a:fillRect l="-3000" r="-3000"/>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D8A2EA2-4526-493F-9EFB-247262BD3444}">
      <dsp:nvSpPr>
        <dsp:cNvPr id="0" name=""/>
        <dsp:cNvSpPr/>
      </dsp:nvSpPr>
      <dsp:spPr>
        <a:xfrm>
          <a:off x="5079344" y="1525663"/>
          <a:ext cx="1377262" cy="996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l" defTabSz="755650">
            <a:lnSpc>
              <a:spcPct val="90000"/>
            </a:lnSpc>
            <a:spcBef>
              <a:spcPct val="0"/>
            </a:spcBef>
            <a:spcAft>
              <a:spcPct val="10000"/>
            </a:spcAft>
            <a:buNone/>
          </a:pPr>
          <a:r>
            <a:rPr lang="en-US" sz="1700" kern="1200" dirty="0" err="1"/>
            <a:t>Arla</a:t>
          </a:r>
          <a:r>
            <a:rPr lang="en-US" sz="1700" kern="1200" dirty="0"/>
            <a:t> - $2m</a:t>
          </a:r>
        </a:p>
      </dsp:txBody>
      <dsp:txXfrm>
        <a:off x="5079344" y="1525663"/>
        <a:ext cx="1377262" cy="996121"/>
      </dsp:txXfrm>
    </dsp:sp>
    <dsp:sp modelId="{85872811-6526-4E6A-8E2C-77CCAB75C94C}">
      <dsp:nvSpPr>
        <dsp:cNvPr id="0" name=""/>
        <dsp:cNvSpPr/>
      </dsp:nvSpPr>
      <dsp:spPr>
        <a:xfrm>
          <a:off x="3568946" y="2698567"/>
          <a:ext cx="1028929" cy="1029217"/>
        </a:xfrm>
        <a:prstGeom prst="ellipse">
          <a:avLst/>
        </a:prstGeom>
        <a:blipFill rotWithShape="1">
          <a:blip xmlns:r="http://schemas.openxmlformats.org/officeDocument/2006/relationships" r:embed="rId3"/>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0523F3B-9168-4247-A6C3-4280EEF2708F}">
      <dsp:nvSpPr>
        <dsp:cNvPr id="0" name=""/>
        <dsp:cNvSpPr/>
      </dsp:nvSpPr>
      <dsp:spPr>
        <a:xfrm>
          <a:off x="4675921" y="2719555"/>
          <a:ext cx="1377262" cy="996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l" defTabSz="755650">
            <a:lnSpc>
              <a:spcPct val="90000"/>
            </a:lnSpc>
            <a:spcBef>
              <a:spcPct val="0"/>
            </a:spcBef>
            <a:spcAft>
              <a:spcPct val="10000"/>
            </a:spcAft>
            <a:buNone/>
          </a:pPr>
          <a:r>
            <a:rPr lang="en-US" sz="1700" kern="1200" dirty="0" err="1"/>
            <a:t>Anija</a:t>
          </a:r>
          <a:r>
            <a:rPr lang="en-US" sz="1700" kern="1200" dirty="0"/>
            <a:t> – undisclosed? </a:t>
          </a:r>
        </a:p>
      </dsp:txBody>
      <dsp:txXfrm>
        <a:off x="4675921" y="2719555"/>
        <a:ext cx="1377262" cy="9961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603828-69E7-4BF5-848B-9D37B1995B9A}">
      <dsp:nvSpPr>
        <dsp:cNvPr id="0" name=""/>
        <dsp:cNvSpPr/>
      </dsp:nvSpPr>
      <dsp:spPr>
        <a:xfrm>
          <a:off x="1525" y="522511"/>
          <a:ext cx="1355169" cy="673534"/>
        </a:xfrm>
        <a:prstGeom prst="roundRect">
          <a:avLst>
            <a:gd name="adj" fmla="val 1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dobe Fangsong Std R" panose="02020400000000000000" pitchFamily="18" charset="-128"/>
              <a:ea typeface="Adobe Fangsong Std R" panose="02020400000000000000" pitchFamily="18" charset="-128"/>
            </a:rPr>
            <a:t>Block 0</a:t>
          </a:r>
        </a:p>
      </dsp:txBody>
      <dsp:txXfrm>
        <a:off x="21252" y="542238"/>
        <a:ext cx="1315715" cy="634080"/>
      </dsp:txXfrm>
    </dsp:sp>
    <dsp:sp modelId="{170B77D0-7712-4EEE-9AB9-F5B4EE8E4447}">
      <dsp:nvSpPr>
        <dsp:cNvPr id="0" name=""/>
        <dsp:cNvSpPr/>
      </dsp:nvSpPr>
      <dsp:spPr>
        <a:xfrm rot="10800000">
          <a:off x="1611752" y="543008"/>
          <a:ext cx="540721" cy="632541"/>
        </a:xfrm>
        <a:prstGeom prst="rightArrow">
          <a:avLst>
            <a:gd name="adj1" fmla="val 60000"/>
            <a:gd name="adj2" fmla="val 50000"/>
          </a:avLst>
        </a:prstGeom>
        <a:solidFill>
          <a:schemeClr val="accent4">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1773968" y="669516"/>
        <a:ext cx="378505" cy="379525"/>
      </dsp:txXfrm>
    </dsp:sp>
    <dsp:sp modelId="{1449687B-9179-487C-B98B-A1212B5703F5}">
      <dsp:nvSpPr>
        <dsp:cNvPr id="0" name=""/>
        <dsp:cNvSpPr/>
      </dsp:nvSpPr>
      <dsp:spPr>
        <a:xfrm>
          <a:off x="2376924" y="522511"/>
          <a:ext cx="1355169" cy="673534"/>
        </a:xfrm>
        <a:prstGeom prst="roundRect">
          <a:avLst>
            <a:gd name="adj" fmla="val 1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dobe Fangsong Std R" panose="02020400000000000000" pitchFamily="18" charset="-128"/>
              <a:ea typeface="Adobe Fangsong Std R" panose="02020400000000000000" pitchFamily="18" charset="-128"/>
            </a:rPr>
            <a:t>Block 1</a:t>
          </a:r>
        </a:p>
      </dsp:txBody>
      <dsp:txXfrm>
        <a:off x="2396651" y="542238"/>
        <a:ext cx="1315715" cy="634080"/>
      </dsp:txXfrm>
    </dsp:sp>
    <dsp:sp modelId="{9798AE99-6D4E-4589-8293-04831AD76705}">
      <dsp:nvSpPr>
        <dsp:cNvPr id="0" name=""/>
        <dsp:cNvSpPr/>
      </dsp:nvSpPr>
      <dsp:spPr>
        <a:xfrm rot="10800000">
          <a:off x="3987151" y="543008"/>
          <a:ext cx="540721" cy="632541"/>
        </a:xfrm>
        <a:prstGeom prst="rightArrow">
          <a:avLst>
            <a:gd name="adj1" fmla="val 60000"/>
            <a:gd name="adj2" fmla="val 50000"/>
          </a:avLst>
        </a:prstGeom>
        <a:solidFill>
          <a:schemeClr val="accent4">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4149367" y="669516"/>
        <a:ext cx="378505" cy="379525"/>
      </dsp:txXfrm>
    </dsp:sp>
    <dsp:sp modelId="{F9CF15C0-FD8B-4522-91D5-E647EF59B558}">
      <dsp:nvSpPr>
        <dsp:cNvPr id="0" name=""/>
        <dsp:cNvSpPr/>
      </dsp:nvSpPr>
      <dsp:spPr>
        <a:xfrm>
          <a:off x="4752322" y="522511"/>
          <a:ext cx="1355169" cy="673534"/>
        </a:xfrm>
        <a:prstGeom prst="roundRect">
          <a:avLst>
            <a:gd name="adj" fmla="val 1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dobe Fangsong Std R" panose="02020400000000000000" pitchFamily="18" charset="-128"/>
              <a:ea typeface="Adobe Fangsong Std R" panose="02020400000000000000" pitchFamily="18" charset="-128"/>
            </a:rPr>
            <a:t>Block 2</a:t>
          </a:r>
        </a:p>
      </dsp:txBody>
      <dsp:txXfrm>
        <a:off x="4772049" y="542238"/>
        <a:ext cx="1315715" cy="634080"/>
      </dsp:txXfrm>
    </dsp:sp>
    <dsp:sp modelId="{75DAC6BA-E23D-43CF-A72B-B07455A5DA62}">
      <dsp:nvSpPr>
        <dsp:cNvPr id="0" name=""/>
        <dsp:cNvSpPr/>
      </dsp:nvSpPr>
      <dsp:spPr>
        <a:xfrm rot="10800000">
          <a:off x="6362549" y="543008"/>
          <a:ext cx="540721" cy="632541"/>
        </a:xfrm>
        <a:prstGeom prst="rightArrow">
          <a:avLst>
            <a:gd name="adj1" fmla="val 60000"/>
            <a:gd name="adj2" fmla="val 50000"/>
          </a:avLst>
        </a:prstGeom>
        <a:solidFill>
          <a:schemeClr val="accent4">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6524765" y="669516"/>
        <a:ext cx="378505" cy="379525"/>
      </dsp:txXfrm>
    </dsp:sp>
    <dsp:sp modelId="{1CD17FAB-41E7-4E93-9CC0-44721AAC02E6}">
      <dsp:nvSpPr>
        <dsp:cNvPr id="0" name=""/>
        <dsp:cNvSpPr/>
      </dsp:nvSpPr>
      <dsp:spPr>
        <a:xfrm>
          <a:off x="7127721" y="522511"/>
          <a:ext cx="1355169" cy="673534"/>
        </a:xfrm>
        <a:prstGeom prst="roundRect">
          <a:avLst>
            <a:gd name="adj" fmla="val 1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dobe Fangsong Std R" panose="02020400000000000000" pitchFamily="18" charset="-128"/>
              <a:ea typeface="Adobe Fangsong Std R" panose="02020400000000000000" pitchFamily="18" charset="-128"/>
            </a:rPr>
            <a:t>…</a:t>
          </a:r>
        </a:p>
      </dsp:txBody>
      <dsp:txXfrm>
        <a:off x="7147448" y="542238"/>
        <a:ext cx="1315715" cy="634080"/>
      </dsp:txXfrm>
    </dsp:sp>
    <dsp:sp modelId="{7BB2D783-1F80-4757-803E-64128D9075CB}">
      <dsp:nvSpPr>
        <dsp:cNvPr id="0" name=""/>
        <dsp:cNvSpPr/>
      </dsp:nvSpPr>
      <dsp:spPr>
        <a:xfrm rot="10800000">
          <a:off x="8737948" y="543008"/>
          <a:ext cx="540721" cy="632541"/>
        </a:xfrm>
        <a:prstGeom prst="rightArrow">
          <a:avLst>
            <a:gd name="adj1" fmla="val 60000"/>
            <a:gd name="adj2" fmla="val 50000"/>
          </a:avLst>
        </a:prstGeom>
        <a:solidFill>
          <a:schemeClr val="accent4">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US" sz="2800" kern="1200"/>
        </a:p>
      </dsp:txBody>
      <dsp:txXfrm>
        <a:off x="8900164" y="669516"/>
        <a:ext cx="378505" cy="379525"/>
      </dsp:txXfrm>
    </dsp:sp>
    <dsp:sp modelId="{A3DF6F31-1A35-408B-8404-C164D5D70A3A}">
      <dsp:nvSpPr>
        <dsp:cNvPr id="0" name=""/>
        <dsp:cNvSpPr/>
      </dsp:nvSpPr>
      <dsp:spPr>
        <a:xfrm>
          <a:off x="9503119" y="522511"/>
          <a:ext cx="1355169" cy="673534"/>
        </a:xfrm>
        <a:prstGeom prst="roundRect">
          <a:avLst>
            <a:gd name="adj" fmla="val 100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Adobe Fangsong Std R" panose="02020400000000000000" pitchFamily="18" charset="-128"/>
              <a:ea typeface="Adobe Fangsong Std R" panose="02020400000000000000" pitchFamily="18" charset="-128"/>
            </a:rPr>
            <a:t>Block n</a:t>
          </a:r>
        </a:p>
      </dsp:txBody>
      <dsp:txXfrm>
        <a:off x="9522846" y="542238"/>
        <a:ext cx="1315715" cy="6340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C98577-9720-4B53-BD8F-59407FA52E71}">
      <dsp:nvSpPr>
        <dsp:cNvPr id="0" name=""/>
        <dsp:cNvSpPr/>
      </dsp:nvSpPr>
      <dsp:spPr>
        <a:xfrm>
          <a:off x="0" y="0"/>
          <a:ext cx="821200" cy="492720"/>
        </a:xfrm>
        <a:prstGeom prst="rect">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1</a:t>
          </a:r>
        </a:p>
      </dsp:txBody>
      <dsp:txXfrm>
        <a:off x="0" y="0"/>
        <a:ext cx="821200" cy="4927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6B6FDF-20A3-4877-A2D1-0718E6509028}">
      <dsp:nvSpPr>
        <dsp:cNvPr id="0" name=""/>
        <dsp:cNvSpPr/>
      </dsp:nvSpPr>
      <dsp:spPr>
        <a:xfrm>
          <a:off x="0" y="182845"/>
          <a:ext cx="971927" cy="1668742"/>
        </a:xfrm>
        <a:prstGeom prst="rect">
          <a:avLst/>
        </a:prstGeom>
        <a:solidFill>
          <a:schemeClr val="accent4">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4">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Block</a:t>
          </a:r>
        </a:p>
        <a:p>
          <a:pPr marL="114300" lvl="1" indent="-114300" algn="l" defTabSz="666750">
            <a:lnSpc>
              <a:spcPct val="90000"/>
            </a:lnSpc>
            <a:spcBef>
              <a:spcPct val="0"/>
            </a:spcBef>
            <a:spcAft>
              <a:spcPct val="15000"/>
            </a:spcAft>
            <a:buChar char="•"/>
          </a:pPr>
          <a:r>
            <a:rPr lang="en-US" sz="1500" kern="1200" dirty="0"/>
            <a:t>TX1</a:t>
          </a:r>
        </a:p>
        <a:p>
          <a:pPr marL="114300" lvl="1" indent="-114300" algn="l" defTabSz="666750">
            <a:lnSpc>
              <a:spcPct val="90000"/>
            </a:lnSpc>
            <a:spcBef>
              <a:spcPct val="0"/>
            </a:spcBef>
            <a:spcAft>
              <a:spcPct val="15000"/>
            </a:spcAft>
            <a:buChar char="•"/>
          </a:pPr>
          <a:r>
            <a:rPr lang="en-US" sz="1500" kern="1200" dirty="0"/>
            <a:t>TX2</a:t>
          </a:r>
        </a:p>
        <a:p>
          <a:pPr marL="114300" lvl="1" indent="-114300" algn="l" defTabSz="666750">
            <a:lnSpc>
              <a:spcPct val="90000"/>
            </a:lnSpc>
            <a:spcBef>
              <a:spcPct val="0"/>
            </a:spcBef>
            <a:spcAft>
              <a:spcPct val="15000"/>
            </a:spcAft>
            <a:buChar char="•"/>
          </a:pPr>
          <a:r>
            <a:rPr lang="en-US" sz="1500" kern="1200" dirty="0"/>
            <a:t>TX3</a:t>
          </a:r>
        </a:p>
        <a:p>
          <a:pPr marL="114300" lvl="1" indent="-114300" algn="l" defTabSz="666750">
            <a:lnSpc>
              <a:spcPct val="90000"/>
            </a:lnSpc>
            <a:spcBef>
              <a:spcPct val="0"/>
            </a:spcBef>
            <a:spcAft>
              <a:spcPct val="15000"/>
            </a:spcAft>
            <a:buChar char="•"/>
          </a:pPr>
          <a:r>
            <a:rPr lang="en-US" sz="1500" kern="1200" dirty="0"/>
            <a:t>TX4</a:t>
          </a:r>
        </a:p>
        <a:p>
          <a:pPr marL="114300" lvl="1" indent="-114300" algn="l" defTabSz="666750">
            <a:lnSpc>
              <a:spcPct val="90000"/>
            </a:lnSpc>
            <a:spcBef>
              <a:spcPct val="0"/>
            </a:spcBef>
            <a:spcAft>
              <a:spcPct val="15000"/>
            </a:spcAft>
            <a:buChar char="•"/>
          </a:pPr>
          <a:r>
            <a:rPr lang="en-US" sz="1500" kern="1200" dirty="0"/>
            <a:t>TX5</a:t>
          </a:r>
        </a:p>
      </dsp:txBody>
      <dsp:txXfrm>
        <a:off x="0" y="182845"/>
        <a:ext cx="971927" cy="166874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E28224-E15C-4D1F-B2C0-F33C74DE4695}">
      <dsp:nvSpPr>
        <dsp:cNvPr id="0" name=""/>
        <dsp:cNvSpPr/>
      </dsp:nvSpPr>
      <dsp:spPr>
        <a:xfrm>
          <a:off x="0" y="107047"/>
          <a:ext cx="1159323" cy="695593"/>
        </a:xfrm>
        <a:prstGeom prst="roundRect">
          <a:avLst>
            <a:gd name="adj" fmla="val 1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lock N</a:t>
          </a:r>
        </a:p>
      </dsp:txBody>
      <dsp:txXfrm>
        <a:off x="20373" y="127420"/>
        <a:ext cx="1118577" cy="654847"/>
      </dsp:txXfrm>
    </dsp:sp>
    <dsp:sp modelId="{940471B9-744B-4D9B-A499-A763A7DF19C0}">
      <dsp:nvSpPr>
        <dsp:cNvPr id="0" name=""/>
        <dsp:cNvSpPr/>
      </dsp:nvSpPr>
      <dsp:spPr>
        <a:xfrm rot="5400000">
          <a:off x="456773" y="883794"/>
          <a:ext cx="245776" cy="287512"/>
        </a:xfrm>
        <a:prstGeom prst="rightArrow">
          <a:avLst>
            <a:gd name="adj1" fmla="val 60000"/>
            <a:gd name="adj2" fmla="val 5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904662"/>
        <a:ext cx="172508" cy="172043"/>
      </dsp:txXfrm>
    </dsp:sp>
    <dsp:sp modelId="{7C2E10AC-59E7-4CD2-9387-A79414701974}">
      <dsp:nvSpPr>
        <dsp:cNvPr id="0" name=""/>
        <dsp:cNvSpPr/>
      </dsp:nvSpPr>
      <dsp:spPr>
        <a:xfrm>
          <a:off x="0" y="1266370"/>
          <a:ext cx="1159323" cy="695593"/>
        </a:xfrm>
        <a:prstGeom prst="roundRect">
          <a:avLst>
            <a:gd name="adj" fmla="val 10000"/>
          </a:avLst>
        </a:prstGeom>
        <a:solidFill>
          <a:schemeClr val="accent5">
            <a:hueOff val="4053220"/>
            <a:satOff val="-3502"/>
            <a:lumOff val="-4117"/>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4053220"/>
              <a:satOff val="-3502"/>
              <a:lumOff val="-4117"/>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t>
          </a:r>
        </a:p>
      </dsp:txBody>
      <dsp:txXfrm>
        <a:off x="20373" y="1286743"/>
        <a:ext cx="1118577" cy="654847"/>
      </dsp:txXfrm>
    </dsp:sp>
    <dsp:sp modelId="{F838F4A0-E84C-433C-8DB8-4832537345A3}">
      <dsp:nvSpPr>
        <dsp:cNvPr id="0" name=""/>
        <dsp:cNvSpPr/>
      </dsp:nvSpPr>
      <dsp:spPr>
        <a:xfrm rot="5400000">
          <a:off x="456773" y="2043117"/>
          <a:ext cx="245776" cy="287512"/>
        </a:xfrm>
        <a:prstGeom prst="rightArrow">
          <a:avLst>
            <a:gd name="adj1" fmla="val 60000"/>
            <a:gd name="adj2" fmla="val 50000"/>
          </a:avLst>
        </a:prstGeom>
        <a:solidFill>
          <a:schemeClr val="accent5">
            <a:hueOff val="5404294"/>
            <a:satOff val="-4669"/>
            <a:lumOff val="-548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5404294"/>
              <a:satOff val="-4669"/>
              <a:lumOff val="-548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2063985"/>
        <a:ext cx="172508" cy="172043"/>
      </dsp:txXfrm>
    </dsp:sp>
    <dsp:sp modelId="{B8517952-6C83-4CCC-8EC4-6EAB65C2FF1C}">
      <dsp:nvSpPr>
        <dsp:cNvPr id="0" name=""/>
        <dsp:cNvSpPr/>
      </dsp:nvSpPr>
      <dsp:spPr>
        <a:xfrm>
          <a:off x="0" y="2425693"/>
          <a:ext cx="1159323" cy="695593"/>
        </a:xfrm>
        <a:prstGeom prst="roundRect">
          <a:avLst>
            <a:gd name="adj" fmla="val 10000"/>
          </a:avLst>
        </a:prstGeom>
        <a:solidFill>
          <a:schemeClr val="accent5">
            <a:hueOff val="8106441"/>
            <a:satOff val="-7003"/>
            <a:lumOff val="-8234"/>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8106441"/>
              <a:satOff val="-7003"/>
              <a:lumOff val="-8234"/>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lock 2</a:t>
          </a:r>
        </a:p>
      </dsp:txBody>
      <dsp:txXfrm>
        <a:off x="20373" y="2446066"/>
        <a:ext cx="1118577" cy="654847"/>
      </dsp:txXfrm>
    </dsp:sp>
    <dsp:sp modelId="{8F721480-5647-4B1F-9333-2CB93EF5DE18}">
      <dsp:nvSpPr>
        <dsp:cNvPr id="0" name=""/>
        <dsp:cNvSpPr/>
      </dsp:nvSpPr>
      <dsp:spPr>
        <a:xfrm rot="5400000">
          <a:off x="456773" y="3202440"/>
          <a:ext cx="245776" cy="287512"/>
        </a:xfrm>
        <a:prstGeom prst="rightArrow">
          <a:avLst>
            <a:gd name="adj1" fmla="val 60000"/>
            <a:gd name="adj2" fmla="val 50000"/>
          </a:avLst>
        </a:prstGeom>
        <a:solidFill>
          <a:schemeClr val="accent5">
            <a:hueOff val="10808588"/>
            <a:satOff val="-9337"/>
            <a:lumOff val="-10979"/>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0808588"/>
              <a:satOff val="-9337"/>
              <a:lumOff val="-10979"/>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3223308"/>
        <a:ext cx="172508" cy="172043"/>
      </dsp:txXfrm>
    </dsp:sp>
    <dsp:sp modelId="{2C38D92E-C86A-4C42-A8BF-5157757EBEEA}">
      <dsp:nvSpPr>
        <dsp:cNvPr id="0" name=""/>
        <dsp:cNvSpPr/>
      </dsp:nvSpPr>
      <dsp:spPr>
        <a:xfrm>
          <a:off x="0" y="3585016"/>
          <a:ext cx="1159323" cy="695593"/>
        </a:xfrm>
        <a:prstGeom prst="roundRect">
          <a:avLst>
            <a:gd name="adj" fmla="val 10000"/>
          </a:avLst>
        </a:prstGeom>
        <a:solidFill>
          <a:schemeClr val="accent5">
            <a:hueOff val="12159661"/>
            <a:satOff val="-10505"/>
            <a:lumOff val="-12351"/>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2159661"/>
              <a:satOff val="-10505"/>
              <a:lumOff val="-12351"/>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lock 1</a:t>
          </a:r>
        </a:p>
      </dsp:txBody>
      <dsp:txXfrm>
        <a:off x="20373" y="3605389"/>
        <a:ext cx="1118577" cy="654847"/>
      </dsp:txXfrm>
    </dsp:sp>
    <dsp:sp modelId="{9228D13A-DF69-4910-99BD-6983DEB0B6FE}">
      <dsp:nvSpPr>
        <dsp:cNvPr id="0" name=""/>
        <dsp:cNvSpPr/>
      </dsp:nvSpPr>
      <dsp:spPr>
        <a:xfrm rot="5400000">
          <a:off x="456773" y="4361763"/>
          <a:ext cx="245776" cy="287512"/>
        </a:xfrm>
        <a:prstGeom prst="rightArrow">
          <a:avLst>
            <a:gd name="adj1" fmla="val 60000"/>
            <a:gd name="adj2" fmla="val 5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93408" y="4382631"/>
        <a:ext cx="172508" cy="172043"/>
      </dsp:txXfrm>
    </dsp:sp>
    <dsp:sp modelId="{60E64AD6-BD96-4696-9E4A-3DADEE55E866}">
      <dsp:nvSpPr>
        <dsp:cNvPr id="0" name=""/>
        <dsp:cNvSpPr/>
      </dsp:nvSpPr>
      <dsp:spPr>
        <a:xfrm>
          <a:off x="0" y="4744339"/>
          <a:ext cx="1159323" cy="695593"/>
        </a:xfrm>
        <a:prstGeom prst="roundRect">
          <a:avLst>
            <a:gd name="adj" fmla="val 10000"/>
          </a:avLst>
        </a:prstGeom>
        <a:solidFill>
          <a:schemeClr val="accent5">
            <a:hueOff val="16212881"/>
            <a:satOff val="-14006"/>
            <a:lumOff val="-16468"/>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16212881"/>
              <a:satOff val="-14006"/>
              <a:lumOff val="-1646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lock 0</a:t>
          </a:r>
        </a:p>
      </dsp:txBody>
      <dsp:txXfrm>
        <a:off x="20373" y="4764712"/>
        <a:ext cx="1118577" cy="6548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39B43-5277-4B55-9634-9E76CFD5F86F}">
      <dsp:nvSpPr>
        <dsp:cNvPr id="0" name=""/>
        <dsp:cNvSpPr/>
      </dsp:nvSpPr>
      <dsp:spPr>
        <a:xfrm>
          <a:off x="1799" y="1669"/>
          <a:ext cx="1841025" cy="1709811"/>
        </a:xfrm>
        <a:prstGeom prst="rect">
          <a:avLst/>
        </a:prstGeom>
        <a:solidFill>
          <a:schemeClr val="accent6">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6">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Nodes validate the blocks and add it to their own copy of the blockchain</a:t>
          </a:r>
        </a:p>
      </dsp:txBody>
      <dsp:txXfrm>
        <a:off x="1799" y="1669"/>
        <a:ext cx="1841025" cy="170981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A679C0-1A87-4134-83D3-6F41AC981510}">
      <dsp:nvSpPr>
        <dsp:cNvPr id="0" name=""/>
        <dsp:cNvSpPr/>
      </dsp:nvSpPr>
      <dsp:spPr>
        <a:xfrm>
          <a:off x="4971"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0</a:t>
          </a:r>
        </a:p>
      </dsp:txBody>
      <dsp:txXfrm>
        <a:off x="43171" y="1840895"/>
        <a:ext cx="2097339" cy="1227843"/>
      </dsp:txXfrm>
    </dsp:sp>
    <dsp:sp modelId="{04AECB6C-9ABE-4F48-8DC1-066E41FA5FCD}">
      <dsp:nvSpPr>
        <dsp:cNvPr id="0" name=""/>
        <dsp:cNvSpPr/>
      </dsp:nvSpPr>
      <dsp:spPr>
        <a:xfrm rot="10800000">
          <a:off x="2396085"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534335" y="2293090"/>
        <a:ext cx="322582" cy="323453"/>
      </dsp:txXfrm>
    </dsp:sp>
    <dsp:sp modelId="{49BDD032-7994-4F9D-A008-5C3B4233DF82}">
      <dsp:nvSpPr>
        <dsp:cNvPr id="0" name=""/>
        <dsp:cNvSpPr/>
      </dsp:nvSpPr>
      <dsp:spPr>
        <a:xfrm>
          <a:off x="3048207"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1</a:t>
          </a:r>
        </a:p>
        <a:p>
          <a:pPr marL="0" lvl="0" indent="0" algn="ctr" defTabSz="844550">
            <a:lnSpc>
              <a:spcPct val="90000"/>
            </a:lnSpc>
            <a:spcBef>
              <a:spcPct val="0"/>
            </a:spcBef>
            <a:spcAft>
              <a:spcPct val="35000"/>
            </a:spcAft>
            <a:buNone/>
          </a:pPr>
          <a:br>
            <a:rPr lang="en-US" sz="1900" kern="1200" dirty="0"/>
          </a:br>
          <a:r>
            <a:rPr lang="en-US" sz="1900" kern="1200" dirty="0"/>
            <a:t>Hash of Block 0</a:t>
          </a:r>
        </a:p>
      </dsp:txBody>
      <dsp:txXfrm>
        <a:off x="3086407" y="1840895"/>
        <a:ext cx="2097339" cy="1227843"/>
      </dsp:txXfrm>
    </dsp:sp>
    <dsp:sp modelId="{81BE2AFD-FAB6-47D3-B7F7-F840B4222879}">
      <dsp:nvSpPr>
        <dsp:cNvPr id="0" name=""/>
        <dsp:cNvSpPr/>
      </dsp:nvSpPr>
      <dsp:spPr>
        <a:xfrm rot="10800000">
          <a:off x="5439321"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577571" y="2293090"/>
        <a:ext cx="322582" cy="323453"/>
      </dsp:txXfrm>
    </dsp:sp>
    <dsp:sp modelId="{1492DB1B-1F70-419A-9240-3F0DDBE95D5F}">
      <dsp:nvSpPr>
        <dsp:cNvPr id="0" name=""/>
        <dsp:cNvSpPr/>
      </dsp:nvSpPr>
      <dsp:spPr>
        <a:xfrm>
          <a:off x="6091442"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2</a:t>
          </a:r>
        </a:p>
        <a:p>
          <a:pPr marL="0" lvl="0" indent="0" algn="ctr" defTabSz="844550">
            <a:lnSpc>
              <a:spcPct val="90000"/>
            </a:lnSpc>
            <a:spcBef>
              <a:spcPct val="0"/>
            </a:spcBef>
            <a:spcAft>
              <a:spcPct val="35000"/>
            </a:spcAft>
            <a:buNone/>
          </a:pPr>
          <a:br>
            <a:rPr lang="en-US" sz="1900" kern="1200" dirty="0"/>
          </a:br>
          <a:r>
            <a:rPr lang="en-US" sz="1900" kern="1200" dirty="0"/>
            <a:t>Hash of Block 1</a:t>
          </a:r>
        </a:p>
      </dsp:txBody>
      <dsp:txXfrm>
        <a:off x="6129642" y="1840895"/>
        <a:ext cx="2097339" cy="1227843"/>
      </dsp:txXfrm>
    </dsp:sp>
    <dsp:sp modelId="{F84B0E7C-CC02-4D8E-A13E-3C6F8E799E31}">
      <dsp:nvSpPr>
        <dsp:cNvPr id="0" name=""/>
        <dsp:cNvSpPr/>
      </dsp:nvSpPr>
      <dsp:spPr>
        <a:xfrm rot="10800000">
          <a:off x="8482556" y="2185273"/>
          <a:ext cx="460832" cy="539087"/>
        </a:xfrm>
        <a:prstGeom prst="rightArrow">
          <a:avLst>
            <a:gd name="adj1" fmla="val 60000"/>
            <a:gd name="adj2" fmla="val 50000"/>
          </a:avLst>
        </a:prstGeom>
        <a:solidFill>
          <a:schemeClr val="accent6">
            <a:tint val="6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8620806" y="2293090"/>
        <a:ext cx="322582" cy="323453"/>
      </dsp:txXfrm>
    </dsp:sp>
    <dsp:sp modelId="{F9F4735B-F27E-4D9E-A1B7-959823A4C748}">
      <dsp:nvSpPr>
        <dsp:cNvPr id="0" name=""/>
        <dsp:cNvSpPr/>
      </dsp:nvSpPr>
      <dsp:spPr>
        <a:xfrm>
          <a:off x="9134678" y="1802695"/>
          <a:ext cx="2173739" cy="1304243"/>
        </a:xfrm>
        <a:prstGeom prst="roundRect">
          <a:avLst>
            <a:gd name="adj" fmla="val 10000"/>
          </a:avLst>
        </a:prstGeom>
        <a:solidFill>
          <a:schemeClr val="accent6">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Block N</a:t>
          </a:r>
        </a:p>
        <a:p>
          <a:pPr marL="0" lvl="0" indent="0" algn="ctr" defTabSz="844550">
            <a:lnSpc>
              <a:spcPct val="90000"/>
            </a:lnSpc>
            <a:spcBef>
              <a:spcPct val="0"/>
            </a:spcBef>
            <a:spcAft>
              <a:spcPct val="35000"/>
            </a:spcAft>
            <a:buNone/>
          </a:pPr>
          <a:br>
            <a:rPr lang="en-US" sz="1900" kern="1200" dirty="0"/>
          </a:br>
          <a:r>
            <a:rPr lang="en-US" sz="1900" kern="1200" dirty="0"/>
            <a:t>Hash of Block N-1</a:t>
          </a:r>
        </a:p>
      </dsp:txBody>
      <dsp:txXfrm>
        <a:off x="9172878" y="1840895"/>
        <a:ext cx="2097339" cy="1227843"/>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9000" y="612947"/>
            <a:ext cx="5760000" cy="324096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211842"/>
            <a:ext cx="5760000" cy="393926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34137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1400" dirty="0"/>
              <a:t>Open source collaborative effort to advance cross-industry blockchain technologies</a:t>
            </a:r>
          </a:p>
          <a:p>
            <a:pPr marL="342900" indent="-342900">
              <a:buFont typeface="Arial" panose="020B0604020202020204" pitchFamily="34" charset="0"/>
              <a:buChar char="•"/>
            </a:pPr>
            <a:r>
              <a:rPr lang="en-US" sz="1400" dirty="0"/>
              <a:t>Global collaboration including leaders in finance, banking, Internet of Things, supply chains, manufacturing and technology</a:t>
            </a:r>
          </a:p>
          <a:p>
            <a:pPr marL="342900" indent="-342900">
              <a:buFont typeface="Arial" panose="020B0604020202020204" pitchFamily="34" charset="0"/>
              <a:buChar char="•"/>
            </a:pPr>
            <a:r>
              <a:rPr lang="en-US" sz="1400" dirty="0"/>
              <a:t>Launched in December 2015</a:t>
            </a:r>
          </a:p>
          <a:p>
            <a:pPr marL="342900" indent="-342900">
              <a:buFont typeface="Arial" panose="020B0604020202020204" pitchFamily="34" charset="0"/>
              <a:buChar char="•"/>
            </a:pPr>
            <a:r>
              <a:rPr lang="en-US" sz="1400" dirty="0"/>
              <a:t>120+ members/contributors</a:t>
            </a:r>
          </a:p>
          <a:p>
            <a:pPr marL="342900" indent="-342900">
              <a:buFont typeface="Arial" panose="020B0604020202020204" pitchFamily="34" charset="0"/>
              <a:buChar char="•"/>
            </a:pPr>
            <a:r>
              <a:rPr lang="en-US" sz="1400" dirty="0"/>
              <a:t>Hosted by The Linux Foundation as a Collaborative Project</a:t>
            </a:r>
          </a:p>
          <a:p>
            <a:pPr marL="342900" indent="-342900">
              <a:buFont typeface="Arial" panose="020B0604020202020204" pitchFamily="34" charset="0"/>
              <a:buChar char="•"/>
            </a:pPr>
            <a:r>
              <a:rPr lang="en-US" sz="1400" dirty="0"/>
              <a:t>SAP is Premier Member</a:t>
            </a:r>
          </a:p>
          <a:p>
            <a:pPr marL="342900" indent="-342900">
              <a:buFont typeface="Arial" panose="020B0604020202020204" pitchFamily="34" charset="0"/>
              <a:buChar char="•"/>
            </a:pPr>
            <a:r>
              <a:rPr lang="en-US" sz="1400" dirty="0"/>
              <a:t>SAP is represented in Hyperledger Governing Board by Dominik </a:t>
            </a:r>
            <a:r>
              <a:rPr lang="en-US" sz="1400" dirty="0" err="1"/>
              <a:t>Heere</a:t>
            </a:r>
            <a:r>
              <a:rPr lang="en-US" sz="1400" dirty="0"/>
              <a:t> (ICN Engineering) </a:t>
            </a:r>
          </a:p>
          <a:p>
            <a:endParaRPr lang="en-US" sz="140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07</a:t>
            </a:fld>
            <a:endParaRPr lang="de-DE"/>
          </a:p>
        </p:txBody>
      </p:sp>
    </p:spTree>
    <p:extLst>
      <p:ext uri="{BB962C8B-B14F-4D97-AF65-F5344CB8AC3E}">
        <p14:creationId xmlns:p14="http://schemas.microsoft.com/office/powerpoint/2010/main" val="329216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10</a:t>
            </a:fld>
            <a:endParaRPr lang="en-US"/>
          </a:p>
        </p:txBody>
      </p:sp>
    </p:spTree>
    <p:extLst>
      <p:ext uri="{BB962C8B-B14F-4D97-AF65-F5344CB8AC3E}">
        <p14:creationId xmlns:p14="http://schemas.microsoft.com/office/powerpoint/2010/main" val="1624908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Bitcoin</a:t>
            </a:r>
            <a:r>
              <a:rPr lang="en-US" baseline="0" dirty="0"/>
              <a:t> mining</a:t>
            </a:r>
          </a:p>
          <a:p>
            <a:r>
              <a:rPr lang="en-US" baseline="0" dirty="0"/>
              <a:t>Bitcoin symbol</a:t>
            </a:r>
          </a:p>
          <a:p>
            <a:r>
              <a:rPr lang="en-US" baseline="0" dirty="0"/>
              <a:t>The man who is not </a:t>
            </a:r>
            <a:r>
              <a:rPr lang="en-US" baseline="0" dirty="0" err="1"/>
              <a:t>satoshi</a:t>
            </a:r>
            <a:r>
              <a:rPr lang="en-US" baseline="0" dirty="0"/>
              <a:t> </a:t>
            </a:r>
            <a:r>
              <a:rPr lang="en-US" baseline="0" dirty="0" err="1"/>
              <a:t>nakamoto</a:t>
            </a:r>
            <a:endParaRPr lang="en-US" baseline="0" dirty="0"/>
          </a:p>
          <a:p>
            <a:r>
              <a:rPr lang="en-US" baseline="0" dirty="0"/>
              <a:t>The SHA256 hash for “SAP”</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1625635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YAP (Rai) stone money. Mint? Mine? Proof of work? Scarcity?</a:t>
            </a:r>
            <a:r>
              <a:rPr lang="en-US" baseline="0" dirty="0"/>
              <a:t> Oral community Public ledger?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Tree>
    <p:extLst>
      <p:ext uri="{BB962C8B-B14F-4D97-AF65-F5344CB8AC3E}">
        <p14:creationId xmlns:p14="http://schemas.microsoft.com/office/powerpoint/2010/main" val="742313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YAP (Rai) stone money. Mint? Mine? Proof of work? Scarcity?</a:t>
            </a:r>
            <a:r>
              <a:rPr lang="en-US" baseline="0" dirty="0"/>
              <a:t> Oral community Public ledger?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3</a:t>
            </a:fld>
            <a:endParaRPr lang="de-DE" dirty="0"/>
          </a:p>
        </p:txBody>
      </p:sp>
    </p:spTree>
    <p:extLst>
      <p:ext uri="{BB962C8B-B14F-4D97-AF65-F5344CB8AC3E}">
        <p14:creationId xmlns:p14="http://schemas.microsoft.com/office/powerpoint/2010/main" val="503327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YAP (Rai) stone money. Mint? Mine? Proof of work? Scarcity?</a:t>
            </a:r>
            <a:r>
              <a:rPr lang="en-US" baseline="0" dirty="0"/>
              <a:t> Oral community Public ledger?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5</a:t>
            </a:fld>
            <a:endParaRPr lang="de-DE" dirty="0"/>
          </a:p>
        </p:txBody>
      </p:sp>
    </p:spTree>
    <p:extLst>
      <p:ext uri="{BB962C8B-B14F-4D97-AF65-F5344CB8AC3E}">
        <p14:creationId xmlns:p14="http://schemas.microsoft.com/office/powerpoint/2010/main" val="1488397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YAP (Rai) stone money. Mint? Mine? Proof of work? Scarcity?</a:t>
            </a:r>
            <a:r>
              <a:rPr lang="en-US" baseline="0" dirty="0"/>
              <a:t> Oral community Public ledger?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764066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a:t>912</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18</a:t>
            </a:fld>
            <a:endParaRPr lang="de-DE" dirty="0"/>
          </a:p>
        </p:txBody>
      </p:sp>
    </p:spTree>
    <p:extLst>
      <p:ext uri="{BB962C8B-B14F-4D97-AF65-F5344CB8AC3E}">
        <p14:creationId xmlns:p14="http://schemas.microsoft.com/office/powerpoint/2010/main" val="11560987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05</a:t>
            </a:fld>
            <a:endParaRPr lang="en-US" dirty="0"/>
          </a:p>
        </p:txBody>
      </p:sp>
      <p:sp>
        <p:nvSpPr>
          <p:cNvPr id="3" name="Slide Image Placeholder 2"/>
          <p:cNvSpPr>
            <a:spLocks noGrp="1" noRot="1" noChangeAspect="1"/>
          </p:cNvSpPr>
          <p:nvPr>
            <p:ph type="sldImg"/>
          </p:nvPr>
        </p:nvSpPr>
        <p:spPr>
          <a:xfrm>
            <a:off x="547688" y="612775"/>
            <a:ext cx="5762625" cy="3241675"/>
          </a:xfrm>
        </p:spPr>
      </p:sp>
      <p:sp>
        <p:nvSpPr>
          <p:cNvPr id="5" name="Notes Placeholder 4"/>
          <p:cNvSpPr>
            <a:spLocks noGrp="1"/>
          </p:cNvSpPr>
          <p:nvPr>
            <p:ph type="body" idx="1"/>
          </p:nvPr>
        </p:nvSpPr>
        <p:spPr/>
        <p:txBody>
          <a:bodyPr>
            <a:normAutofit/>
          </a:bodyPr>
          <a:lstStyle/>
          <a:p>
            <a:endParaRPr lang="en-US" sz="1200" b="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9492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06</a:t>
            </a:fld>
            <a:endParaRPr lang="en-US" dirty="0"/>
          </a:p>
        </p:txBody>
      </p:sp>
      <p:sp>
        <p:nvSpPr>
          <p:cNvPr id="3" name="Slide Image Placeholder 2"/>
          <p:cNvSpPr>
            <a:spLocks noGrp="1" noRot="1" noChangeAspect="1"/>
          </p:cNvSpPr>
          <p:nvPr>
            <p:ph type="sldImg"/>
          </p:nvPr>
        </p:nvSpPr>
        <p:spPr>
          <a:xfrm>
            <a:off x="547688" y="612775"/>
            <a:ext cx="5762625" cy="3241675"/>
          </a:xfrm>
        </p:spPr>
      </p:sp>
      <p:sp>
        <p:nvSpPr>
          <p:cNvPr id="5" name="Notes Placeholder 4"/>
          <p:cNvSpPr>
            <a:spLocks noGrp="1"/>
          </p:cNvSpPr>
          <p:nvPr>
            <p:ph type="body" idx="1"/>
          </p:nvPr>
        </p:nvSpPr>
        <p:spPr/>
        <p:txBody>
          <a:bodyPr>
            <a:normAutofit/>
          </a:bodyPr>
          <a:lstStyle/>
          <a:p>
            <a:endParaRPr lang="en-US" sz="1200" b="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852152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 two lines">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24000" y="1540800"/>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chemeClr val="tx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a:t>Speaker’s Name, SAP (delete if not needed)</a:t>
            </a:r>
            <a:br>
              <a:rPr lang="en-US" dirty="0"/>
            </a:br>
            <a:r>
              <a:rPr lang="en-US" dirty="0"/>
              <a:t>Month 00, 2016</a:t>
            </a:r>
          </a:p>
        </p:txBody>
      </p:sp>
      <p:sp>
        <p:nvSpPr>
          <p:cNvPr id="9" name="Title 1"/>
          <p:cNvSpPr>
            <a:spLocks noGrp="1"/>
          </p:cNvSpPr>
          <p:nvPr>
            <p:ph type="ctrTitle" hasCustomPrompt="1"/>
          </p:nvPr>
        </p:nvSpPr>
        <p:spPr bwMode="gray">
          <a:xfrm>
            <a:off x="324000" y="324075"/>
            <a:ext cx="10620000" cy="1107996"/>
          </a:xfrm>
        </p:spPr>
        <p:txBody>
          <a:bodyPr anchor="t" anchorCtr="0">
            <a:noAutofit/>
          </a:bodyPr>
          <a:lstStyle>
            <a:lvl1pPr>
              <a:defRPr sz="3600">
                <a:solidFill>
                  <a:schemeClr val="tx1"/>
                </a:solidFill>
                <a:latin typeface="+mj-lt"/>
              </a:defRPr>
            </a:lvl1pPr>
          </a:lstStyle>
          <a:p>
            <a:r>
              <a:rPr lang="en-US" sz="3600" dirty="0"/>
              <a:t>Alternate Presentation Title</a:t>
            </a:r>
            <a:br>
              <a:rPr lang="en-US" sz="3600" dirty="0"/>
            </a:br>
            <a:r>
              <a:rPr lang="en-US" sz="3600" dirty="0"/>
              <a:t>Breaks to Two Lines</a:t>
            </a:r>
            <a:endParaRPr lang="de-DE" dirty="0"/>
          </a:p>
        </p:txBody>
      </p:sp>
    </p:spTree>
    <p:extLst>
      <p:ext uri="{BB962C8B-B14F-4D97-AF65-F5344CB8AC3E}">
        <p14:creationId xmlns:p14="http://schemas.microsoft.com/office/powerpoint/2010/main" val="3149497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18149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7639050" y="1691079"/>
            <a:ext cx="4232275" cy="4392042"/>
          </a:xfrm>
          <a:solidFill>
            <a:schemeClr val="accent2"/>
          </a:solidFill>
        </p:spPr>
        <p:txBody>
          <a:bodyPr tIns="1543147" anchor="t" anchorCtr="0"/>
          <a:lstStyle>
            <a:lvl1pPr algn="ctr">
              <a:defRPr b="0">
                <a:solidFill>
                  <a:schemeClr val="tx1"/>
                </a:solidFill>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1095265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6208016" y="1692392"/>
            <a:ext cx="5662800" cy="4393017"/>
          </a:xfrm>
          <a:solidFill>
            <a:schemeClr val="accent2"/>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552787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
        <p:nvSpPr>
          <p:cNvPr id="5" name="Picture Placeholder 4"/>
          <p:cNvSpPr>
            <a:spLocks noGrp="1"/>
          </p:cNvSpPr>
          <p:nvPr>
            <p:ph type="pic" sz="quarter" idx="10"/>
          </p:nvPr>
        </p:nvSpPr>
        <p:spPr bwMode="gray">
          <a:xfrm>
            <a:off x="4706938" y="1692392"/>
            <a:ext cx="7164387" cy="4393017"/>
          </a:xfrm>
          <a:solidFill>
            <a:schemeClr val="accent2"/>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a:t>Click icon to add picture</a:t>
            </a:r>
            <a:endParaRPr lang="de-DE"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1709358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a:t>First level</a:t>
            </a:r>
          </a:p>
          <a:p>
            <a:pPr lvl="1"/>
            <a:r>
              <a:rPr lang="en-US" dirty="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a:t>First level</a:t>
            </a:r>
          </a:p>
          <a:p>
            <a:pPr lvl="1"/>
            <a:r>
              <a:rPr lang="en-US" dirty="0"/>
              <a:t>Second level</a:t>
            </a:r>
          </a:p>
        </p:txBody>
      </p:sp>
      <p:sp>
        <p:nvSpPr>
          <p:cNvPr id="9" name="Picture Placeholder 4"/>
          <p:cNvSpPr>
            <a:spLocks noGrp="1"/>
          </p:cNvSpPr>
          <p:nvPr>
            <p:ph type="pic" sz="quarter" idx="15"/>
          </p:nvPr>
        </p:nvSpPr>
        <p:spPr bwMode="gray">
          <a:xfrm>
            <a:off x="324000" y="3574318"/>
            <a:ext cx="5662800" cy="2508804"/>
          </a:xfrm>
          <a:solidFill>
            <a:schemeClr val="accent2"/>
          </a:solidFill>
        </p:spPr>
        <p:txBody>
          <a:bodyPr tIns="600113" anchor="t" anchorCtr="0"/>
          <a:lstStyle>
            <a:lvl1pPr algn="ctr">
              <a:defRPr b="0"/>
            </a:lvl1pPr>
          </a:lstStyle>
          <a:p>
            <a:r>
              <a:rPr lang="en-US"/>
              <a:t>Click icon to add picture</a:t>
            </a:r>
            <a:endParaRPr lang="de-DE" dirty="0"/>
          </a:p>
        </p:txBody>
      </p:sp>
      <p:sp>
        <p:nvSpPr>
          <p:cNvPr id="11" name="Picture Placeholder 4"/>
          <p:cNvSpPr>
            <a:spLocks noGrp="1"/>
          </p:cNvSpPr>
          <p:nvPr>
            <p:ph type="pic" sz="quarter" idx="16"/>
          </p:nvPr>
        </p:nvSpPr>
        <p:spPr bwMode="gray">
          <a:xfrm>
            <a:off x="6208016" y="3574318"/>
            <a:ext cx="5662800" cy="2508804"/>
          </a:xfrm>
          <a:solidFill>
            <a:schemeClr val="accent2"/>
          </a:solidFill>
        </p:spPr>
        <p:txBody>
          <a:bodyPr tIns="600113" anchor="t" anchorCtr="0"/>
          <a:lstStyle>
            <a:lvl1pPr algn="ctr">
              <a:defRPr b="0"/>
            </a:lvl1pPr>
          </a:lstStyle>
          <a:p>
            <a:r>
              <a:rPr lang="en-US"/>
              <a:t>Click icon to add picture</a:t>
            </a:r>
            <a:endParaRPr lang="de-DE" dirty="0"/>
          </a:p>
        </p:txBody>
      </p:sp>
    </p:spTree>
    <p:extLst>
      <p:ext uri="{BB962C8B-B14F-4D97-AF65-F5344CB8AC3E}">
        <p14:creationId xmlns:p14="http://schemas.microsoft.com/office/powerpoint/2010/main" val="9386243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7" name="Content Placeholder 2"/>
          <p:cNvSpPr>
            <a:spLocks noGrp="1"/>
          </p:cNvSpPr>
          <p:nvPr>
            <p:ph idx="1" hasCustomPrompt="1"/>
          </p:nvPr>
        </p:nvSpPr>
        <p:spPr>
          <a:xfrm>
            <a:off x="324000" y="1692390"/>
            <a:ext cx="11545200" cy="4393017"/>
          </a:xfrm>
          <a:solidFill>
            <a:schemeClr val="accent2"/>
          </a:solidFill>
        </p:spPr>
        <p:txBody>
          <a:bodyPr tIns="0"/>
          <a:lstStyle>
            <a:lvl1pPr algn="l">
              <a:defRPr b="0"/>
            </a:lvl1pPr>
          </a:lstStyle>
          <a:p>
            <a:pPr lvl="0"/>
            <a:r>
              <a:rPr lang="en-US" dirty="0"/>
              <a:t>Click to add content</a:t>
            </a:r>
          </a:p>
        </p:txBody>
      </p:sp>
    </p:spTree>
    <p:extLst>
      <p:ext uri="{BB962C8B-B14F-4D97-AF65-F5344CB8AC3E}">
        <p14:creationId xmlns:p14="http://schemas.microsoft.com/office/powerpoint/2010/main" val="4186098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24407098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Rectangle 6"/>
          <p:cNvSpPr/>
          <p:nvPr userDrawn="1"/>
        </p:nvSpPr>
        <p:spPr bwMode="gray">
          <a:xfrm>
            <a:off x="236220" y="1143000"/>
            <a:ext cx="11795760" cy="22098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379248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creenshot">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Page with picture">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accent2"/>
          </a:solidFill>
        </p:spPr>
        <p:txBody>
          <a:bodyPr tIns="600113" anchor="t" anchorCtr="0"/>
          <a:lstStyle>
            <a:lvl1pPr algn="ctr">
              <a:defRPr b="0"/>
            </a:lvl1pPr>
          </a:lstStyle>
          <a:p>
            <a:r>
              <a:rPr lang="en-US" dirty="0"/>
              <a:t>Click icon to add picture</a:t>
            </a: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endParaRPr lang="de-DE"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spTree>
    <p:extLst>
      <p:ext uri="{BB962C8B-B14F-4D97-AF65-F5344CB8AC3E}">
        <p14:creationId xmlns:p14="http://schemas.microsoft.com/office/powerpoint/2010/main" val="2498757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age">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a:t>Divider page</a:t>
            </a:r>
            <a:endParaRPr lang="de-DE"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a:t>Subtitle if needed</a:t>
            </a:r>
          </a:p>
        </p:txBody>
      </p:sp>
    </p:spTree>
    <p:extLst>
      <p:ext uri="{BB962C8B-B14F-4D97-AF65-F5344CB8AC3E}">
        <p14:creationId xmlns:p14="http://schemas.microsoft.com/office/powerpoint/2010/main" val="989189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act / Thank You">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7200000" cy="923330"/>
          </a:xfrm>
        </p:spPr>
        <p:txBody>
          <a:bodyPr anchor="t" anchorCtr="0">
            <a:noAutofit/>
          </a:bodyPr>
          <a:lstStyle>
            <a:lvl1pPr>
              <a:defRPr sz="6000">
                <a:solidFill>
                  <a:schemeClr val="tx1"/>
                </a:solidFill>
                <a:latin typeface="+mj-lt"/>
              </a:defRPr>
            </a:lvl1pPr>
          </a:lstStyle>
          <a:p>
            <a:r>
              <a:rPr lang="en-US" dirty="0"/>
              <a:t>Thank you</a:t>
            </a:r>
            <a:endParaRPr lang="de-DE" dirty="0"/>
          </a:p>
        </p:txBody>
      </p:sp>
      <p:sp>
        <p:nvSpPr>
          <p:cNvPr id="93" name="Text Placeholder 92"/>
          <p:cNvSpPr>
            <a:spLocks noGrp="1"/>
          </p:cNvSpPr>
          <p:nvPr>
            <p:ph type="body" sz="quarter" idx="10" hasCustomPrompt="1"/>
          </p:nvPr>
        </p:nvSpPr>
        <p:spPr>
          <a:xfrm>
            <a:off x="8989200" y="2592000"/>
            <a:ext cx="2880000" cy="3294000"/>
          </a:xfrm>
        </p:spPr>
        <p:txBody>
          <a:bodyPr anchor="t" anchorCtr="0">
            <a:noAutofit/>
          </a:bodyPr>
          <a:lstStyle>
            <a:lvl1pPr>
              <a:spcBef>
                <a:spcPts val="0"/>
              </a:spcBef>
              <a:defRPr sz="1600" b="0"/>
            </a:lvl1pPr>
          </a:lstStyle>
          <a:p>
            <a:r>
              <a:rPr lang="en-US" dirty="0"/>
              <a:t>Contact information:</a:t>
            </a:r>
          </a:p>
          <a:p>
            <a:endParaRPr lang="en-US" dirty="0"/>
          </a:p>
          <a:p>
            <a:r>
              <a:rPr lang="en-US" dirty="0"/>
              <a:t>F name L name</a:t>
            </a:r>
          </a:p>
          <a:p>
            <a:r>
              <a:rPr lang="en-US" dirty="0"/>
              <a:t>Title</a:t>
            </a:r>
          </a:p>
          <a:p>
            <a:r>
              <a:rPr lang="en-US" dirty="0"/>
              <a:t>Address</a:t>
            </a:r>
          </a:p>
          <a:p>
            <a:r>
              <a:rPr lang="en-US" dirty="0"/>
              <a:t>Phone number</a:t>
            </a:r>
          </a:p>
        </p:txBody>
      </p:sp>
    </p:spTree>
    <p:extLst>
      <p:ext uri="{BB962C8B-B14F-4D97-AF65-F5344CB8AC3E}">
        <p14:creationId xmlns:p14="http://schemas.microsoft.com/office/powerpoint/2010/main" val="781090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Agenda&gt;</a:t>
            </a:r>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a:p>
            <a:pPr lvl="2"/>
            <a:r>
              <a:rPr lang="en-US" dirty="0"/>
              <a:t>Third Level</a:t>
            </a:r>
          </a:p>
          <a:p>
            <a:pPr lvl="3"/>
            <a:r>
              <a:rPr lang="en-US" dirty="0"/>
              <a:t>Fourth Level</a:t>
            </a:r>
          </a:p>
          <a:p>
            <a:endParaRPr lang="en-US" dirty="0"/>
          </a:p>
        </p:txBody>
      </p:sp>
    </p:spTree>
    <p:extLst>
      <p:ext uri="{BB962C8B-B14F-4D97-AF65-F5344CB8AC3E}">
        <p14:creationId xmlns:p14="http://schemas.microsoft.com/office/powerpoint/2010/main" val="1859360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1800000"/>
            <a:ext cx="11545200" cy="923330"/>
          </a:xfrm>
        </p:spPr>
        <p:txBody>
          <a:bodyPr anchor="t" anchorCtr="0">
            <a:noAutofit/>
          </a:bodyPr>
          <a:lstStyle>
            <a:lvl1pPr>
              <a:defRPr sz="6000">
                <a:solidFill>
                  <a:schemeClr val="tx1"/>
                </a:solidFill>
                <a:latin typeface="+mj-lt"/>
              </a:defRPr>
            </a:lvl1pPr>
          </a:lstStyle>
          <a:p>
            <a:r>
              <a:rPr lang="de-DE" dirty="0"/>
              <a:t>Click </a:t>
            </a:r>
            <a:r>
              <a:rPr lang="de-DE" dirty="0" err="1"/>
              <a:t>to</a:t>
            </a:r>
            <a:r>
              <a:rPr lang="de-DE" dirty="0"/>
              <a:t> </a:t>
            </a:r>
            <a:r>
              <a:rPr lang="de-DE" dirty="0" err="1"/>
              <a:t>insert</a:t>
            </a:r>
            <a:r>
              <a:rPr lang="de-DE" dirty="0"/>
              <a:t> </a:t>
            </a:r>
            <a:r>
              <a:rPr lang="de-DE" dirty="0" err="1"/>
              <a:t>text</a:t>
            </a:r>
            <a:endParaRPr lang="de-DE" dirty="0"/>
          </a:p>
        </p:txBody>
      </p:sp>
      <p:sp>
        <p:nvSpPr>
          <p:cNvPr id="6" name="Rectangle 5"/>
          <p:cNvSpPr/>
          <p:nvPr userDrawn="1"/>
        </p:nvSpPr>
        <p:spPr bwMode="gray">
          <a:xfrm>
            <a:off x="236220" y="1143000"/>
            <a:ext cx="11795760" cy="220980"/>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404583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de-DE" dirty="0"/>
          </a:p>
        </p:txBody>
      </p:sp>
    </p:spTree>
    <p:extLst>
      <p:ext uri="{BB962C8B-B14F-4D97-AF65-F5344CB8AC3E}">
        <p14:creationId xmlns:p14="http://schemas.microsoft.com/office/powerpoint/2010/main" val="246674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2785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0481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a:t>Insert page title</a:t>
            </a:r>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8" name="Straight Connector 7"/>
          <p:cNvCxnSpPr/>
          <p:nvPr userDrawn="1"/>
        </p:nvCxnSpPr>
        <p:spPr>
          <a:xfrm>
            <a:off x="324000" y="1231485"/>
            <a:ext cx="11545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bwMode="black">
          <a:xfrm>
            <a:off x="324000" y="6622344"/>
            <a:ext cx="1930016" cy="138499"/>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900" noProof="0" dirty="0">
                <a:solidFill>
                  <a:schemeClr val="tx1"/>
                </a:solidFill>
              </a:rPr>
              <a:t>2018 Nitin</a:t>
            </a:r>
            <a:r>
              <a:rPr lang="en-US" sz="900" baseline="0" noProof="0" dirty="0">
                <a:solidFill>
                  <a:schemeClr val="tx1"/>
                </a:solidFill>
              </a:rPr>
              <a:t> Kale</a:t>
            </a:r>
            <a:r>
              <a:rPr lang="en-US" sz="900" noProof="0" dirty="0">
                <a:solidFill>
                  <a:schemeClr val="tx1"/>
                </a:solidFill>
              </a:rPr>
              <a:t> All rights reserved.</a:t>
            </a:r>
          </a:p>
        </p:txBody>
      </p:sp>
      <p:sp>
        <p:nvSpPr>
          <p:cNvPr id="34" name="TextBox 33"/>
          <p:cNvSpPr txBox="1"/>
          <p:nvPr/>
        </p:nvSpPr>
        <p:spPr bwMode="black">
          <a:xfrm>
            <a:off x="11727086" y="6622344"/>
            <a:ext cx="141064" cy="138499"/>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900" baseline="0" noProof="0" smtClean="0">
                <a:solidFill>
                  <a:schemeClr val="tx1"/>
                </a:solidFill>
              </a:rPr>
              <a:pPr marL="111525" indent="-111525" algn="r">
                <a:buClr>
                  <a:schemeClr val="accent2"/>
                </a:buClr>
                <a:buFont typeface="Arial" pitchFamily="34" charset="0"/>
                <a:buNone/>
              </a:pPr>
              <a:t>‹#›</a:t>
            </a:fld>
            <a:endParaRPr lang="en-US" sz="900" noProof="0" dirty="0">
              <a:solidFill>
                <a:schemeClr val="tx1"/>
              </a:solidFill>
            </a:endParaRPr>
          </a:p>
        </p:txBody>
      </p:sp>
    </p:spTree>
    <p:extLst>
      <p:ext uri="{BB962C8B-B14F-4D97-AF65-F5344CB8AC3E}">
        <p14:creationId xmlns:p14="http://schemas.microsoft.com/office/powerpoint/2010/main" val="3408294523"/>
      </p:ext>
    </p:extLst>
  </p:cSld>
  <p:clrMap bg1="dk1" tx1="lt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6" r:id="rId18"/>
  </p:sldLayoutIdLst>
  <p:hf sldNum="0" hdr="0" ftr="0" dt="0"/>
  <p:txStyles>
    <p:titleStyle>
      <a:lvl1pPr algn="l" defTabSz="1088776" rtl="0" eaLnBrk="1" latinLnBrk="0" hangingPunct="1">
        <a:spcBef>
          <a:spcPct val="0"/>
        </a:spcBef>
        <a:buNone/>
        <a:defRPr sz="2800" b="1" kern="1200">
          <a:solidFill>
            <a:schemeClr val="tx1"/>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00.xml.rels><?xml version="1.0" encoding="UTF-8" standalone="yes"?>
<Relationships xmlns="http://schemas.openxmlformats.org/package/2006/relationships"><Relationship Id="rId3" Type="http://schemas.openxmlformats.org/officeDocument/2006/relationships/diagramLayout" Target="../diagrams/layout24.xml"/><Relationship Id="rId2" Type="http://schemas.openxmlformats.org/officeDocument/2006/relationships/diagramData" Target="../diagrams/data24.xml"/><Relationship Id="rId1" Type="http://schemas.openxmlformats.org/officeDocument/2006/relationships/slideLayout" Target="../slideLayouts/slideLayout15.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10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2" Type="http://schemas.openxmlformats.org/officeDocument/2006/relationships/hyperlink" Target="https://anders.com/blockchain/block.html" TargetMode="Externa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2" Type="http://schemas.openxmlformats.org/officeDocument/2006/relationships/hyperlink" Target="https://anders.com/blockchain/blockchain.html" TargetMode="Externa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hyperlink" Target="https://bitnodes.21.co/" TargetMode="External"/><Relationship Id="rId1" Type="http://schemas.openxmlformats.org/officeDocument/2006/relationships/slideLayout" Target="../slideLayouts/slideLayout8.xml"/></Relationships>
</file>

<file path=ppt/slides/_rels/slide107.xml.rels><?xml version="1.0" encoding="UTF-8" standalone="yes"?>
<Relationships xmlns="http://schemas.openxmlformats.org/package/2006/relationships"><Relationship Id="rId8" Type="http://schemas.openxmlformats.org/officeDocument/2006/relationships/diagramLayout" Target="../diagrams/layout26.xml"/><Relationship Id="rId13" Type="http://schemas.openxmlformats.org/officeDocument/2006/relationships/diagramLayout" Target="../diagrams/layout27.xml"/><Relationship Id="rId18" Type="http://schemas.openxmlformats.org/officeDocument/2006/relationships/diagramLayout" Target="../diagrams/layout28.xml"/><Relationship Id="rId3" Type="http://schemas.openxmlformats.org/officeDocument/2006/relationships/diagramLayout" Target="../diagrams/layout25.xml"/><Relationship Id="rId21" Type="http://schemas.microsoft.com/office/2007/relationships/diagramDrawing" Target="../diagrams/drawing28.xml"/><Relationship Id="rId7" Type="http://schemas.openxmlformats.org/officeDocument/2006/relationships/diagramData" Target="../diagrams/data26.xml"/><Relationship Id="rId12" Type="http://schemas.openxmlformats.org/officeDocument/2006/relationships/diagramData" Target="../diagrams/data27.xml"/><Relationship Id="rId17" Type="http://schemas.openxmlformats.org/officeDocument/2006/relationships/diagramData" Target="../diagrams/data28.xml"/><Relationship Id="rId2" Type="http://schemas.openxmlformats.org/officeDocument/2006/relationships/diagramData" Target="../diagrams/data25.xml"/><Relationship Id="rId16" Type="http://schemas.microsoft.com/office/2007/relationships/diagramDrawing" Target="../diagrams/drawing27.xml"/><Relationship Id="rId20" Type="http://schemas.openxmlformats.org/officeDocument/2006/relationships/diagramColors" Target="../diagrams/colors28.xml"/><Relationship Id="rId1" Type="http://schemas.openxmlformats.org/officeDocument/2006/relationships/slideLayout" Target="../slideLayouts/slideLayout8.xml"/><Relationship Id="rId6" Type="http://schemas.microsoft.com/office/2007/relationships/diagramDrawing" Target="../diagrams/drawing25.xml"/><Relationship Id="rId11" Type="http://schemas.microsoft.com/office/2007/relationships/diagramDrawing" Target="../diagrams/drawing26.xml"/><Relationship Id="rId5" Type="http://schemas.openxmlformats.org/officeDocument/2006/relationships/diagramColors" Target="../diagrams/colors25.xml"/><Relationship Id="rId15" Type="http://schemas.openxmlformats.org/officeDocument/2006/relationships/diagramColors" Target="../diagrams/colors27.xml"/><Relationship Id="rId23" Type="http://schemas.openxmlformats.org/officeDocument/2006/relationships/image" Target="../media/image43.png"/><Relationship Id="rId10" Type="http://schemas.openxmlformats.org/officeDocument/2006/relationships/diagramColors" Target="../diagrams/colors26.xml"/><Relationship Id="rId19" Type="http://schemas.openxmlformats.org/officeDocument/2006/relationships/diagramQuickStyle" Target="../diagrams/quickStyle28.xml"/><Relationship Id="rId4" Type="http://schemas.openxmlformats.org/officeDocument/2006/relationships/diagramQuickStyle" Target="../diagrams/quickStyle25.xml"/><Relationship Id="rId9" Type="http://schemas.openxmlformats.org/officeDocument/2006/relationships/diagramQuickStyle" Target="../diagrams/quickStyle26.xml"/><Relationship Id="rId14" Type="http://schemas.openxmlformats.org/officeDocument/2006/relationships/diagramQuickStyle" Target="../diagrams/quickStyle27.xml"/><Relationship Id="rId22" Type="http://schemas.openxmlformats.org/officeDocument/2006/relationships/image" Target="../media/image42.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3" Type="http://schemas.openxmlformats.org/officeDocument/2006/relationships/diagramLayout" Target="../diagrams/layout29.xml"/><Relationship Id="rId2" Type="http://schemas.openxmlformats.org/officeDocument/2006/relationships/diagramData" Target="../diagrams/data29.xml"/><Relationship Id="rId1" Type="http://schemas.openxmlformats.org/officeDocument/2006/relationships/slideLayout" Target="../slideLayouts/slideLayout9.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11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hyperlink" Target="https://www.google.com/maps/place/Kimberlitovaya+almaznaya+trubka+%22Mir%22/@62.5319414,113.9577413,2565m/data=!3m1!1e3!4m8!1m2!2m1!1smirny++mine!3m4!1s0x0:0xed89bdf0b990dcad!8m2!3d62.5290014!4d113.9938188" TargetMode="External"/><Relationship Id="rId1" Type="http://schemas.openxmlformats.org/officeDocument/2006/relationships/slideLayout" Target="../slideLayouts/slideLayout9.xml"/><Relationship Id="rId5" Type="http://schemas.openxmlformats.org/officeDocument/2006/relationships/image" Target="../media/image72.png"/><Relationship Id="rId4" Type="http://schemas.openxmlformats.org/officeDocument/2006/relationships/image" Target="../media/image71.jpe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2" Type="http://schemas.openxmlformats.org/officeDocument/2006/relationships/hyperlink" Target="https://blockchain.info/charts/hash-rate" TargetMode="External"/><Relationship Id="rId1" Type="http://schemas.openxmlformats.org/officeDocument/2006/relationships/slideLayout" Target="../slideLayouts/slideLayout8.xml"/></Relationships>
</file>

<file path=ppt/slides/_rels/slide118.xml.rels><?xml version="1.0" encoding="UTF-8" standalone="yes"?>
<Relationships xmlns="http://schemas.openxmlformats.org/package/2006/relationships"><Relationship Id="rId3" Type="http://schemas.openxmlformats.org/officeDocument/2006/relationships/hyperlink" Target="https://anders.com/blockchain/hash.html"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44.png"/><Relationship Id="rId5" Type="http://schemas.openxmlformats.org/officeDocument/2006/relationships/image" Target="../media/image20.gif"/><Relationship Id="rId4" Type="http://schemas.openxmlformats.org/officeDocument/2006/relationships/image" Target="../media/image74.jpeg"/></Relationships>
</file>

<file path=ppt/slides/_rels/slide119.xml.rels><?xml version="1.0" encoding="UTF-8" standalone="yes"?>
<Relationships xmlns="http://schemas.openxmlformats.org/package/2006/relationships"><Relationship Id="rId3" Type="http://schemas.openxmlformats.org/officeDocument/2006/relationships/diagramLayout" Target="../diagrams/layout30.xml"/><Relationship Id="rId2" Type="http://schemas.openxmlformats.org/officeDocument/2006/relationships/diagramData" Target="../diagrams/data30.xml"/><Relationship Id="rId1" Type="http://schemas.openxmlformats.org/officeDocument/2006/relationships/slideLayout" Target="../slideLayouts/slideLayout8.xml"/><Relationship Id="rId6" Type="http://schemas.microsoft.com/office/2007/relationships/diagramDrawing" Target="../diagrams/drawing30.xml"/><Relationship Id="rId5" Type="http://schemas.openxmlformats.org/officeDocument/2006/relationships/diagramColors" Target="../diagrams/colors30.xml"/><Relationship Id="rId4" Type="http://schemas.openxmlformats.org/officeDocument/2006/relationships/diagramQuickStyle" Target="../diagrams/quickStyle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7.jpeg"/><Relationship Id="rId1" Type="http://schemas.openxmlformats.org/officeDocument/2006/relationships/slideLayout" Target="../slideLayouts/slideLayout8.xml"/><Relationship Id="rId5" Type="http://schemas.microsoft.com/office/2007/relationships/hdphoto" Target="../media/hdphoto4.wdp"/><Relationship Id="rId4" Type="http://schemas.openxmlformats.org/officeDocument/2006/relationships/image" Target="../media/image78.png"/></Relationships>
</file>

<file path=ppt/slides/_rels/slide123.xml.rels><?xml version="1.0" encoding="UTF-8" standalone="yes"?>
<Relationships xmlns="http://schemas.openxmlformats.org/package/2006/relationships"><Relationship Id="rId2" Type="http://schemas.openxmlformats.org/officeDocument/2006/relationships/hyperlink" Target="https://en.wikipedia.org/wiki/Byzantine_fault_tolerance" TargetMode="External"/><Relationship Id="rId1" Type="http://schemas.openxmlformats.org/officeDocument/2006/relationships/slideLayout" Target="../slideLayouts/slideLayout8.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6.xml.rels><?xml version="1.0" encoding="UTF-8" standalone="yes"?>
<Relationships xmlns="http://schemas.openxmlformats.org/package/2006/relationships"><Relationship Id="rId3" Type="http://schemas.openxmlformats.org/officeDocument/2006/relationships/hyperlink" Target="https://anders.com/blockchain/blockchain.html" TargetMode="External"/><Relationship Id="rId2" Type="http://schemas.openxmlformats.org/officeDocument/2006/relationships/hyperlink" Target="https://anders.com/blockchain/block.html" TargetMode="External"/><Relationship Id="rId1" Type="http://schemas.openxmlformats.org/officeDocument/2006/relationships/slideLayout" Target="../slideLayouts/slideLayout9.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9.xml.rels><?xml version="1.0" encoding="UTF-8" standalone="yes"?>
<Relationships xmlns="http://schemas.openxmlformats.org/package/2006/relationships"><Relationship Id="rId3" Type="http://schemas.openxmlformats.org/officeDocument/2006/relationships/hyperlink" Target="https://blockchain.info/charts/difficulty" TargetMode="External"/><Relationship Id="rId2" Type="http://schemas.openxmlformats.org/officeDocument/2006/relationships/hyperlink" Target="https://bitcoinwisdom.com/bitcoin/difficulty" TargetMode="External"/><Relationship Id="rId1" Type="http://schemas.openxmlformats.org/officeDocument/2006/relationships/slideLayout" Target="../slideLayouts/slideLayout9.xml"/><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0.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image" Target="../media/image77.jpeg"/><Relationship Id="rId1" Type="http://schemas.openxmlformats.org/officeDocument/2006/relationships/slideLayout" Target="../slideLayouts/slideLayout9.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2" Type="http://schemas.openxmlformats.org/officeDocument/2006/relationships/hyperlink" Target="https://www.smartbit.com.au/block/0" TargetMode="External"/><Relationship Id="rId1" Type="http://schemas.openxmlformats.org/officeDocument/2006/relationships/slideLayout" Target="../slideLayouts/slideLayout9.xml"/></Relationships>
</file>

<file path=ppt/slides/_rels/slide1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2" Type="http://schemas.openxmlformats.org/officeDocument/2006/relationships/hyperlink" Target="https://btcserv.net/bitcoin-mining-calculator" TargetMode="External"/><Relationship Id="rId1" Type="http://schemas.openxmlformats.org/officeDocument/2006/relationships/slideLayout" Target="../slideLayouts/slideLayout9.xml"/></Relationships>
</file>

<file path=ppt/slides/_rels/slide137.xml.rels><?xml version="1.0" encoding="UTF-8" standalone="yes"?>
<Relationships xmlns="http://schemas.openxmlformats.org/package/2006/relationships"><Relationship Id="rId2" Type="http://schemas.openxmlformats.org/officeDocument/2006/relationships/hyperlink" Target="https://bitcoinwisdom.com/bitcoin/difficulty" TargetMode="External"/><Relationship Id="rId1" Type="http://schemas.openxmlformats.org/officeDocument/2006/relationships/slideLayout" Target="../slideLayouts/slideLayout8.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9.png"/><Relationship Id="rId7" Type="http://schemas.openxmlformats.org/officeDocument/2006/relationships/diagramLayout" Target="../diagrams/layout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Data" Target="../diagrams/data3.xml"/><Relationship Id="rId11" Type="http://schemas.openxmlformats.org/officeDocument/2006/relationships/image" Target="../media/image12.png"/><Relationship Id="rId5" Type="http://schemas.openxmlformats.org/officeDocument/2006/relationships/image" Target="../media/image11.jpeg"/><Relationship Id="rId10" Type="http://schemas.microsoft.com/office/2007/relationships/diagramDrawing" Target="../diagrams/drawing3.xml"/><Relationship Id="rId4" Type="http://schemas.openxmlformats.org/officeDocument/2006/relationships/image" Target="../media/image10.jpeg"/><Relationship Id="rId9" Type="http://schemas.openxmlformats.org/officeDocument/2006/relationships/diagramColors" Target="../diagrams/colors3.xml"/></Relationships>
</file>

<file path=ppt/slides/_rels/slide140.xml.rels><?xml version="1.0" encoding="UTF-8" standalone="yes"?>
<Relationships xmlns="http://schemas.openxmlformats.org/package/2006/relationships"><Relationship Id="rId2" Type="http://schemas.openxmlformats.org/officeDocument/2006/relationships/hyperlink" Target="https://plot.ly/~BashCo/5.embed?share_key=ljQVkaTiHXjX2W41UiqzCn" TargetMode="External"/><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1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1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0.gif"/><Relationship Id="rId1" Type="http://schemas.openxmlformats.org/officeDocument/2006/relationships/slideLayout" Target="../slideLayouts/slideLayout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0.gif"/><Relationship Id="rId1" Type="http://schemas.openxmlformats.org/officeDocument/2006/relationships/slideLayout" Target="../slideLayouts/slideLayout8.xml"/></Relationships>
</file>

<file path=ppt/slides/_rels/slide1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0.gif"/><Relationship Id="rId1" Type="http://schemas.openxmlformats.org/officeDocument/2006/relationships/slideLayout" Target="../slideLayouts/slideLayout8.xml"/></Relationships>
</file>

<file path=ppt/slides/_rels/slide15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8.xml"/><Relationship Id="rId4" Type="http://schemas.openxmlformats.org/officeDocument/2006/relationships/image" Target="../media/image85.jpeg"/></Relationships>
</file>

<file path=ppt/slides/_rels/slide15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7.jpeg"/><Relationship Id="rId1" Type="http://schemas.openxmlformats.org/officeDocument/2006/relationships/slideLayout" Target="../slideLayouts/slideLayout8.xml"/></Relationships>
</file>

<file path=ppt/slides/_rels/slide15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9.xml"/><Relationship Id="rId4" Type="http://schemas.openxmlformats.org/officeDocument/2006/relationships/image" Target="../media/image90.pn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bitcoin.org/bitcoin.pdf" TargetMode="External"/><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2.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8.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9.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8.xml.rels><?xml version="1.0" encoding="UTF-8" standalone="yes"?>
<Relationships xmlns="http://schemas.openxmlformats.org/package/2006/relationships"><Relationship Id="rId2" Type="http://schemas.openxmlformats.org/officeDocument/2006/relationships/hyperlink" Target="https://en.wikipedia.org/wiki/Fork_(software_development))" TargetMode="External"/><Relationship Id="rId1" Type="http://schemas.openxmlformats.org/officeDocument/2006/relationships/slideLayout" Target="../slideLayouts/slideLayout8.xml"/></Relationships>
</file>

<file path=ppt/slides/_rels/slide16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hyperlink" Target="https://en.wikipedia.org/wiki/Fork_(software_development))" TargetMode="External"/><Relationship Id="rId1" Type="http://schemas.openxmlformats.org/officeDocument/2006/relationships/slideLayout" Target="../slideLayouts/slideLayout9.xml"/><Relationship Id="rId4" Type="http://schemas.openxmlformats.org/officeDocument/2006/relationships/image" Target="../media/image96.jpeg"/></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www.pnas.org/content/36/1/48.full.pdf" TargetMode="External"/><Relationship Id="rId1" Type="http://schemas.openxmlformats.org/officeDocument/2006/relationships/slideLayout" Target="../slideLayouts/slideLayout9.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8.xml"/></Relationships>
</file>

<file path=ppt/slides/_rels/slide17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8.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diagramLayout" Target="../diagrams/layout32.xml"/><Relationship Id="rId7" Type="http://schemas.openxmlformats.org/officeDocument/2006/relationships/diagramData" Target="../diagrams/data33.xml"/><Relationship Id="rId2" Type="http://schemas.openxmlformats.org/officeDocument/2006/relationships/diagramData" Target="../diagrams/data32.xml"/><Relationship Id="rId1" Type="http://schemas.openxmlformats.org/officeDocument/2006/relationships/slideLayout" Target="../slideLayouts/slideLayout8.xml"/><Relationship Id="rId6" Type="http://schemas.microsoft.com/office/2007/relationships/diagramDrawing" Target="../diagrams/drawing32.xml"/><Relationship Id="rId11" Type="http://schemas.microsoft.com/office/2007/relationships/diagramDrawing" Target="../diagrams/drawing33.xml"/><Relationship Id="rId5" Type="http://schemas.openxmlformats.org/officeDocument/2006/relationships/diagramColors" Target="../diagrams/colors32.xml"/><Relationship Id="rId10" Type="http://schemas.openxmlformats.org/officeDocument/2006/relationships/diagramColors" Target="../diagrams/colors33.xml"/><Relationship Id="rId4" Type="http://schemas.openxmlformats.org/officeDocument/2006/relationships/diagramQuickStyle" Target="../diagrams/quickStyle32.xml"/><Relationship Id="rId9" Type="http://schemas.openxmlformats.org/officeDocument/2006/relationships/diagramQuickStyle" Target="../diagrams/quickStyle33.xml"/></Relationships>
</file>

<file path=ppt/slides/_rels/slide179.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gif"/><Relationship Id="rId2" Type="http://schemas.openxmlformats.org/officeDocument/2006/relationships/image" Target="../media/image16.png"/><Relationship Id="rId1" Type="http://schemas.openxmlformats.org/officeDocument/2006/relationships/slideLayout" Target="../slideLayouts/slideLayout10.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19.png"/><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2.wdp"/></Relationships>
</file>

<file path=ppt/slides/_rels/slide18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7.xml"/></Relationships>
</file>

<file path=ppt/slides/_rels/slide18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diagramLayout" Target="../diagrams/layout34.xml"/><Relationship Id="rId7" Type="http://schemas.openxmlformats.org/officeDocument/2006/relationships/image" Target="../media/image105.png"/><Relationship Id="rId2" Type="http://schemas.openxmlformats.org/officeDocument/2006/relationships/diagramData" Target="../diagrams/data34.xml"/><Relationship Id="rId1" Type="http://schemas.openxmlformats.org/officeDocument/2006/relationships/slideLayout" Target="../slideLayouts/slideLayout7.xml"/><Relationship Id="rId6" Type="http://schemas.microsoft.com/office/2007/relationships/diagramDrawing" Target="../diagrams/drawing34.xml"/><Relationship Id="rId5" Type="http://schemas.openxmlformats.org/officeDocument/2006/relationships/diagramColors" Target="../diagrams/colors34.xml"/><Relationship Id="rId4" Type="http://schemas.openxmlformats.org/officeDocument/2006/relationships/diagramQuickStyle" Target="../diagrams/quickStyle34.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8.xml"/></Relationships>
</file>

<file path=ppt/slides/_rels/slide184.xml.rels><?xml version="1.0" encoding="UTF-8" standalone="yes"?>
<Relationships xmlns="http://schemas.openxmlformats.org/package/2006/relationships"><Relationship Id="rId3" Type="http://schemas.openxmlformats.org/officeDocument/2006/relationships/hyperlink" Target="https://etherchain.org/" TargetMode="External"/><Relationship Id="rId2" Type="http://schemas.openxmlformats.org/officeDocument/2006/relationships/hyperlink" Target="https://ethereum.org/" TargetMode="External"/><Relationship Id="rId1" Type="http://schemas.openxmlformats.org/officeDocument/2006/relationships/slideLayout" Target="../slideLayouts/slideLayout8.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https://www.cryptocoincharts.info/coins/info" TargetMode="External"/><Relationship Id="rId1" Type="http://schemas.openxmlformats.org/officeDocument/2006/relationships/slideLayout" Target="../slideLayouts/slideLayout9.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6.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9.xml"/></Relationships>
</file>

<file path=ppt/slides/_rels/slide19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9.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9.xml"/></Relationships>
</file>

<file path=ppt/slides/_rels/slide201.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20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204.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image" Target="../media/image117.png"/><Relationship Id="rId7" Type="http://schemas.openxmlformats.org/officeDocument/2006/relationships/image" Target="../media/image120.png"/><Relationship Id="rId12" Type="http://schemas.openxmlformats.org/officeDocument/2006/relationships/image" Target="../media/image125.png"/><Relationship Id="rId2" Type="http://schemas.openxmlformats.org/officeDocument/2006/relationships/image" Target="../media/image116.emf"/><Relationship Id="rId16" Type="http://schemas.openxmlformats.org/officeDocument/2006/relationships/image" Target="../media/image129.png"/><Relationship Id="rId1" Type="http://schemas.openxmlformats.org/officeDocument/2006/relationships/slideLayout" Target="../slideLayouts/slideLayout8.xml"/><Relationship Id="rId6" Type="http://schemas.microsoft.com/office/2007/relationships/hdphoto" Target="../media/hdphoto5.wdp"/><Relationship Id="rId11" Type="http://schemas.openxmlformats.org/officeDocument/2006/relationships/image" Target="../media/image124.png"/><Relationship Id="rId5" Type="http://schemas.openxmlformats.org/officeDocument/2006/relationships/image" Target="../media/image119.png"/><Relationship Id="rId15" Type="http://schemas.openxmlformats.org/officeDocument/2006/relationships/image" Target="../media/image128.emf"/><Relationship Id="rId10" Type="http://schemas.openxmlformats.org/officeDocument/2006/relationships/image" Target="../media/image123.png"/><Relationship Id="rId4" Type="http://schemas.openxmlformats.org/officeDocument/2006/relationships/image" Target="../media/image118.png"/><Relationship Id="rId9" Type="http://schemas.openxmlformats.org/officeDocument/2006/relationships/image" Target="../media/image122.png"/><Relationship Id="rId14" Type="http://schemas.openxmlformats.org/officeDocument/2006/relationships/image" Target="../media/image127.emf"/></Relationships>
</file>

<file path=ppt/slides/_rels/slide205.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33.png"/><Relationship Id="rId11" Type="http://schemas.openxmlformats.org/officeDocument/2006/relationships/image" Target="../media/image137.png"/><Relationship Id="rId5" Type="http://schemas.openxmlformats.org/officeDocument/2006/relationships/image" Target="../media/image132.png"/><Relationship Id="rId10" Type="http://schemas.openxmlformats.org/officeDocument/2006/relationships/image" Target="../media/image136.png"/><Relationship Id="rId4" Type="http://schemas.openxmlformats.org/officeDocument/2006/relationships/image" Target="../media/image131.png"/><Relationship Id="rId9" Type="http://schemas.microsoft.com/office/2007/relationships/hdphoto" Target="../media/hdphoto6.wdp"/></Relationships>
</file>

<file path=ppt/slides/_rels/slide206.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18" Type="http://schemas.openxmlformats.org/officeDocument/2006/relationships/image" Target="../media/image151.png"/><Relationship Id="rId3" Type="http://schemas.openxmlformats.org/officeDocument/2006/relationships/image" Target="../media/image138.tiff"/><Relationship Id="rId21" Type="http://schemas.openxmlformats.org/officeDocument/2006/relationships/image" Target="../media/image154.png"/><Relationship Id="rId7" Type="http://schemas.openxmlformats.org/officeDocument/2006/relationships/image" Target="../media/image141.png"/><Relationship Id="rId12" Type="http://schemas.openxmlformats.org/officeDocument/2006/relationships/image" Target="../media/image146.emf"/><Relationship Id="rId17" Type="http://schemas.openxmlformats.org/officeDocument/2006/relationships/image" Target="../media/image150.png"/><Relationship Id="rId2" Type="http://schemas.openxmlformats.org/officeDocument/2006/relationships/notesSlide" Target="../notesSlides/notesSlide9.xml"/><Relationship Id="rId16" Type="http://schemas.openxmlformats.org/officeDocument/2006/relationships/image" Target="../media/image149.png"/><Relationship Id="rId20" Type="http://schemas.openxmlformats.org/officeDocument/2006/relationships/image" Target="../media/image153.png"/><Relationship Id="rId1" Type="http://schemas.openxmlformats.org/officeDocument/2006/relationships/slideLayout" Target="../slideLayouts/slideLayout5.xml"/><Relationship Id="rId6" Type="http://schemas.openxmlformats.org/officeDocument/2006/relationships/image" Target="../media/image140.png"/><Relationship Id="rId11" Type="http://schemas.openxmlformats.org/officeDocument/2006/relationships/image" Target="../media/image145.png"/><Relationship Id="rId5" Type="http://schemas.microsoft.com/office/2007/relationships/hdphoto" Target="../media/hdphoto7.wdp"/><Relationship Id="rId15" Type="http://schemas.openxmlformats.org/officeDocument/2006/relationships/image" Target="../media/image148.png"/><Relationship Id="rId10" Type="http://schemas.openxmlformats.org/officeDocument/2006/relationships/image" Target="../media/image144.png"/><Relationship Id="rId19" Type="http://schemas.openxmlformats.org/officeDocument/2006/relationships/image" Target="../media/image152.png"/><Relationship Id="rId4" Type="http://schemas.openxmlformats.org/officeDocument/2006/relationships/image" Target="../media/image139.png"/><Relationship Id="rId9" Type="http://schemas.openxmlformats.org/officeDocument/2006/relationships/image" Target="../media/image143.png"/><Relationship Id="rId14" Type="http://schemas.openxmlformats.org/officeDocument/2006/relationships/image" Target="../media/image124.png"/></Relationships>
</file>

<file path=ppt/slides/_rels/slide20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08.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8.xml"/></Relationships>
</file>

<file path=ppt/slides/_rels/slide209.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sites.utexas.edu/dsb/" TargetMode="External"/><Relationship Id="rId1" Type="http://schemas.openxmlformats.org/officeDocument/2006/relationships/slideLayout" Target="../slideLayouts/slideLayout9.xml"/><Relationship Id="rId5" Type="http://schemas.openxmlformats.org/officeDocument/2006/relationships/image" Target="../media/image25.jpeg"/><Relationship Id="rId4" Type="http://schemas.openxmlformats.org/officeDocument/2006/relationships/image" Target="../media/image24.png"/></Relationships>
</file>

<file path=ppt/slides/_rels/slide210.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tags" Target="../tags/tag2.xml"/><Relationship Id="rId7" Type="http://schemas.openxmlformats.org/officeDocument/2006/relationships/image" Target="../media/image158.emf"/><Relationship Id="rId12" Type="http://schemas.openxmlformats.org/officeDocument/2006/relationships/image" Target="../media/image163.png"/><Relationship Id="rId17" Type="http://schemas.openxmlformats.org/officeDocument/2006/relationships/image" Target="../media/image168.png"/><Relationship Id="rId2" Type="http://schemas.openxmlformats.org/officeDocument/2006/relationships/tags" Target="../tags/tag1.xml"/><Relationship Id="rId16" Type="http://schemas.openxmlformats.org/officeDocument/2006/relationships/image" Target="../media/image167.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62.png"/><Relationship Id="rId5" Type="http://schemas.openxmlformats.org/officeDocument/2006/relationships/notesSlide" Target="../notesSlides/notesSlide11.xml"/><Relationship Id="rId15" Type="http://schemas.openxmlformats.org/officeDocument/2006/relationships/image" Target="../media/image166.png"/><Relationship Id="rId10" Type="http://schemas.openxmlformats.org/officeDocument/2006/relationships/image" Target="../media/image161.png"/><Relationship Id="rId4" Type="http://schemas.openxmlformats.org/officeDocument/2006/relationships/slideLayout" Target="../slideLayouts/slideLayout8.xml"/><Relationship Id="rId9" Type="http://schemas.openxmlformats.org/officeDocument/2006/relationships/image" Target="../media/image160.png"/><Relationship Id="rId14" Type="http://schemas.openxmlformats.org/officeDocument/2006/relationships/image" Target="../media/image165.png"/></Relationships>
</file>

<file path=ppt/slides/_rels/slide211.xml.rels><?xml version="1.0" encoding="UTF-8" standalone="yes"?>
<Relationships xmlns="http://schemas.openxmlformats.org/package/2006/relationships"><Relationship Id="rId2" Type="http://schemas.openxmlformats.org/officeDocument/2006/relationships/image" Target="../media/image169.jpe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8" Type="http://schemas.openxmlformats.org/officeDocument/2006/relationships/hyperlink" Target="https://www.youtube.com/user/aantonop" TargetMode="External"/><Relationship Id="rId3" Type="http://schemas.openxmlformats.org/officeDocument/2006/relationships/hyperlink" Target="https://www.ethereum.org/" TargetMode="External"/><Relationship Id="rId7" Type="http://schemas.openxmlformats.org/officeDocument/2006/relationships/hyperlink" Target="https://antonopoulos.com/" TargetMode="External"/><Relationship Id="rId2" Type="http://schemas.openxmlformats.org/officeDocument/2006/relationships/hyperlink" Target="https://www.hyperledger.org/" TargetMode="External"/><Relationship Id="rId1" Type="http://schemas.openxmlformats.org/officeDocument/2006/relationships/slideLayout" Target="../slideLayouts/slideLayout9.xml"/><Relationship Id="rId6" Type="http://schemas.openxmlformats.org/officeDocument/2006/relationships/hyperlink" Target="http://blockchain.media.mit.edu/syllabus.html" TargetMode="External"/><Relationship Id="rId5" Type="http://schemas.openxmlformats.org/officeDocument/2006/relationships/hyperlink" Target="https://crypto.stanford.edu/cs251/" TargetMode="External"/><Relationship Id="rId4" Type="http://schemas.openxmlformats.org/officeDocument/2006/relationships/hyperlink" Target="https://www.coursera.org/learn/cryptocurrency" TargetMode="External"/></Relationships>
</file>

<file path=ppt/slides/_rels/slide2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21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9.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6.xml.rels><?xml version="1.0" encoding="UTF-8" standalone="yes"?>
<Relationships xmlns="http://schemas.openxmlformats.org/package/2006/relationships"><Relationship Id="rId2" Type="http://schemas.openxmlformats.org/officeDocument/2006/relationships/hyperlink" Target="mailto:kale@usc.edu"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atoshi.nakamotoinstitute.org/emails/cryptography/6/" TargetMode="Externa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image" Target="../media/image37.jpe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hyperlink" Target="https://blockexplorer.com/" TargetMode="External"/><Relationship Id="rId7" Type="http://schemas.openxmlformats.org/officeDocument/2006/relationships/hyperlink" Target="https://bitinfocharts.com/" TargetMode="External"/><Relationship Id="rId2" Type="http://schemas.openxmlformats.org/officeDocument/2006/relationships/hyperlink" Target="https://blockchain.info/" TargetMode="External"/><Relationship Id="rId1" Type="http://schemas.openxmlformats.org/officeDocument/2006/relationships/slideLayout" Target="../slideLayouts/slideLayout9.xml"/><Relationship Id="rId6" Type="http://schemas.openxmlformats.org/officeDocument/2006/relationships/hyperlink" Target="https://bitcoin.org/en/download" TargetMode="External"/><Relationship Id="rId5" Type="http://schemas.openxmlformats.org/officeDocument/2006/relationships/hyperlink" Target="http://blockr.io/" TargetMode="External"/><Relationship Id="rId4" Type="http://schemas.openxmlformats.org/officeDocument/2006/relationships/hyperlink" Target="https://www.blocktrail.com/BTC" TargetMode="Externa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18" Type="http://schemas.openxmlformats.org/officeDocument/2006/relationships/diagramLayout" Target="../diagrams/layout8.xml"/><Relationship Id="rId3" Type="http://schemas.openxmlformats.org/officeDocument/2006/relationships/diagramLayout" Target="../diagrams/layout5.xml"/><Relationship Id="rId21" Type="http://schemas.microsoft.com/office/2007/relationships/diagramDrawing" Target="../diagrams/drawing8.xml"/><Relationship Id="rId7" Type="http://schemas.openxmlformats.org/officeDocument/2006/relationships/diagramData" Target="../diagrams/data6.xml"/><Relationship Id="rId12" Type="http://schemas.openxmlformats.org/officeDocument/2006/relationships/diagramData" Target="../diagrams/data7.xml"/><Relationship Id="rId17" Type="http://schemas.openxmlformats.org/officeDocument/2006/relationships/diagramData" Target="../diagrams/data8.xml"/><Relationship Id="rId2" Type="http://schemas.openxmlformats.org/officeDocument/2006/relationships/diagramData" Target="../diagrams/data5.xml"/><Relationship Id="rId16" Type="http://schemas.microsoft.com/office/2007/relationships/diagramDrawing" Target="../diagrams/drawing7.xml"/><Relationship Id="rId20" Type="http://schemas.openxmlformats.org/officeDocument/2006/relationships/diagramColors" Target="../diagrams/colors8.xml"/><Relationship Id="rId1" Type="http://schemas.openxmlformats.org/officeDocument/2006/relationships/slideLayout" Target="../slideLayouts/slideLayout8.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23" Type="http://schemas.openxmlformats.org/officeDocument/2006/relationships/image" Target="../media/image43.png"/><Relationship Id="rId10" Type="http://schemas.openxmlformats.org/officeDocument/2006/relationships/diagramColors" Target="../diagrams/colors6.xml"/><Relationship Id="rId19" Type="http://schemas.openxmlformats.org/officeDocument/2006/relationships/diagramQuickStyle" Target="../diagrams/quickStyle8.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 Id="rId22" Type="http://schemas.openxmlformats.org/officeDocument/2006/relationships/image" Target="../media/image42.png"/></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8.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6.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hyperlink" Target="https://blockchain.info/" TargetMode="Externa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8.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7.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7.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52.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eg"/><Relationship Id="rId3" Type="http://schemas.openxmlformats.org/officeDocument/2006/relationships/diagramLayout" Target="../diagrams/layout13.xml"/><Relationship Id="rId7" Type="http://schemas.openxmlformats.org/officeDocument/2006/relationships/image" Target="../media/image49.jpeg"/><Relationship Id="rId12" Type="http://schemas.openxmlformats.org/officeDocument/2006/relationships/image" Target="../media/image54.png"/><Relationship Id="rId2" Type="http://schemas.openxmlformats.org/officeDocument/2006/relationships/diagramData" Target="../diagrams/data13.xml"/><Relationship Id="rId1" Type="http://schemas.openxmlformats.org/officeDocument/2006/relationships/slideLayout" Target="../slideLayouts/slideLayout8.xml"/><Relationship Id="rId6" Type="http://schemas.microsoft.com/office/2007/relationships/diagramDrawing" Target="../diagrams/drawing13.xml"/><Relationship Id="rId11" Type="http://schemas.openxmlformats.org/officeDocument/2006/relationships/image" Target="../media/image53.jpeg"/><Relationship Id="rId5" Type="http://schemas.openxmlformats.org/officeDocument/2006/relationships/diagramColors" Target="../diagrams/colors13.xml"/><Relationship Id="rId10" Type="http://schemas.openxmlformats.org/officeDocument/2006/relationships/image" Target="../media/image52.jpeg"/><Relationship Id="rId4" Type="http://schemas.openxmlformats.org/officeDocument/2006/relationships/diagramQuickStyle" Target="../diagrams/quickStyle13.xml"/><Relationship Id="rId9" Type="http://schemas.openxmlformats.org/officeDocument/2006/relationships/image" Target="../media/image51.gif"/><Relationship Id="rId14" Type="http://schemas.openxmlformats.org/officeDocument/2006/relationships/image" Target="../media/image56.jpeg"/></Relationships>
</file>

<file path=ppt/slides/_rels/slide5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7.xml"/><Relationship Id="rId5" Type="http://schemas.openxmlformats.org/officeDocument/2006/relationships/image" Target="../media/image60.gif"/><Relationship Id="rId4" Type="http://schemas.openxmlformats.org/officeDocument/2006/relationships/image" Target="../media/image59.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hyperlink" Target="http://www.mail-archive.com/cryptography@metzdowd.com/msg09959.html" TargetMode="Externa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7.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8.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62.xml.rels><?xml version="1.0" encoding="UTF-8" standalone="yes"?>
<Relationships xmlns="http://schemas.openxmlformats.org/package/2006/relationships"><Relationship Id="rId3" Type="http://schemas.openxmlformats.org/officeDocument/2006/relationships/hyperlink" Target="https://99bitcoins.com/price-chart-history/" TargetMode="External"/><Relationship Id="rId2" Type="http://schemas.openxmlformats.org/officeDocument/2006/relationships/hyperlink" Target="http://historyofbitcoin.org/" TargetMode="Externa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6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hyperlink" Target="https://papers.ssrn.com/sol3/papers.cfm?abstract_id=3079712" TargetMode="Externa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8.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69.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70.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hyperlink" Target="https://anders.com/blockchain/hash.html" TargetMode="Externa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8.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7.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75.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0.gif"/><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9.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Layout" Target="../diagrams/layout21.xml"/><Relationship Id="rId7" Type="http://schemas.openxmlformats.org/officeDocument/2006/relationships/image" Target="../media/image16.png"/><Relationship Id="rId2" Type="http://schemas.openxmlformats.org/officeDocument/2006/relationships/diagramData" Target="../diagrams/data21.xml"/><Relationship Id="rId1" Type="http://schemas.openxmlformats.org/officeDocument/2006/relationships/slideLayout" Target="../slideLayouts/slideLayout8.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2" Type="http://schemas.openxmlformats.org/officeDocument/2006/relationships/hyperlink" Target="https://blockchain.info/tx/eb5b761c7380ed4c6adf688f9e5ab94953dcabeda47d9eeabd77261902fccccf" TargetMode="Externa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7.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8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hyperlink" Target="http://directory.io/" TargetMode="External"/><Relationship Id="rId1" Type="http://schemas.openxmlformats.org/officeDocument/2006/relationships/slideLayout" Target="../slideLayouts/slideLayout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hyperlink" Target="https://webbtc.com/block/000000000000000004ec466ce4732fe6f1ed1cddc2ed4b328fff5224276e3f6f" TargetMode="Externa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15.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c2.staticflickr.com/6/5098/5500466627_0d22ac2017_b.jpg"/>
          <p:cNvPicPr>
            <a:picLocks noChangeAspect="1" noChangeArrowheads="1"/>
          </p:cNvPicPr>
          <p:nvPr/>
        </p:nvPicPr>
        <p:blipFill rotWithShape="1">
          <a:blip r:embed="rId3">
            <a:extLst>
              <a:ext uri="{28A0092B-C50C-407E-A947-70E740481C1C}">
                <a14:useLocalDpi xmlns:a14="http://schemas.microsoft.com/office/drawing/2010/main" val="0"/>
              </a:ext>
            </a:extLst>
          </a:blip>
          <a:srcRect b="15808"/>
          <a:stretch/>
        </p:blipFill>
        <p:spPr bwMode="auto">
          <a:xfrm>
            <a:off x="-1" y="0"/>
            <a:ext cx="12195175" cy="684827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gray">
          <a:xfrm>
            <a:off x="1246489" y="0"/>
            <a:ext cx="9157447" cy="2545717"/>
          </a:xfrm>
          <a:prstGeom prst="rect">
            <a:avLst/>
          </a:prstGeom>
          <a:solidFill>
            <a:srgbClr val="FFFFFF">
              <a:alpha val="72157"/>
            </a:srgbClr>
          </a:solidFill>
          <a:ln w="6350"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TextBox 12"/>
          <p:cNvSpPr txBox="1"/>
          <p:nvPr/>
        </p:nvSpPr>
        <p:spPr>
          <a:xfrm>
            <a:off x="1259380" y="145060"/>
            <a:ext cx="9157448" cy="2400657"/>
          </a:xfrm>
          <a:prstGeom prst="rect">
            <a:avLst/>
          </a:prstGeom>
          <a:noFill/>
          <a:effectLst/>
        </p:spPr>
        <p:txBody>
          <a:bodyPr wrap="square" rtlCol="0">
            <a:spAutoFit/>
          </a:bodyPr>
          <a:lstStyle/>
          <a:p>
            <a:pPr algn="ctr"/>
            <a:r>
              <a:rPr lang="en-US" sz="1800" dirty="0">
                <a:solidFill>
                  <a:schemeClr val="bg1"/>
                </a:solidFill>
              </a:rPr>
              <a:t>San Diego State University</a:t>
            </a:r>
          </a:p>
          <a:p>
            <a:pPr algn="ctr"/>
            <a:r>
              <a:rPr lang="en-US" sz="4800" b="1" spc="300" dirty="0">
                <a:solidFill>
                  <a:srgbClr val="C00000"/>
                </a:solidFill>
                <a:latin typeface="BentonSans" charset="0"/>
                <a:ea typeface="BentonSans" charset="0"/>
                <a:cs typeface="BentonSans" charset="0"/>
              </a:rPr>
              <a:t>Blockchain Workshop</a:t>
            </a:r>
          </a:p>
          <a:p>
            <a:pPr algn="ctr"/>
            <a:r>
              <a:rPr lang="en-US" sz="2800" dirty="0">
                <a:solidFill>
                  <a:schemeClr val="bg1"/>
                </a:solidFill>
              </a:rPr>
              <a:t>Nitin Kalé</a:t>
            </a:r>
            <a:br>
              <a:rPr lang="en-US" sz="2800" dirty="0">
                <a:solidFill>
                  <a:schemeClr val="bg1"/>
                </a:solidFill>
              </a:rPr>
            </a:br>
            <a:r>
              <a:rPr lang="en-US" sz="2800" dirty="0">
                <a:solidFill>
                  <a:schemeClr val="bg1"/>
                </a:solidFill>
              </a:rPr>
              <a:t>University of Southern California</a:t>
            </a:r>
          </a:p>
          <a:p>
            <a:pPr algn="ctr"/>
            <a:r>
              <a:rPr lang="en-US" sz="2800" dirty="0">
                <a:solidFill>
                  <a:schemeClr val="bg1"/>
                </a:solidFill>
                <a:latin typeface="BentonSans" charset="0"/>
                <a:ea typeface="BentonSans" charset="0"/>
                <a:cs typeface="BentonSans" charset="0"/>
              </a:rPr>
              <a:t>February 2</a:t>
            </a:r>
            <a:r>
              <a:rPr lang="en-US" sz="2800" baseline="30000" dirty="0">
                <a:solidFill>
                  <a:schemeClr val="bg1"/>
                </a:solidFill>
                <a:latin typeface="BentonSans" charset="0"/>
                <a:ea typeface="BentonSans" charset="0"/>
                <a:cs typeface="BentonSans" charset="0"/>
              </a:rPr>
              <a:t>nd</a:t>
            </a:r>
            <a:r>
              <a:rPr lang="en-US" sz="2800" dirty="0">
                <a:solidFill>
                  <a:schemeClr val="bg1"/>
                </a:solidFill>
                <a:latin typeface="BentonSans" charset="0"/>
                <a:ea typeface="BentonSans" charset="0"/>
                <a:cs typeface="BentonSans" charset="0"/>
              </a:rPr>
              <a:t> and 3</a:t>
            </a:r>
            <a:r>
              <a:rPr lang="en-US" sz="2800" baseline="30000" dirty="0">
                <a:solidFill>
                  <a:schemeClr val="bg1"/>
                </a:solidFill>
                <a:latin typeface="BentonSans" charset="0"/>
                <a:ea typeface="BentonSans" charset="0"/>
                <a:cs typeface="BentonSans" charset="0"/>
              </a:rPr>
              <a:t>rd</a:t>
            </a:r>
            <a:r>
              <a:rPr lang="en-US" sz="2800" dirty="0">
                <a:solidFill>
                  <a:schemeClr val="bg1"/>
                </a:solidFill>
                <a:latin typeface="BentonSans" charset="0"/>
                <a:ea typeface="BentonSans" charset="0"/>
                <a:cs typeface="BentonSans" charset="0"/>
              </a:rPr>
              <a:t>, 2018</a:t>
            </a:r>
          </a:p>
        </p:txBody>
      </p:sp>
      <p:pic>
        <p:nvPicPr>
          <p:cNvPr id="9" name="Picture 3"/>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9683042" y="6200728"/>
            <a:ext cx="2511955" cy="65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goals</a:t>
            </a:r>
          </a:p>
        </p:txBody>
      </p:sp>
      <p:graphicFrame>
        <p:nvGraphicFramePr>
          <p:cNvPr id="4" name="Diagram 3"/>
          <p:cNvGraphicFramePr/>
          <p:nvPr>
            <p:extLst>
              <p:ext uri="{D42A27DB-BD31-4B8C-83A1-F6EECF244321}">
                <p14:modId xmlns:p14="http://schemas.microsoft.com/office/powerpoint/2010/main" val="203615601"/>
              </p:ext>
            </p:extLst>
          </p:nvPr>
        </p:nvGraphicFramePr>
        <p:xfrm>
          <a:off x="2337035" y="1695365"/>
          <a:ext cx="7136417" cy="46049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Freeform: Shape 6"/>
          <p:cNvSpPr/>
          <p:nvPr/>
        </p:nvSpPr>
        <p:spPr>
          <a:xfrm rot="1336058">
            <a:off x="7009288" y="1142253"/>
            <a:ext cx="4743996" cy="929725"/>
          </a:xfrm>
          <a:custGeom>
            <a:avLst/>
            <a:gdLst>
              <a:gd name="connsiteX0" fmla="*/ 0 w 9081784"/>
              <a:gd name="connsiteY0" fmla="*/ 0 h 1144795"/>
              <a:gd name="connsiteX1" fmla="*/ 9081784 w 9081784"/>
              <a:gd name="connsiteY1" fmla="*/ 0 h 1144795"/>
              <a:gd name="connsiteX2" fmla="*/ 9081784 w 9081784"/>
              <a:gd name="connsiteY2" fmla="*/ 1144795 h 1144795"/>
              <a:gd name="connsiteX3" fmla="*/ 0 w 9081784"/>
              <a:gd name="connsiteY3" fmla="*/ 1144795 h 1144795"/>
              <a:gd name="connsiteX4" fmla="*/ 0 w 9081784"/>
              <a:gd name="connsiteY4" fmla="*/ 0 h 1144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1784" h="1144795">
                <a:moveTo>
                  <a:pt x="0" y="0"/>
                </a:moveTo>
                <a:lnTo>
                  <a:pt x="9081784" y="0"/>
                </a:lnTo>
                <a:lnTo>
                  <a:pt x="9081784" y="1144795"/>
                </a:lnTo>
                <a:lnTo>
                  <a:pt x="0" y="1144795"/>
                </a:lnTo>
                <a:lnTo>
                  <a:pt x="0" y="0"/>
                </a:lnTo>
                <a:close/>
              </a:path>
            </a:pathLst>
          </a:custGeom>
          <a:effectLst>
            <a:outerShdw blurRad="203200" dist="330200" dir="3600000" algn="tl" rotWithShape="0">
              <a:prstClr val="black">
                <a:alpha val="40000"/>
              </a:prstClr>
            </a:outerShdw>
          </a:effectLst>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0" tIns="209550" rIns="209550" bIns="209550" numCol="1" spcCol="1270" anchor="ctr" anchorCtr="0">
            <a:noAutofit/>
          </a:bodyPr>
          <a:lstStyle/>
          <a:p>
            <a:pPr marL="0" lvl="0" indent="0" algn="ctr" defTabSz="2444750">
              <a:lnSpc>
                <a:spcPct val="90000"/>
              </a:lnSpc>
              <a:spcBef>
                <a:spcPct val="0"/>
              </a:spcBef>
              <a:spcAft>
                <a:spcPct val="35000"/>
              </a:spcAft>
              <a:buNone/>
            </a:pPr>
            <a:r>
              <a:rPr lang="en-US" sz="5500" kern="1200" dirty="0"/>
              <a:t>{Blockchain}</a:t>
            </a:r>
          </a:p>
        </p:txBody>
      </p:sp>
      <p:sp>
        <p:nvSpPr>
          <p:cNvPr id="5" name="Freeform: Shape 6"/>
          <p:cNvSpPr/>
          <p:nvPr/>
        </p:nvSpPr>
        <p:spPr>
          <a:xfrm rot="20070312">
            <a:off x="95869" y="1352842"/>
            <a:ext cx="4743996" cy="929725"/>
          </a:xfrm>
          <a:custGeom>
            <a:avLst/>
            <a:gdLst>
              <a:gd name="connsiteX0" fmla="*/ 0 w 9081784"/>
              <a:gd name="connsiteY0" fmla="*/ 0 h 1144795"/>
              <a:gd name="connsiteX1" fmla="*/ 9081784 w 9081784"/>
              <a:gd name="connsiteY1" fmla="*/ 0 h 1144795"/>
              <a:gd name="connsiteX2" fmla="*/ 9081784 w 9081784"/>
              <a:gd name="connsiteY2" fmla="*/ 1144795 h 1144795"/>
              <a:gd name="connsiteX3" fmla="*/ 0 w 9081784"/>
              <a:gd name="connsiteY3" fmla="*/ 1144795 h 1144795"/>
              <a:gd name="connsiteX4" fmla="*/ 0 w 9081784"/>
              <a:gd name="connsiteY4" fmla="*/ 0 h 1144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1784" h="1144795">
                <a:moveTo>
                  <a:pt x="0" y="0"/>
                </a:moveTo>
                <a:lnTo>
                  <a:pt x="9081784" y="0"/>
                </a:lnTo>
                <a:lnTo>
                  <a:pt x="9081784" y="1144795"/>
                </a:lnTo>
                <a:lnTo>
                  <a:pt x="0" y="1144795"/>
                </a:lnTo>
                <a:lnTo>
                  <a:pt x="0" y="0"/>
                </a:lnTo>
                <a:close/>
              </a:path>
            </a:pathLst>
          </a:custGeom>
          <a:effectLst>
            <a:outerShdw blurRad="203200" dist="330200" dir="3600000" algn="tl" rotWithShape="0">
              <a:prstClr val="black">
                <a:alpha val="40000"/>
              </a:prstClr>
            </a:outerShdw>
          </a:effectLst>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0" tIns="209550" rIns="209550" bIns="209550" numCol="1" spcCol="1270" anchor="ctr" anchorCtr="0">
            <a:noAutofit/>
          </a:bodyPr>
          <a:lstStyle/>
          <a:p>
            <a:pPr marL="0" lvl="0" indent="0" algn="ctr" defTabSz="2444750">
              <a:lnSpc>
                <a:spcPct val="90000"/>
              </a:lnSpc>
              <a:spcBef>
                <a:spcPct val="0"/>
              </a:spcBef>
              <a:spcAft>
                <a:spcPct val="35000"/>
              </a:spcAft>
              <a:buNone/>
            </a:pPr>
            <a:r>
              <a:rPr lang="en-US" sz="5500" kern="1200" dirty="0"/>
              <a:t>{Bitcoin}</a:t>
            </a:r>
          </a:p>
        </p:txBody>
      </p:sp>
    </p:spTree>
    <p:extLst>
      <p:ext uri="{BB962C8B-B14F-4D97-AF65-F5344CB8AC3E}">
        <p14:creationId xmlns:p14="http://schemas.microsoft.com/office/powerpoint/2010/main" val="28672078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header (in detail)</a:t>
            </a:r>
          </a:p>
        </p:txBody>
      </p:sp>
      <p:graphicFrame>
        <p:nvGraphicFramePr>
          <p:cNvPr id="10" name="Diagram 9"/>
          <p:cNvGraphicFramePr/>
          <p:nvPr>
            <p:extLst/>
          </p:nvPr>
        </p:nvGraphicFramePr>
        <p:xfrm>
          <a:off x="2066520" y="2224426"/>
          <a:ext cx="8660582" cy="34690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4232994" y="5951085"/>
            <a:ext cx="5432552" cy="415594"/>
          </a:xfrm>
          <a:prstGeom prst="rect">
            <a:avLst/>
          </a:prstGeom>
          <a:noFill/>
        </p:spPr>
        <p:txBody>
          <a:bodyPr wrap="none" rtlCol="0">
            <a:spAutoFit/>
          </a:bodyPr>
          <a:lstStyle/>
          <a:p>
            <a:r>
              <a:rPr lang="en-US" dirty="0"/>
              <a:t>* Part of the mining process, discussed later</a:t>
            </a:r>
          </a:p>
        </p:txBody>
      </p:sp>
    </p:spTree>
    <p:extLst>
      <p:ext uri="{BB962C8B-B14F-4D97-AF65-F5344CB8AC3E}">
        <p14:creationId xmlns:p14="http://schemas.microsoft.com/office/powerpoint/2010/main" val="16365957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047606-8BF1-423B-A485-E694D9EE3920}"/>
              </a:ext>
            </a:extLst>
          </p:cNvPr>
          <p:cNvPicPr>
            <a:picLocks noChangeAspect="1"/>
          </p:cNvPicPr>
          <p:nvPr/>
        </p:nvPicPr>
        <p:blipFill rotWithShape="1">
          <a:blip r:embed="rId2"/>
          <a:srcRect t="8519"/>
          <a:stretch/>
        </p:blipFill>
        <p:spPr>
          <a:xfrm>
            <a:off x="386345" y="88487"/>
            <a:ext cx="11771606" cy="6699965"/>
          </a:xfrm>
          <a:prstGeom prst="rect">
            <a:avLst/>
          </a:prstGeom>
        </p:spPr>
      </p:pic>
    </p:spTree>
    <p:extLst>
      <p:ext uri="{BB962C8B-B14F-4D97-AF65-F5344CB8AC3E}">
        <p14:creationId xmlns:p14="http://schemas.microsoft.com/office/powerpoint/2010/main" val="29371814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hash</a:t>
            </a:r>
          </a:p>
        </p:txBody>
      </p:sp>
      <p:sp>
        <p:nvSpPr>
          <p:cNvPr id="3" name="Content Placeholder 2"/>
          <p:cNvSpPr>
            <a:spLocks noGrp="1"/>
          </p:cNvSpPr>
          <p:nvPr>
            <p:ph type="body" sz="quarter" idx="10"/>
          </p:nvPr>
        </p:nvSpPr>
        <p:spPr/>
        <p:txBody>
          <a:bodyPr/>
          <a:lstStyle/>
          <a:p>
            <a:r>
              <a:rPr lang="en-US" dirty="0"/>
              <a:t>The block header is hashed twice using SHA256.  This becomes the identity of the block and is included in the subsequent block</a:t>
            </a:r>
          </a:p>
          <a:p>
            <a:r>
              <a:rPr lang="en-US" dirty="0"/>
              <a:t>The entire block is not hashed.  Just the block header.</a:t>
            </a:r>
          </a:p>
          <a:p>
            <a:r>
              <a:rPr lang="en-US" dirty="0"/>
              <a:t>Explore the block hash demo here </a:t>
            </a:r>
            <a:r>
              <a:rPr lang="en-US" dirty="0">
                <a:hlinkClick r:id="rId2"/>
              </a:rPr>
              <a:t>https://anders.com/blockchain/block.html</a:t>
            </a:r>
            <a:endParaRPr lang="en-US" dirty="0"/>
          </a:p>
          <a:p>
            <a:r>
              <a:rPr lang="en-US" dirty="0"/>
              <a:t>Add a transaction in the Data text</a:t>
            </a:r>
          </a:p>
          <a:p>
            <a:endParaRPr lang="en-US" dirty="0"/>
          </a:p>
        </p:txBody>
      </p:sp>
    </p:spTree>
    <p:extLst>
      <p:ext uri="{BB962C8B-B14F-4D97-AF65-F5344CB8AC3E}">
        <p14:creationId xmlns:p14="http://schemas.microsoft.com/office/powerpoint/2010/main" val="246717503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of of State</a:t>
            </a:r>
          </a:p>
        </p:txBody>
      </p:sp>
      <p:sp>
        <p:nvSpPr>
          <p:cNvPr id="3" name="Text Placeholder 2"/>
          <p:cNvSpPr>
            <a:spLocks noGrp="1"/>
          </p:cNvSpPr>
          <p:nvPr>
            <p:ph type="body" sz="quarter" idx="10"/>
          </p:nvPr>
        </p:nvSpPr>
        <p:spPr/>
        <p:txBody>
          <a:bodyPr/>
          <a:lstStyle/>
          <a:p>
            <a:pPr>
              <a:spcAft>
                <a:spcPts val="1200"/>
              </a:spcAft>
            </a:pPr>
            <a:r>
              <a:rPr lang="en-US" dirty="0"/>
              <a:t>The </a:t>
            </a:r>
            <a:r>
              <a:rPr lang="en-US" dirty="0" err="1"/>
              <a:t>blockchain</a:t>
            </a:r>
            <a:r>
              <a:rPr lang="en-US" dirty="0"/>
              <a:t> provides a Proof of State:</a:t>
            </a:r>
          </a:p>
          <a:p>
            <a:pPr marL="887199" lvl="1" indent="-342866">
              <a:buFont typeface="Arial" panose="020B0604020202020204" pitchFamily="34" charset="0"/>
              <a:buChar char="•"/>
            </a:pPr>
            <a:r>
              <a:rPr lang="en-US" sz="1800" dirty="0">
                <a:solidFill>
                  <a:srgbClr val="FF0000"/>
                </a:solidFill>
              </a:rPr>
              <a:t>Existence</a:t>
            </a:r>
            <a:r>
              <a:rPr lang="en-US" sz="1800" dirty="0"/>
              <a:t>: system of record, with timestamp</a:t>
            </a:r>
          </a:p>
          <a:p>
            <a:pPr marL="887199" lvl="1" indent="-342866">
              <a:buFont typeface="Arial" panose="020B0604020202020204" pitchFamily="34" charset="0"/>
              <a:buChar char="•"/>
            </a:pPr>
            <a:r>
              <a:rPr lang="en-US" sz="1800" dirty="0">
                <a:solidFill>
                  <a:srgbClr val="FF0000"/>
                </a:solidFill>
              </a:rPr>
              <a:t>Ownership</a:t>
            </a:r>
            <a:r>
              <a:rPr lang="en-US" sz="1800" dirty="0"/>
              <a:t>: who owns what</a:t>
            </a:r>
          </a:p>
          <a:p>
            <a:pPr marL="887199" lvl="1" indent="-342866">
              <a:buFont typeface="Arial" panose="020B0604020202020204" pitchFamily="34" charset="0"/>
              <a:buChar char="•"/>
            </a:pPr>
            <a:r>
              <a:rPr lang="en-US" sz="1800" dirty="0">
                <a:solidFill>
                  <a:srgbClr val="FF0000"/>
                </a:solidFill>
              </a:rPr>
              <a:t>Integrity</a:t>
            </a:r>
            <a:r>
              <a:rPr lang="en-US" sz="1800" dirty="0"/>
              <a:t>: no double spend of digital assets</a:t>
            </a:r>
          </a:p>
          <a:p>
            <a:pPr marL="887199" lvl="1" indent="-342866">
              <a:buFont typeface="Arial" panose="020B0604020202020204" pitchFamily="34" charset="0"/>
              <a:buChar char="•"/>
            </a:pPr>
            <a:r>
              <a:rPr lang="en-US" sz="1800" dirty="0">
                <a:solidFill>
                  <a:srgbClr val="FF0000"/>
                </a:solidFill>
              </a:rPr>
              <a:t>Provenance</a:t>
            </a:r>
            <a:r>
              <a:rPr lang="en-US" sz="1800" dirty="0"/>
              <a:t>: history of owners</a:t>
            </a:r>
          </a:p>
          <a:p>
            <a:pPr marL="887199" lvl="1" indent="-342866">
              <a:buFont typeface="Arial" panose="020B0604020202020204" pitchFamily="34" charset="0"/>
              <a:buChar char="•"/>
            </a:pPr>
            <a:r>
              <a:rPr lang="en-US" sz="1800" dirty="0">
                <a:solidFill>
                  <a:srgbClr val="FF0000"/>
                </a:solidFill>
              </a:rPr>
              <a:t>Traceability</a:t>
            </a:r>
            <a:r>
              <a:rPr lang="en-US" sz="1800" dirty="0"/>
              <a:t>: trail of movement</a:t>
            </a:r>
          </a:p>
        </p:txBody>
      </p:sp>
    </p:spTree>
    <p:extLst>
      <p:ext uri="{BB962C8B-B14F-4D97-AF65-F5344CB8AC3E}">
        <p14:creationId xmlns:p14="http://schemas.microsoft.com/office/powerpoint/2010/main" val="202227337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sis block</a:t>
            </a:r>
          </a:p>
        </p:txBody>
      </p:sp>
      <p:sp>
        <p:nvSpPr>
          <p:cNvPr id="3" name="Content Placeholder 2"/>
          <p:cNvSpPr>
            <a:spLocks noGrp="1"/>
          </p:cNvSpPr>
          <p:nvPr>
            <p:ph type="body" sz="quarter" idx="10"/>
          </p:nvPr>
        </p:nvSpPr>
        <p:spPr/>
        <p:txBody>
          <a:bodyPr/>
          <a:lstStyle/>
          <a:p>
            <a:r>
              <a:rPr lang="en-US" dirty="0"/>
              <a:t>The first Block in the bitcoin blockchain is called Genesis block</a:t>
            </a:r>
          </a:p>
          <a:p>
            <a:r>
              <a:rPr lang="en-US" dirty="0"/>
              <a:t>You can start at any block and travel to the hash of the previous block all the way to genesis block</a:t>
            </a:r>
          </a:p>
          <a:p>
            <a:r>
              <a:rPr lang="en-US" dirty="0"/>
              <a:t>This block is hard coded into the bitcoin software</a:t>
            </a:r>
          </a:p>
          <a:p>
            <a:r>
              <a:rPr lang="en-US" dirty="0"/>
              <a:t>This is the hash of the genesis block </a:t>
            </a:r>
            <a:r>
              <a:rPr lang="en-US" i="1" dirty="0"/>
              <a:t>000000000019d6689c085ae165831e934ff763ae46a2a6c172b3f1b60a8ce26f</a:t>
            </a:r>
          </a:p>
          <a:p>
            <a:r>
              <a:rPr lang="en-US" dirty="0"/>
              <a:t>Go to blockchain.info and view the genesis block</a:t>
            </a:r>
          </a:p>
          <a:p>
            <a:r>
              <a:rPr lang="en-US" dirty="0"/>
              <a:t>Its block height is 0</a:t>
            </a:r>
          </a:p>
          <a:p>
            <a:endParaRPr lang="en-US" dirty="0"/>
          </a:p>
        </p:txBody>
      </p:sp>
    </p:spTree>
    <p:extLst>
      <p:ext uri="{BB962C8B-B14F-4D97-AF65-F5344CB8AC3E}">
        <p14:creationId xmlns:p14="http://schemas.microsoft.com/office/powerpoint/2010/main" val="71789329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mper evidence</a:t>
            </a:r>
          </a:p>
        </p:txBody>
      </p:sp>
      <p:sp>
        <p:nvSpPr>
          <p:cNvPr id="3" name="Content Placeholder 2"/>
          <p:cNvSpPr>
            <a:spLocks noGrp="1"/>
          </p:cNvSpPr>
          <p:nvPr>
            <p:ph type="body" sz="quarter" idx="10"/>
          </p:nvPr>
        </p:nvSpPr>
        <p:spPr/>
        <p:txBody>
          <a:bodyPr/>
          <a:lstStyle/>
          <a:p>
            <a:r>
              <a:rPr lang="en-US" dirty="0"/>
              <a:t>The blockchain is </a:t>
            </a:r>
            <a:r>
              <a:rPr lang="en-US" i="1" dirty="0"/>
              <a:t>append</a:t>
            </a:r>
            <a:r>
              <a:rPr lang="en-US" dirty="0"/>
              <a:t> only</a:t>
            </a:r>
          </a:p>
          <a:p>
            <a:r>
              <a:rPr lang="en-US" dirty="0"/>
              <a:t>No updates and deletes</a:t>
            </a:r>
          </a:p>
          <a:p>
            <a:r>
              <a:rPr lang="en-US" dirty="0"/>
              <a:t>What happens if a node replaces one of the transactions in a block?</a:t>
            </a:r>
          </a:p>
          <a:p>
            <a:r>
              <a:rPr lang="en-US" dirty="0"/>
              <a:t>Explore this in </a:t>
            </a:r>
            <a:r>
              <a:rPr lang="en-US" dirty="0">
                <a:hlinkClick r:id="rId2"/>
              </a:rPr>
              <a:t>https://anders.com/blockchain/blockchain.html</a:t>
            </a:r>
            <a:endParaRPr lang="en-US" dirty="0"/>
          </a:p>
          <a:p>
            <a:r>
              <a:rPr lang="en-US" dirty="0"/>
              <a:t>Show how the blockchain is tamper evident.</a:t>
            </a:r>
          </a:p>
        </p:txBody>
      </p:sp>
    </p:spTree>
    <p:extLst>
      <p:ext uri="{BB962C8B-B14F-4D97-AF65-F5344CB8AC3E}">
        <p14:creationId xmlns:p14="http://schemas.microsoft.com/office/powerpoint/2010/main" val="23236227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are the nodes in the network?</a:t>
            </a:r>
          </a:p>
        </p:txBody>
      </p:sp>
      <p:sp>
        <p:nvSpPr>
          <p:cNvPr id="3" name="Text Placeholder 2"/>
          <p:cNvSpPr>
            <a:spLocks noGrp="1"/>
          </p:cNvSpPr>
          <p:nvPr>
            <p:ph type="body" sz="quarter" idx="10"/>
          </p:nvPr>
        </p:nvSpPr>
        <p:spPr/>
        <p:txBody>
          <a:bodyPr/>
          <a:lstStyle/>
          <a:p>
            <a:r>
              <a:rPr lang="en-US" dirty="0"/>
              <a:t>Anyone that connects to the bitcoin network is a node. </a:t>
            </a:r>
          </a:p>
          <a:p>
            <a:r>
              <a:rPr lang="en-US" dirty="0"/>
              <a:t>Not all nodes are alike.</a:t>
            </a:r>
          </a:p>
          <a:p>
            <a:r>
              <a:rPr lang="en-US" dirty="0"/>
              <a:t>Some are full nodes (run the full </a:t>
            </a:r>
            <a:r>
              <a:rPr lang="en-US" dirty="0" err="1"/>
              <a:t>blockchain</a:t>
            </a:r>
            <a:r>
              <a:rPr lang="en-US" dirty="0"/>
              <a:t>)</a:t>
            </a:r>
          </a:p>
          <a:p>
            <a:r>
              <a:rPr lang="en-US" dirty="0"/>
              <a:t>Some are partial (SPV, simple payment verification) that only contain transactions that involve them</a:t>
            </a:r>
          </a:p>
          <a:p>
            <a:r>
              <a:rPr lang="en-US" dirty="0"/>
              <a:t>There are mining nodes</a:t>
            </a:r>
          </a:p>
          <a:p>
            <a:r>
              <a:rPr lang="en-US" dirty="0"/>
              <a:t>Location of (reachable) nodes </a:t>
            </a:r>
            <a:r>
              <a:rPr lang="en-US" dirty="0">
                <a:hlinkClick r:id="rId2"/>
              </a:rPr>
              <a:t>https://bitnodes.21.co/</a:t>
            </a:r>
            <a:r>
              <a:rPr lang="en-US" dirty="0"/>
              <a:t> </a:t>
            </a:r>
          </a:p>
        </p:txBody>
      </p:sp>
    </p:spTree>
    <p:extLst>
      <p:ext uri="{BB962C8B-B14F-4D97-AF65-F5344CB8AC3E}">
        <p14:creationId xmlns:p14="http://schemas.microsoft.com/office/powerpoint/2010/main" val="6516523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0953" y="218515"/>
            <a:ext cx="2069961" cy="756175"/>
          </a:xfrm>
        </p:spPr>
        <p:txBody>
          <a:bodyPr/>
          <a:lstStyle/>
          <a:p>
            <a:r>
              <a:rPr lang="en-US" dirty="0"/>
              <a:t>Blockchain</a:t>
            </a:r>
          </a:p>
        </p:txBody>
      </p:sp>
      <p:graphicFrame>
        <p:nvGraphicFramePr>
          <p:cNvPr id="4" name="Diagram 3"/>
          <p:cNvGraphicFramePr/>
          <p:nvPr>
            <p:extLst>
              <p:ext uri="{D42A27DB-BD31-4B8C-83A1-F6EECF244321}">
                <p14:modId xmlns:p14="http://schemas.microsoft.com/office/powerpoint/2010/main" val="3075121542"/>
              </p:ext>
            </p:extLst>
          </p:nvPr>
        </p:nvGraphicFramePr>
        <p:xfrm>
          <a:off x="1684978" y="536023"/>
          <a:ext cx="821201" cy="502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973073" y="1863830"/>
            <a:ext cx="821200" cy="492720"/>
            <a:chOff x="0" y="4992"/>
            <a:chExt cx="821200" cy="492720"/>
          </a:xfrm>
        </p:grpSpPr>
        <p:sp>
          <p:nvSpPr>
            <p:cNvPr id="6" name="Rectangle 5"/>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7" name="TextBox 6"/>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2</a:t>
              </a:r>
            </a:p>
          </p:txBody>
        </p:sp>
      </p:grpSp>
      <p:grpSp>
        <p:nvGrpSpPr>
          <p:cNvPr id="8" name="Group 7"/>
          <p:cNvGrpSpPr/>
          <p:nvPr/>
        </p:nvGrpSpPr>
        <p:grpSpPr>
          <a:xfrm>
            <a:off x="240780" y="2767263"/>
            <a:ext cx="821200" cy="492720"/>
            <a:chOff x="0" y="4992"/>
            <a:chExt cx="821200" cy="492720"/>
          </a:xfrm>
        </p:grpSpPr>
        <p:sp>
          <p:nvSpPr>
            <p:cNvPr id="9" name="Rectangle 8"/>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0" name="TextBox 9"/>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3</a:t>
              </a:r>
            </a:p>
          </p:txBody>
        </p:sp>
      </p:grpSp>
      <p:grpSp>
        <p:nvGrpSpPr>
          <p:cNvPr id="11" name="Group 10"/>
          <p:cNvGrpSpPr/>
          <p:nvPr/>
        </p:nvGrpSpPr>
        <p:grpSpPr>
          <a:xfrm>
            <a:off x="743198" y="4278704"/>
            <a:ext cx="821200" cy="492720"/>
            <a:chOff x="0" y="4992"/>
            <a:chExt cx="821200" cy="492720"/>
          </a:xfrm>
        </p:grpSpPr>
        <p:sp>
          <p:nvSpPr>
            <p:cNvPr id="12" name="Rectangle 11"/>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3" name="TextBox 12"/>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5</a:t>
              </a:r>
            </a:p>
          </p:txBody>
        </p:sp>
      </p:grpSp>
      <p:grpSp>
        <p:nvGrpSpPr>
          <p:cNvPr id="14" name="Group 13"/>
          <p:cNvGrpSpPr/>
          <p:nvPr/>
        </p:nvGrpSpPr>
        <p:grpSpPr>
          <a:xfrm>
            <a:off x="1684978" y="3453879"/>
            <a:ext cx="821200" cy="492720"/>
            <a:chOff x="0" y="4992"/>
            <a:chExt cx="821200" cy="492720"/>
          </a:xfrm>
        </p:grpSpPr>
        <p:sp>
          <p:nvSpPr>
            <p:cNvPr id="15" name="Rectangle 14"/>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6" name="TextBox 15"/>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4</a:t>
              </a:r>
            </a:p>
          </p:txBody>
        </p:sp>
      </p:grpSp>
      <p:graphicFrame>
        <p:nvGraphicFramePr>
          <p:cNvPr id="17" name="Diagram 16"/>
          <p:cNvGraphicFramePr/>
          <p:nvPr>
            <p:extLst>
              <p:ext uri="{D42A27DB-BD31-4B8C-83A1-F6EECF244321}">
                <p14:modId xmlns:p14="http://schemas.microsoft.com/office/powerpoint/2010/main" val="3134586012"/>
              </p:ext>
            </p:extLst>
          </p:nvPr>
        </p:nvGraphicFramePr>
        <p:xfrm>
          <a:off x="4722535" y="2050297"/>
          <a:ext cx="971927" cy="20344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 17"/>
          <p:cNvGraphicFramePr/>
          <p:nvPr>
            <p:extLst>
              <p:ext uri="{D42A27DB-BD31-4B8C-83A1-F6EECF244321}">
                <p14:modId xmlns:p14="http://schemas.microsoft.com/office/powerpoint/2010/main" val="2735336412"/>
              </p:ext>
            </p:extLst>
          </p:nvPr>
        </p:nvGraphicFramePr>
        <p:xfrm>
          <a:off x="8852598" y="974690"/>
          <a:ext cx="1159323" cy="554698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20" name="Straight Arrow Connector 19"/>
          <p:cNvCxnSpPr/>
          <p:nvPr/>
        </p:nvCxnSpPr>
        <p:spPr>
          <a:xfrm>
            <a:off x="2635433" y="1187364"/>
            <a:ext cx="1934993" cy="1146875"/>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1975247" y="2203786"/>
            <a:ext cx="2590299" cy="431009"/>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V="1">
            <a:off x="1228953" y="2957242"/>
            <a:ext cx="3336593" cy="51953"/>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2658287" y="3381631"/>
            <a:ext cx="1907259" cy="282945"/>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1743601" y="3746439"/>
            <a:ext cx="2821945" cy="738090"/>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V="1">
            <a:off x="6039059" y="2833636"/>
            <a:ext cx="2471894" cy="30144"/>
          </a:xfrm>
          <a:prstGeom prst="straightConnector1">
            <a:avLst/>
          </a:prstGeom>
          <a:ln w="101600">
            <a:solidFill>
              <a:srgbClr val="C00000"/>
            </a:solidFill>
            <a:tailEnd type="triangle"/>
          </a:ln>
        </p:spPr>
        <p:style>
          <a:lnRef idx="1">
            <a:schemeClr val="accent6"/>
          </a:lnRef>
          <a:fillRef idx="0">
            <a:schemeClr val="accent6"/>
          </a:fillRef>
          <a:effectRef idx="0">
            <a:schemeClr val="accent6"/>
          </a:effectRef>
          <a:fontRef idx="minor">
            <a:schemeClr val="tx1"/>
          </a:fontRef>
        </p:style>
      </p:cxnSp>
      <p:graphicFrame>
        <p:nvGraphicFramePr>
          <p:cNvPr id="45" name="Diagram 44"/>
          <p:cNvGraphicFramePr/>
          <p:nvPr>
            <p:extLst>
              <p:ext uri="{D42A27DB-BD31-4B8C-83A1-F6EECF244321}">
                <p14:modId xmlns:p14="http://schemas.microsoft.com/office/powerpoint/2010/main" val="388448026"/>
              </p:ext>
            </p:extLst>
          </p:nvPr>
        </p:nvGraphicFramePr>
        <p:xfrm>
          <a:off x="4028007" y="4633164"/>
          <a:ext cx="2800537" cy="206782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cxnSp>
        <p:nvCxnSpPr>
          <p:cNvPr id="46" name="Straight Arrow Connector 45"/>
          <p:cNvCxnSpPr/>
          <p:nvPr/>
        </p:nvCxnSpPr>
        <p:spPr>
          <a:xfrm flipV="1">
            <a:off x="5199287" y="3946599"/>
            <a:ext cx="9211" cy="707861"/>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pic>
        <p:nvPicPr>
          <p:cNvPr id="49" name="Picture 4" descr="avatar,face"/>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33183" y="307622"/>
            <a:ext cx="795770" cy="79577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http://findicons.com/files/icons/1072/face_avatars/300/f04.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3021503" y="340918"/>
            <a:ext cx="795770" cy="795770"/>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Arrow Connector 52"/>
          <p:cNvCxnSpPr>
            <a:stCxn id="49" idx="3"/>
          </p:cNvCxnSpPr>
          <p:nvPr/>
        </p:nvCxnSpPr>
        <p:spPr>
          <a:xfrm>
            <a:off x="1228953" y="705507"/>
            <a:ext cx="456025" cy="0"/>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cxnSp>
        <p:nvCxnSpPr>
          <p:cNvPr id="56" name="Straight Arrow Connector 55"/>
          <p:cNvCxnSpPr>
            <a:endCxn id="50" idx="1"/>
          </p:cNvCxnSpPr>
          <p:nvPr/>
        </p:nvCxnSpPr>
        <p:spPr>
          <a:xfrm>
            <a:off x="2635433" y="738803"/>
            <a:ext cx="386070" cy="0"/>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5064258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a block</a:t>
            </a:r>
          </a:p>
        </p:txBody>
      </p:sp>
      <p:sp>
        <p:nvSpPr>
          <p:cNvPr id="3" name="Text Placeholder 2"/>
          <p:cNvSpPr>
            <a:spLocks noGrp="1"/>
          </p:cNvSpPr>
          <p:nvPr>
            <p:ph type="body" sz="quarter" idx="10"/>
          </p:nvPr>
        </p:nvSpPr>
        <p:spPr/>
        <p:txBody>
          <a:bodyPr/>
          <a:lstStyle/>
          <a:p>
            <a:r>
              <a:rPr lang="en-US" dirty="0"/>
              <a:t>Special nodes take upon the job of validating the transactions </a:t>
            </a:r>
            <a:r>
              <a:rPr lang="en-US" dirty="0" err="1"/>
              <a:t>i.e</a:t>
            </a:r>
            <a:r>
              <a:rPr lang="en-US" dirty="0"/>
              <a:t> the sender owns and has signed the transaction. The transaction meets the bitcoin rules.</a:t>
            </a:r>
          </a:p>
          <a:p>
            <a:r>
              <a:rPr lang="en-US" dirty="0"/>
              <a:t>The node them collects transactions and prioritizes them (perhaps by transaction fees). Puts them in a block</a:t>
            </a:r>
          </a:p>
          <a:p>
            <a:r>
              <a:rPr lang="en-US" dirty="0"/>
              <a:t>The block size is limited to 1MB</a:t>
            </a:r>
          </a:p>
          <a:p>
            <a:r>
              <a:rPr lang="en-US" dirty="0"/>
              <a:t>The node includes a special transaction to reward itself a block reward in terms of newly mined (minted) bitcoin. Currently at 12.5 bitcoin per block</a:t>
            </a:r>
          </a:p>
          <a:p>
            <a:r>
              <a:rPr lang="en-US" dirty="0"/>
              <a:t>The is the reward for validating the transactions and creating a block. </a:t>
            </a:r>
          </a:p>
          <a:p>
            <a:r>
              <a:rPr lang="en-US" dirty="0"/>
              <a:t>Broadcast the block to the network</a:t>
            </a:r>
          </a:p>
          <a:p>
            <a:r>
              <a:rPr lang="en-US" dirty="0"/>
              <a:t>But this is not all! The node must solve a difficult math problem too!</a:t>
            </a:r>
          </a:p>
        </p:txBody>
      </p:sp>
    </p:spTree>
    <p:extLst>
      <p:ext uri="{BB962C8B-B14F-4D97-AF65-F5344CB8AC3E}">
        <p14:creationId xmlns:p14="http://schemas.microsoft.com/office/powerpoint/2010/main" val="16461668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sis Block</a:t>
            </a:r>
          </a:p>
        </p:txBody>
      </p:sp>
      <p:sp>
        <p:nvSpPr>
          <p:cNvPr id="3" name="Text Placeholder 2"/>
          <p:cNvSpPr>
            <a:spLocks noGrp="1"/>
          </p:cNvSpPr>
          <p:nvPr>
            <p:ph type="body" sz="quarter" idx="10"/>
          </p:nvPr>
        </p:nvSpPr>
        <p:spPr/>
        <p:txBody>
          <a:bodyPr/>
          <a:lstStyle/>
          <a:p>
            <a:r>
              <a:rPr lang="en-US" dirty="0"/>
              <a:t>The first block is Block 0</a:t>
            </a:r>
          </a:p>
          <a:p>
            <a:r>
              <a:rPr lang="en-US" dirty="0"/>
              <a:t>It is called Genesis Block</a:t>
            </a:r>
          </a:p>
          <a:p>
            <a:endParaRPr lang="en-US" dirty="0"/>
          </a:p>
        </p:txBody>
      </p:sp>
      <p:sp>
        <p:nvSpPr>
          <p:cNvPr id="4" name="Text Placeholder 3"/>
          <p:cNvSpPr>
            <a:spLocks noGrp="1"/>
          </p:cNvSpPr>
          <p:nvPr>
            <p:ph type="body" sz="quarter" idx="11"/>
          </p:nvPr>
        </p:nvSpPr>
        <p:spPr/>
        <p:txBody>
          <a:bodyPr/>
          <a:lstStyle/>
          <a:p>
            <a:r>
              <a:rPr lang="en-US" dirty="0"/>
              <a:t>Show the (English language) message that is hidden in the genesis block.</a:t>
            </a:r>
          </a:p>
        </p:txBody>
      </p:sp>
      <p:pic>
        <p:nvPicPr>
          <p:cNvPr id="5" name="Picture 4"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702873" y="2315368"/>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982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ponential Learning Workshop</a:t>
            </a:r>
          </a:p>
        </p:txBody>
      </p:sp>
      <p:sp>
        <p:nvSpPr>
          <p:cNvPr id="6" name="Rectangle 5"/>
          <p:cNvSpPr/>
          <p:nvPr/>
        </p:nvSpPr>
        <p:spPr>
          <a:xfrm>
            <a:off x="7339163" y="5818899"/>
            <a:ext cx="4281337" cy="246221"/>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https://www.scotthyoung.com/blog/2013/02/05/two-types-of-growth/</a:t>
            </a:r>
          </a:p>
        </p:txBody>
      </p:sp>
      <p:pic>
        <p:nvPicPr>
          <p:cNvPr id="2050" name="Picture 2" descr="https://www.scotthyoung.com/blog/wp-content/uploads/2013/02/ExponentialCurve.pn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3898645" y="1480457"/>
            <a:ext cx="4704216" cy="340722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4007439" y="5123127"/>
            <a:ext cx="4722447" cy="369332"/>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24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Experience  +  Time  +  Dedication</a:t>
            </a:r>
          </a:p>
        </p:txBody>
      </p:sp>
      <p:sp>
        <p:nvSpPr>
          <p:cNvPr id="10" name="TextBox 9"/>
          <p:cNvSpPr txBox="1"/>
          <p:nvPr/>
        </p:nvSpPr>
        <p:spPr>
          <a:xfrm rot="16200000">
            <a:off x="1713003" y="2918082"/>
            <a:ext cx="3127459" cy="369332"/>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24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rPr>
              <a:t>Learning  |  Proficiency</a:t>
            </a:r>
          </a:p>
        </p:txBody>
      </p:sp>
      <p:cxnSp>
        <p:nvCxnSpPr>
          <p:cNvPr id="3" name="Straight Connector 2"/>
          <p:cNvCxnSpPr/>
          <p:nvPr/>
        </p:nvCxnSpPr>
        <p:spPr>
          <a:xfrm>
            <a:off x="3935691" y="3304095"/>
            <a:ext cx="4667170" cy="4713"/>
          </a:xfrm>
          <a:prstGeom prst="line">
            <a:avLst/>
          </a:prstGeom>
          <a:ln w="38100">
            <a:solidFill>
              <a:srgbClr val="D4652D"/>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28699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st Minnie?	</a:t>
            </a:r>
          </a:p>
        </p:txBody>
      </p:sp>
      <p:sp>
        <p:nvSpPr>
          <p:cNvPr id="3" name="Text Placeholder 2"/>
          <p:cNvSpPr>
            <a:spLocks noGrp="1"/>
          </p:cNvSpPr>
          <p:nvPr>
            <p:ph type="body" sz="quarter" idx="10"/>
          </p:nvPr>
        </p:nvSpPr>
        <p:spPr/>
        <p:txBody>
          <a:bodyPr/>
          <a:lstStyle/>
          <a:p>
            <a:r>
              <a:rPr lang="en-US" dirty="0"/>
              <a:t>Why should the network trust Minnie’s block?</a:t>
            </a:r>
          </a:p>
          <a:p>
            <a:r>
              <a:rPr lang="en-US" dirty="0"/>
              <a:t>Minnie should have to earn the trust and must be rewarded for her work in extending the blockchain.</a:t>
            </a:r>
          </a:p>
          <a:p>
            <a:r>
              <a:rPr lang="en-US" dirty="0"/>
              <a:t>Why not task Minnie to expend some resources to prove her trust. This should keep her honest.</a:t>
            </a:r>
          </a:p>
          <a:p>
            <a:r>
              <a:rPr lang="en-US" dirty="0"/>
              <a:t>This proof should be such that there is not short cut. Only brute force spending of resources is acceptable proof of her trust. This proof is called Proof-of-work (mining).</a:t>
            </a:r>
          </a:p>
          <a:p>
            <a:r>
              <a:rPr lang="en-US" dirty="0"/>
              <a:t>As a reward, Minnie will get bitcoins (in other words, Minnie the miner has mined bitcoins).</a:t>
            </a:r>
          </a:p>
          <a:p>
            <a:r>
              <a:rPr lang="en-US" dirty="0"/>
              <a:t>This is similar to expending resources to mine gold, silver and diamonds.</a:t>
            </a:r>
          </a:p>
        </p:txBody>
      </p:sp>
    </p:spTree>
    <p:extLst>
      <p:ext uri="{BB962C8B-B14F-4D97-AF65-F5344CB8AC3E}">
        <p14:creationId xmlns:p14="http://schemas.microsoft.com/office/powerpoint/2010/main" val="1327765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ining</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2294198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ining?</a:t>
            </a:r>
          </a:p>
        </p:txBody>
      </p:sp>
      <p:sp>
        <p:nvSpPr>
          <p:cNvPr id="3" name="Content Placeholder 2"/>
          <p:cNvSpPr>
            <a:spLocks noGrp="1"/>
          </p:cNvSpPr>
          <p:nvPr>
            <p:ph type="body" sz="quarter" idx="10"/>
          </p:nvPr>
        </p:nvSpPr>
        <p:spPr/>
        <p:txBody>
          <a:bodyPr/>
          <a:lstStyle/>
          <a:p>
            <a:r>
              <a:rPr lang="en-US" dirty="0"/>
              <a:t>In the real world we use mining to extract minerals, gems, fossil fuels </a:t>
            </a:r>
            <a:r>
              <a:rPr lang="en-US" dirty="0" err="1"/>
              <a:t>etc</a:t>
            </a:r>
            <a:endParaRPr lang="en-US" dirty="0"/>
          </a:p>
          <a:p>
            <a:r>
              <a:rPr lang="en-US" dirty="0"/>
              <a:t>You expend resources to gain material of value</a:t>
            </a:r>
          </a:p>
          <a:p>
            <a:r>
              <a:rPr lang="en-US" dirty="0"/>
              <a:t>Similarly, in bitcoin, special nodes called miners, expend computer resources to mine bitcoin.</a:t>
            </a:r>
          </a:p>
          <a:p>
            <a:r>
              <a:rPr lang="en-US" dirty="0"/>
              <a:t>They do so while providing Proof of Work which secures the ledger called blockchain.</a:t>
            </a:r>
          </a:p>
          <a:p>
            <a:r>
              <a:rPr lang="en-US" dirty="0"/>
              <a:t>The miners play a critical role in validating transactions and blocks as part of the mining process.</a:t>
            </a:r>
          </a:p>
          <a:p>
            <a:r>
              <a:rPr lang="en-US" dirty="0"/>
              <a:t>Only valid transactions and blocks are added to the blockchain</a:t>
            </a:r>
          </a:p>
        </p:txBody>
      </p:sp>
    </p:spTree>
    <p:extLst>
      <p:ext uri="{BB962C8B-B14F-4D97-AF65-F5344CB8AC3E}">
        <p14:creationId xmlns:p14="http://schemas.microsoft.com/office/powerpoint/2010/main" val="157957854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a:t>
            </a:r>
          </a:p>
        </p:txBody>
      </p:sp>
      <p:sp>
        <p:nvSpPr>
          <p:cNvPr id="3" name="Content Placeholder 2"/>
          <p:cNvSpPr>
            <a:spLocks noGrp="1"/>
          </p:cNvSpPr>
          <p:nvPr>
            <p:ph type="body" sz="quarter" idx="10"/>
          </p:nvPr>
        </p:nvSpPr>
        <p:spPr/>
        <p:txBody>
          <a:bodyPr>
            <a:normAutofit fontScale="77500" lnSpcReduction="20000"/>
          </a:bodyPr>
          <a:lstStyle/>
          <a:p>
            <a:r>
              <a:rPr lang="en-US" dirty="0"/>
              <a:t>Memory Game: Word Chain</a:t>
            </a:r>
          </a:p>
          <a:p>
            <a:pPr lvl="1"/>
            <a:r>
              <a:rPr lang="en-US" dirty="0"/>
              <a:t>Players sit in a circle</a:t>
            </a:r>
          </a:p>
          <a:p>
            <a:pPr lvl="1"/>
            <a:r>
              <a:rPr lang="en-US" dirty="0"/>
              <a:t>Player 1 announces a word</a:t>
            </a:r>
          </a:p>
          <a:p>
            <a:pPr lvl="1"/>
            <a:r>
              <a:rPr lang="en-US" dirty="0"/>
              <a:t>Player 2 thinks of a word that </a:t>
            </a:r>
            <a:r>
              <a:rPr lang="en-US" i="1" dirty="0"/>
              <a:t>relates</a:t>
            </a:r>
            <a:r>
              <a:rPr lang="en-US" dirty="0"/>
              <a:t> with the first word and </a:t>
            </a:r>
            <a:r>
              <a:rPr lang="en-US" i="1" dirty="0"/>
              <a:t>says</a:t>
            </a:r>
            <a:r>
              <a:rPr lang="en-US" dirty="0"/>
              <a:t> the two words</a:t>
            </a:r>
          </a:p>
          <a:p>
            <a:pPr lvl="1"/>
            <a:r>
              <a:rPr lang="en-US" dirty="0"/>
              <a:t>Player 3 thinks of a word that </a:t>
            </a:r>
            <a:r>
              <a:rPr lang="en-US" i="1" dirty="0"/>
              <a:t>relates</a:t>
            </a:r>
            <a:r>
              <a:rPr lang="en-US" dirty="0"/>
              <a:t> with the second word and says the three words</a:t>
            </a:r>
          </a:p>
          <a:p>
            <a:pPr lvl="1"/>
            <a:r>
              <a:rPr lang="en-US" dirty="0"/>
              <a:t>…</a:t>
            </a:r>
          </a:p>
          <a:p>
            <a:pPr lvl="1"/>
            <a:r>
              <a:rPr lang="en-US" dirty="0"/>
              <a:t>Any player who cannot come up  with a new word in 30  seconds loses</a:t>
            </a:r>
          </a:p>
          <a:p>
            <a:pPr lvl="1"/>
            <a:r>
              <a:rPr lang="en-US" dirty="0"/>
              <a:t>Any player that forgets the chain loses</a:t>
            </a:r>
          </a:p>
          <a:p>
            <a:pPr lvl="1"/>
            <a:r>
              <a:rPr lang="en-US" dirty="0"/>
              <a:t>Any player that tries to use a substitute word… gets called out by all the others </a:t>
            </a:r>
            <a:r>
              <a:rPr lang="en-US" dirty="0">
                <a:sym typeface="Wingdings" panose="05000000000000000000" pitchFamily="2" charset="2"/>
              </a:rPr>
              <a:t></a:t>
            </a:r>
          </a:p>
          <a:p>
            <a:r>
              <a:rPr lang="en-US" dirty="0">
                <a:sym typeface="Wingdings" panose="05000000000000000000" pitchFamily="2" charset="2"/>
              </a:rPr>
              <a:t>Who gets to record the history of the game? In other words who updates the chain of words? Should that person be rewarded? How do we keep that person honest?</a:t>
            </a:r>
            <a:endParaRPr lang="en-US" dirty="0"/>
          </a:p>
        </p:txBody>
      </p:sp>
      <p:graphicFrame>
        <p:nvGraphicFramePr>
          <p:cNvPr id="7" name="Diagram 6"/>
          <p:cNvGraphicFramePr/>
          <p:nvPr>
            <p:extLst/>
          </p:nvPr>
        </p:nvGraphicFramePr>
        <p:xfrm>
          <a:off x="6182771" y="2077638"/>
          <a:ext cx="5560567" cy="4062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579378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a:t>
            </a:r>
          </a:p>
        </p:txBody>
      </p:sp>
      <p:sp>
        <p:nvSpPr>
          <p:cNvPr id="3" name="Content Placeholder 2"/>
          <p:cNvSpPr>
            <a:spLocks noGrp="1"/>
          </p:cNvSpPr>
          <p:nvPr>
            <p:ph type="body" sz="quarter" idx="10"/>
          </p:nvPr>
        </p:nvSpPr>
        <p:spPr/>
        <p:txBody>
          <a:bodyPr>
            <a:normAutofit/>
          </a:bodyPr>
          <a:lstStyle/>
          <a:p>
            <a:pPr lvl="1"/>
            <a:r>
              <a:rPr lang="en-US" dirty="0"/>
              <a:t>Mining of precious metals and gems.</a:t>
            </a:r>
          </a:p>
          <a:p>
            <a:pPr lvl="1"/>
            <a:r>
              <a:rPr lang="en-US" dirty="0"/>
              <a:t>Expend immense power and resources to </a:t>
            </a:r>
            <a:r>
              <a:rPr lang="en-US" dirty="0">
                <a:hlinkClick r:id="rId2"/>
              </a:rPr>
              <a:t>excavate </a:t>
            </a:r>
            <a:r>
              <a:rPr lang="en-US" dirty="0"/>
              <a:t>desirable stores of value.</a:t>
            </a:r>
          </a:p>
          <a:p>
            <a:pPr lvl="1"/>
            <a:r>
              <a:rPr lang="en-US" dirty="0"/>
              <a:t>Mining gold costs between $500 to $1000 per oz.</a:t>
            </a:r>
          </a:p>
          <a:p>
            <a:pPr lvl="1"/>
            <a:r>
              <a:rPr lang="en-US" dirty="0"/>
              <a:t>Today’s price of gold is $1280.</a:t>
            </a:r>
          </a:p>
          <a:p>
            <a:pPr lvl="1"/>
            <a:r>
              <a:rPr lang="en-US" dirty="0"/>
              <a:t>As cost goes of mining goes up and the supply of gold becomes scarce…</a:t>
            </a:r>
          </a:p>
          <a:p>
            <a:pPr lvl="1"/>
            <a:r>
              <a:rPr lang="en-US" dirty="0"/>
              <a:t>Three features: </a:t>
            </a:r>
            <a:r>
              <a:rPr lang="en-US" i="1" dirty="0"/>
              <a:t>scarcity, difficulty, desirability</a:t>
            </a:r>
          </a:p>
          <a:p>
            <a:pPr lvl="1"/>
            <a:endParaRPr lang="en-US" dirty="0"/>
          </a:p>
          <a:p>
            <a:pPr lvl="1"/>
            <a:endParaRPr lang="en-US" dirty="0"/>
          </a:p>
          <a:p>
            <a:pPr lvl="1"/>
            <a:endParaRPr lang="en-US" dirty="0"/>
          </a:p>
          <a:p>
            <a:pPr lvl="2"/>
            <a:endParaRPr lang="en-US" dirty="0"/>
          </a:p>
        </p:txBody>
      </p:sp>
      <p:pic>
        <p:nvPicPr>
          <p:cNvPr id="2050" name="Picture 2" descr="Image result for gold rush min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0579" y="435805"/>
            <a:ext cx="4763602" cy="344884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largest diamon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3996" y="2772371"/>
            <a:ext cx="4493545" cy="249641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static1.squarespace.com/static/56eddde762cd9413e151ac92/570cb87b5bd33022b93a0272/571373d762cd943d427a6605/1460975667281/gold.png?format=1500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1291" y="4099753"/>
            <a:ext cx="4043152" cy="2535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0401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tx1">
                    <a:lumMod val="50000"/>
                    <a:lumOff val="50000"/>
                  </a:schemeClr>
                </a:solidFill>
                <a:ea typeface="Arial Unicode MS" pitchFamily="34" charset="-128"/>
                <a:cs typeface="Arial Unicode MS" pitchFamily="34" charset="-128"/>
              </a:rPr>
              <a:t>Mining</a:t>
            </a:r>
            <a:endParaRPr lang="en-US" dirty="0">
              <a:solidFill>
                <a:schemeClr val="tx1">
                  <a:lumMod val="50000"/>
                  <a:lumOff val="50000"/>
                </a:schemeClr>
              </a:solidFill>
            </a:endParaRPr>
          </a:p>
        </p:txBody>
      </p:sp>
      <p:sp>
        <p:nvSpPr>
          <p:cNvPr id="3" name="Text Placeholder 2"/>
          <p:cNvSpPr>
            <a:spLocks noGrp="1"/>
          </p:cNvSpPr>
          <p:nvPr>
            <p:ph type="body" sz="quarter" idx="10"/>
          </p:nvPr>
        </p:nvSpPr>
        <p:spPr/>
        <p:txBody>
          <a:bodyPr/>
          <a:lstStyle/>
          <a:p>
            <a:r>
              <a:rPr lang="en-US" dirty="0"/>
              <a:t>Nodes can become miners. This is what they do:</a:t>
            </a:r>
          </a:p>
          <a:p>
            <a:pPr marL="457200" indent="-457200">
              <a:buFont typeface="+mj-lt"/>
              <a:buAutoNum type="arabicPeriod"/>
            </a:pPr>
            <a:r>
              <a:rPr lang="en-US" dirty="0"/>
              <a:t>Listen to transactions on the bitcoin network</a:t>
            </a:r>
          </a:p>
          <a:p>
            <a:pPr marL="457200" indent="-457200">
              <a:buFont typeface="+mj-lt"/>
              <a:buAutoNum type="arabicPeriod"/>
            </a:pPr>
            <a:r>
              <a:rPr lang="en-US" dirty="0"/>
              <a:t>Keep the current version of the </a:t>
            </a:r>
            <a:r>
              <a:rPr lang="en-US" dirty="0" err="1"/>
              <a:t>blockchain</a:t>
            </a:r>
            <a:endParaRPr lang="en-US" dirty="0"/>
          </a:p>
          <a:p>
            <a:pPr marL="457200" indent="-457200">
              <a:buFont typeface="+mj-lt"/>
              <a:buAutoNum type="arabicPeriod"/>
            </a:pPr>
            <a:r>
              <a:rPr lang="en-US" dirty="0"/>
              <a:t>Validate transactions, assemble them into a block. Include a reward for yourself (that transaction is called </a:t>
            </a:r>
            <a:r>
              <a:rPr lang="en-US" dirty="0" err="1">
                <a:solidFill>
                  <a:srgbClr val="FF0000"/>
                </a:solidFill>
              </a:rPr>
              <a:t>coinbase</a:t>
            </a:r>
            <a:r>
              <a:rPr lang="en-US" dirty="0"/>
              <a:t>)</a:t>
            </a:r>
          </a:p>
          <a:p>
            <a:pPr marL="457200" indent="-457200">
              <a:buFont typeface="+mj-lt"/>
              <a:buAutoNum type="arabicPeriod"/>
            </a:pPr>
            <a:r>
              <a:rPr lang="en-US" dirty="0"/>
              <a:t>Hash the block header with a nonce until the hash meets a target difficulty</a:t>
            </a:r>
          </a:p>
          <a:p>
            <a:pPr marL="457200" indent="-457200">
              <a:buFont typeface="+mj-lt"/>
              <a:buAutoNum type="arabicPeriod"/>
            </a:pPr>
            <a:r>
              <a:rPr lang="en-US" dirty="0"/>
              <a:t>Broadcast the block you have mined to the network. </a:t>
            </a:r>
          </a:p>
          <a:p>
            <a:pPr marL="457200" indent="-457200">
              <a:buFont typeface="+mj-lt"/>
              <a:buAutoNum type="arabicPeriod"/>
            </a:pPr>
            <a:r>
              <a:rPr lang="en-US" dirty="0"/>
              <a:t>Hope the network accepts your block. Then you can spend the block reward after </a:t>
            </a:r>
            <a:r>
              <a:rPr lang="en-US" dirty="0">
                <a:solidFill>
                  <a:srgbClr val="FF0000"/>
                </a:solidFill>
              </a:rPr>
              <a:t>100</a:t>
            </a:r>
            <a:r>
              <a:rPr lang="en-US" dirty="0"/>
              <a:t> blocks</a:t>
            </a:r>
          </a:p>
        </p:txBody>
      </p:sp>
    </p:spTree>
    <p:extLst>
      <p:ext uri="{BB962C8B-B14F-4D97-AF65-F5344CB8AC3E}">
        <p14:creationId xmlns:p14="http://schemas.microsoft.com/office/powerpoint/2010/main" val="85807042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of of Work</a:t>
            </a:r>
          </a:p>
        </p:txBody>
      </p:sp>
      <p:sp>
        <p:nvSpPr>
          <p:cNvPr id="4" name="Text Placeholder 3"/>
          <p:cNvSpPr>
            <a:spLocks noGrp="1"/>
          </p:cNvSpPr>
          <p:nvPr>
            <p:ph type="body" sz="quarter" idx="10"/>
          </p:nvPr>
        </p:nvSpPr>
        <p:spPr/>
        <p:txBody>
          <a:bodyPr/>
          <a:lstStyle/>
          <a:p>
            <a:r>
              <a:rPr lang="en-US" dirty="0"/>
              <a:t>A proof-of-work (POW) system (or protocol, or function) is an economic measure to deter denial of service attacks and other service abuses such as spam on a network by requiring some work from the service requester, usually meaning processing time by a computer. (Wikipedia)</a:t>
            </a:r>
          </a:p>
        </p:txBody>
      </p:sp>
      <p:sp>
        <p:nvSpPr>
          <p:cNvPr id="5" name="Text Placeholder 4"/>
          <p:cNvSpPr>
            <a:spLocks noGrp="1"/>
          </p:cNvSpPr>
          <p:nvPr>
            <p:ph type="body" sz="quarter" idx="11"/>
          </p:nvPr>
        </p:nvSpPr>
        <p:spPr/>
        <p:txBody>
          <a:bodyPr/>
          <a:lstStyle/>
          <a:p>
            <a:r>
              <a:rPr lang="en-US" dirty="0"/>
              <a:t>Bitcoin uses </a:t>
            </a:r>
            <a:r>
              <a:rPr lang="en-US" dirty="0" err="1">
                <a:solidFill>
                  <a:srgbClr val="FF0000"/>
                </a:solidFill>
              </a:rPr>
              <a:t>Hashcash</a:t>
            </a:r>
            <a:r>
              <a:rPr lang="en-US" dirty="0"/>
              <a:t> </a:t>
            </a:r>
            <a:r>
              <a:rPr lang="en-US" dirty="0" err="1"/>
              <a:t>PoW</a:t>
            </a:r>
            <a:endParaRPr lang="en-US" dirty="0"/>
          </a:p>
          <a:p>
            <a:r>
              <a:rPr lang="en-US" dirty="0"/>
              <a:t>In Bitcoin, the </a:t>
            </a:r>
            <a:r>
              <a:rPr lang="en-US" dirty="0" err="1"/>
              <a:t>PoW</a:t>
            </a:r>
            <a:r>
              <a:rPr lang="en-US" dirty="0"/>
              <a:t> is difficult (costly) to produce but easy to verify by others. It is a random process with very low (adjustable) probability (search within a uniform distribution, needle in a haystack)</a:t>
            </a:r>
          </a:p>
        </p:txBody>
      </p:sp>
      <p:sp>
        <p:nvSpPr>
          <p:cNvPr id="6" name="TextBox 5"/>
          <p:cNvSpPr txBox="1"/>
          <p:nvPr/>
        </p:nvSpPr>
        <p:spPr>
          <a:xfrm>
            <a:off x="7234132" y="5536642"/>
            <a:ext cx="4396373"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The Great Pyramid of Giza – 5,000,000,000 KGs</a:t>
            </a:r>
          </a:p>
        </p:txBody>
      </p:sp>
      <p:pic>
        <p:nvPicPr>
          <p:cNvPr id="1026" name="Picture 2" descr="Image result for pyramid khufu"/>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28268" y="3968180"/>
            <a:ext cx="3984648" cy="2613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569934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of of work</a:t>
            </a:r>
          </a:p>
        </p:txBody>
      </p:sp>
      <p:sp>
        <p:nvSpPr>
          <p:cNvPr id="3" name="Text Placeholder 2"/>
          <p:cNvSpPr>
            <a:spLocks noGrp="1"/>
          </p:cNvSpPr>
          <p:nvPr>
            <p:ph type="body" sz="quarter" idx="10"/>
          </p:nvPr>
        </p:nvSpPr>
        <p:spPr/>
        <p:txBody>
          <a:bodyPr/>
          <a:lstStyle/>
          <a:p>
            <a:r>
              <a:rPr lang="en-US" dirty="0"/>
              <a:t>The Proof of Work is a </a:t>
            </a:r>
            <a:r>
              <a:rPr lang="en-US" dirty="0">
                <a:solidFill>
                  <a:srgbClr val="FF0000"/>
                </a:solidFill>
              </a:rPr>
              <a:t>brute force </a:t>
            </a:r>
            <a:r>
              <a:rPr lang="en-US" dirty="0"/>
              <a:t>search for </a:t>
            </a:r>
            <a:r>
              <a:rPr lang="en-US" i="1" dirty="0" err="1"/>
              <a:t>nonces</a:t>
            </a:r>
            <a:r>
              <a:rPr lang="en-US" dirty="0"/>
              <a:t> so that the hash of the block header meets a certain target difficulty.</a:t>
            </a:r>
          </a:p>
          <a:p>
            <a:r>
              <a:rPr lang="en-US" dirty="0"/>
              <a:t>By expending resources (hardware, electricity, cooling) miners race to solve the hashing puzzle. The winner claims the bitcoin reward by announcing that they have performed the Proof of Work</a:t>
            </a:r>
          </a:p>
          <a:p>
            <a:r>
              <a:rPr lang="en-US" i="1" dirty="0">
                <a:solidFill>
                  <a:srgbClr val="FF0000"/>
                </a:solidFill>
              </a:rPr>
              <a:t>The cumulative Proof of Work in the </a:t>
            </a:r>
            <a:r>
              <a:rPr lang="en-US" i="1" dirty="0" err="1">
                <a:solidFill>
                  <a:srgbClr val="FF0000"/>
                </a:solidFill>
              </a:rPr>
              <a:t>blockchain</a:t>
            </a:r>
            <a:r>
              <a:rPr lang="en-US" i="1" dirty="0">
                <a:solidFill>
                  <a:srgbClr val="FF0000"/>
                </a:solidFill>
              </a:rPr>
              <a:t> is what secures the </a:t>
            </a:r>
            <a:r>
              <a:rPr lang="en-US" i="1" dirty="0" err="1">
                <a:solidFill>
                  <a:srgbClr val="FF0000"/>
                </a:solidFill>
              </a:rPr>
              <a:t>blockchain</a:t>
            </a:r>
            <a:r>
              <a:rPr lang="en-US" i="1" dirty="0">
                <a:solidFill>
                  <a:srgbClr val="FF0000"/>
                </a:solidFill>
              </a:rPr>
              <a:t> and makes it tamper proof and immutable</a:t>
            </a:r>
          </a:p>
          <a:p>
            <a:r>
              <a:rPr lang="en-US" dirty="0"/>
              <a:t>Current mining activity </a:t>
            </a:r>
            <a:r>
              <a:rPr lang="en-US" dirty="0">
                <a:hlinkClick r:id="rId2"/>
              </a:rPr>
              <a:t>https://blockchain.info/charts/hash-rate</a:t>
            </a:r>
            <a:r>
              <a:rPr lang="en-US" dirty="0"/>
              <a:t> </a:t>
            </a:r>
          </a:p>
          <a:p>
            <a:r>
              <a:rPr lang="en-US" dirty="0"/>
              <a:t>The target difficulty adjusts approx. every two weeks to reflect the total hashing power and the average time to mine the block to be 10 minutes</a:t>
            </a:r>
          </a:p>
        </p:txBody>
      </p:sp>
    </p:spTree>
    <p:extLst>
      <p:ext uri="{BB962C8B-B14F-4D97-AF65-F5344CB8AC3E}">
        <p14:creationId xmlns:p14="http://schemas.microsoft.com/office/powerpoint/2010/main" val="23574394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 Cryptography: Proof of Work</a:t>
            </a:r>
          </a:p>
        </p:txBody>
      </p:sp>
      <p:sp>
        <p:nvSpPr>
          <p:cNvPr id="3" name="Text Placeholder 2"/>
          <p:cNvSpPr>
            <a:spLocks noGrp="1"/>
          </p:cNvSpPr>
          <p:nvPr>
            <p:ph type="body" sz="quarter" idx="10"/>
          </p:nvPr>
        </p:nvSpPr>
        <p:spPr>
          <a:xfrm>
            <a:off x="324000" y="1691078"/>
            <a:ext cx="5874124" cy="4392043"/>
          </a:xfrm>
        </p:spPr>
        <p:txBody>
          <a:bodyPr/>
          <a:lstStyle/>
          <a:p>
            <a:r>
              <a:rPr lang="en-US" dirty="0">
                <a:hlinkClick r:id="rId3"/>
              </a:rPr>
              <a:t>https://anders.com/blockchain/hash.html</a:t>
            </a:r>
            <a:endParaRPr lang="en-US" dirty="0"/>
          </a:p>
          <a:p>
            <a:r>
              <a:rPr lang="en-US" dirty="0"/>
              <a:t>Data: </a:t>
            </a:r>
            <a:r>
              <a:rPr lang="en-US" i="1" dirty="0">
                <a:solidFill>
                  <a:srgbClr val="FF0000"/>
                </a:solidFill>
              </a:rPr>
              <a:t>Alice sends Bob 1 bitcoin</a:t>
            </a:r>
          </a:p>
          <a:p>
            <a:r>
              <a:rPr lang="en-US" dirty="0"/>
              <a:t>Now add a </a:t>
            </a:r>
            <a:r>
              <a:rPr lang="en-US" i="1" dirty="0"/>
              <a:t>nonce</a:t>
            </a:r>
            <a:r>
              <a:rPr lang="en-US" dirty="0"/>
              <a:t> (any integer) in the next line so that the Hash of the entire text “Alice sends Bob 1 bitcoin” and the nonce has exactly three leading 00s. </a:t>
            </a:r>
            <a:r>
              <a:rPr lang="en-US" dirty="0" err="1"/>
              <a:t>i.e</a:t>
            </a:r>
            <a:r>
              <a:rPr lang="en-US" dirty="0"/>
              <a:t> of the format. Iterate on the nonce.</a:t>
            </a:r>
          </a:p>
          <a:p>
            <a:r>
              <a:rPr lang="en-US" sz="2800" dirty="0">
                <a:solidFill>
                  <a:srgbClr val="FF0000"/>
                </a:solidFill>
              </a:rPr>
              <a:t>000</a:t>
            </a:r>
            <a:r>
              <a:rPr lang="en-US" sz="2800" dirty="0"/>
              <a:t>xxxxxxxxxxxxxxxxxxxxxxxxxx</a:t>
            </a:r>
          </a:p>
          <a:p>
            <a:r>
              <a:rPr lang="en-US" sz="2800" dirty="0"/>
              <a:t>Find a nonce that hashes to the required difficulty?</a:t>
            </a:r>
          </a:p>
          <a:p>
            <a:endParaRPr lang="en-US" dirty="0"/>
          </a:p>
        </p:txBody>
      </p:sp>
      <p:pic>
        <p:nvPicPr>
          <p:cNvPr id="1026" name="Picture 2" descr="Image result for bitcoin gold"/>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548150" y="2227084"/>
            <a:ext cx="5408890" cy="28775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6" name="Picture 8" descr="Related image"/>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143120" y="5895946"/>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Related image"/>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39104" y="5895946"/>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1805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Bitcoin work</a:t>
            </a:r>
          </a:p>
        </p:txBody>
      </p:sp>
      <p:graphicFrame>
        <p:nvGraphicFramePr>
          <p:cNvPr id="4" name="Diagram 3"/>
          <p:cNvGraphicFramePr/>
          <p:nvPr>
            <p:extLst>
              <p:ext uri="{D42A27DB-BD31-4B8C-83A1-F6EECF244321}">
                <p14:modId xmlns:p14="http://schemas.microsoft.com/office/powerpoint/2010/main" val="2836746745"/>
              </p:ext>
            </p:extLst>
          </p:nvPr>
        </p:nvGraphicFramePr>
        <p:xfrm>
          <a:off x="178905" y="1262270"/>
          <a:ext cx="11690296" cy="52975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038168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 (and warning)!</a:t>
            </a:r>
          </a:p>
        </p:txBody>
      </p:sp>
      <p:sp>
        <p:nvSpPr>
          <p:cNvPr id="3" name="Text Placeholder 2"/>
          <p:cNvSpPr>
            <a:spLocks noGrp="1"/>
          </p:cNvSpPr>
          <p:nvPr>
            <p:ph type="body" sz="quarter" idx="10"/>
          </p:nvPr>
        </p:nvSpPr>
        <p:spPr/>
        <p:txBody>
          <a:bodyPr>
            <a:normAutofit/>
          </a:bodyPr>
          <a:lstStyle/>
          <a:p>
            <a:r>
              <a:rPr lang="en-US" dirty="0"/>
              <a:t>This is a particularly complex workshop (if you are not familiar with blockchain technology)</a:t>
            </a:r>
          </a:p>
          <a:p>
            <a:r>
              <a:rPr lang="en-US" dirty="0"/>
              <a:t>The </a:t>
            </a:r>
            <a:r>
              <a:rPr lang="en-US" dirty="0">
                <a:solidFill>
                  <a:srgbClr val="FF0000"/>
                </a:solidFill>
              </a:rPr>
              <a:t>more</a:t>
            </a:r>
            <a:r>
              <a:rPr lang="en-US" dirty="0"/>
              <a:t> you dig, the </a:t>
            </a:r>
            <a:r>
              <a:rPr lang="en-US" dirty="0">
                <a:solidFill>
                  <a:srgbClr val="FF0000"/>
                </a:solidFill>
              </a:rPr>
              <a:t>more</a:t>
            </a:r>
            <a:r>
              <a:rPr lang="en-US" dirty="0"/>
              <a:t> you learn, the </a:t>
            </a:r>
            <a:r>
              <a:rPr lang="en-US" dirty="0">
                <a:solidFill>
                  <a:srgbClr val="FF0000"/>
                </a:solidFill>
              </a:rPr>
              <a:t>more</a:t>
            </a:r>
            <a:r>
              <a:rPr lang="en-US" dirty="0"/>
              <a:t> you discover, the </a:t>
            </a:r>
            <a:r>
              <a:rPr lang="en-US" dirty="0">
                <a:solidFill>
                  <a:srgbClr val="FF0000"/>
                </a:solidFill>
              </a:rPr>
              <a:t>more</a:t>
            </a:r>
            <a:r>
              <a:rPr lang="en-US" dirty="0"/>
              <a:t> complicated it gets, the </a:t>
            </a:r>
            <a:r>
              <a:rPr lang="en-US" dirty="0">
                <a:solidFill>
                  <a:srgbClr val="FF0000"/>
                </a:solidFill>
              </a:rPr>
              <a:t>more</a:t>
            </a:r>
            <a:r>
              <a:rPr lang="en-US" dirty="0"/>
              <a:t> </a:t>
            </a:r>
            <a:r>
              <a:rPr lang="en-US" i="1" dirty="0"/>
              <a:t>there is</a:t>
            </a:r>
            <a:r>
              <a:rPr lang="en-US" dirty="0"/>
              <a:t> to learn</a:t>
            </a:r>
          </a:p>
          <a:p>
            <a:r>
              <a:rPr lang="en-US" dirty="0"/>
              <a:t>Skepticism is natural for something as revolutionary as </a:t>
            </a:r>
            <a:r>
              <a:rPr lang="en-US" dirty="0">
                <a:solidFill>
                  <a:srgbClr val="FF0000"/>
                </a:solidFill>
              </a:rPr>
              <a:t>blockchain</a:t>
            </a:r>
          </a:p>
          <a:p>
            <a:r>
              <a:rPr lang="en-US" dirty="0"/>
              <a:t>Keep an open mind</a:t>
            </a:r>
          </a:p>
          <a:p>
            <a:r>
              <a:rPr lang="en-US" dirty="0"/>
              <a:t>There is a lot of tech jargon but those are good to know </a:t>
            </a:r>
          </a:p>
        </p:txBody>
      </p:sp>
      <p:sp>
        <p:nvSpPr>
          <p:cNvPr id="5" name="Text Placeholder 4"/>
          <p:cNvSpPr>
            <a:spLocks noGrp="1"/>
          </p:cNvSpPr>
          <p:nvPr>
            <p:ph type="body" sz="quarter" idx="11"/>
          </p:nvPr>
        </p:nvSpPr>
        <p:spPr/>
        <p:txBody>
          <a:bodyPr/>
          <a:lstStyle/>
          <a:p>
            <a:r>
              <a:rPr lang="en-US" dirty="0"/>
              <a:t>Hopefully we will reach the </a:t>
            </a:r>
            <a:r>
              <a:rPr lang="en-US" i="1" dirty="0">
                <a:solidFill>
                  <a:srgbClr val="FFFF00"/>
                </a:solidFill>
              </a:rPr>
              <a:t>‘a-ha’ </a:t>
            </a:r>
            <a:r>
              <a:rPr lang="en-US" dirty="0"/>
              <a:t>moment when it all comes together (perhaps on the last day of the workshop)</a:t>
            </a:r>
          </a:p>
          <a:p>
            <a:r>
              <a:rPr lang="en-US" dirty="0"/>
              <a:t>You will be thinking about this for days and months to come…It will consume you. I promise. </a:t>
            </a:r>
            <a:r>
              <a:rPr lang="en-US" dirty="0">
                <a:sym typeface="Wingdings" panose="05000000000000000000" pitchFamily="2" charset="2"/>
              </a:rPr>
              <a:t></a:t>
            </a:r>
          </a:p>
          <a:p>
            <a:r>
              <a:rPr lang="en-US" dirty="0">
                <a:solidFill>
                  <a:srgbClr val="FF0000"/>
                </a:solidFill>
                <a:sym typeface="Wingdings" panose="05000000000000000000" pitchFamily="2" charset="2"/>
              </a:rPr>
              <a:t>Do not</a:t>
            </a:r>
            <a:r>
              <a:rPr lang="en-US" dirty="0">
                <a:sym typeface="Wingdings" panose="05000000000000000000" pitchFamily="2" charset="2"/>
              </a:rPr>
              <a:t> dabble in </a:t>
            </a:r>
            <a:r>
              <a:rPr lang="en-US" dirty="0">
                <a:solidFill>
                  <a:srgbClr val="FFFF00"/>
                </a:solidFill>
                <a:sym typeface="Wingdings" panose="05000000000000000000" pitchFamily="2" charset="2"/>
              </a:rPr>
              <a:t>bitcoin</a:t>
            </a:r>
            <a:r>
              <a:rPr lang="en-US" dirty="0">
                <a:sym typeface="Wingdings" panose="05000000000000000000" pitchFamily="2" charset="2"/>
              </a:rPr>
              <a:t> unless you know what you are doing! </a:t>
            </a:r>
          </a:p>
          <a:p>
            <a:r>
              <a:rPr lang="en-US" sz="3200" u="sng" dirty="0">
                <a:solidFill>
                  <a:srgbClr val="FFFF00"/>
                </a:solidFill>
                <a:sym typeface="Wingdings" panose="05000000000000000000" pitchFamily="2" charset="2"/>
              </a:rPr>
              <a:t>There is no financial advice in this workshop.</a:t>
            </a:r>
            <a:endParaRPr lang="en-US" sz="3200" u="sng" dirty="0">
              <a:solidFill>
                <a:srgbClr val="FFFF00"/>
              </a:solidFill>
            </a:endParaRPr>
          </a:p>
          <a:p>
            <a:endParaRPr lang="en-US" dirty="0"/>
          </a:p>
        </p:txBody>
      </p:sp>
    </p:spTree>
    <p:extLst>
      <p:ext uri="{BB962C8B-B14F-4D97-AF65-F5344CB8AC3E}">
        <p14:creationId xmlns:p14="http://schemas.microsoft.com/office/powerpoint/2010/main" val="402190039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difficulty</a:t>
            </a:r>
          </a:p>
        </p:txBody>
      </p:sp>
      <p:sp>
        <p:nvSpPr>
          <p:cNvPr id="3" name="Content Placeholder 2"/>
          <p:cNvSpPr>
            <a:spLocks noGrp="1"/>
          </p:cNvSpPr>
          <p:nvPr>
            <p:ph type="body" sz="quarter" idx="10"/>
          </p:nvPr>
        </p:nvSpPr>
        <p:spPr/>
        <p:txBody>
          <a:bodyPr/>
          <a:lstStyle/>
          <a:p>
            <a:r>
              <a:rPr lang="en-US" dirty="0"/>
              <a:t>Puzzle with controllable level of difficulty</a:t>
            </a:r>
          </a:p>
          <a:p>
            <a:r>
              <a:rPr lang="en-US" dirty="0"/>
              <a:t>Puzzle takes a long time to solve but very little time to verify</a:t>
            </a:r>
          </a:p>
          <a:p>
            <a:endParaRPr lang="en-US" dirty="0"/>
          </a:p>
        </p:txBody>
      </p:sp>
      <p:pic>
        <p:nvPicPr>
          <p:cNvPr id="7" name="Picture 6"/>
          <p:cNvPicPr>
            <a:picLocks noChangeAspect="1"/>
          </p:cNvPicPr>
          <p:nvPr/>
        </p:nvPicPr>
        <p:blipFill>
          <a:blip r:embed="rId2"/>
          <a:stretch>
            <a:fillRect/>
          </a:stretch>
        </p:blipFill>
        <p:spPr>
          <a:xfrm>
            <a:off x="4850124" y="2740688"/>
            <a:ext cx="2071520" cy="2018078"/>
          </a:xfrm>
          <a:prstGeom prst="rect">
            <a:avLst/>
          </a:prstGeom>
        </p:spPr>
      </p:pic>
      <p:pic>
        <p:nvPicPr>
          <p:cNvPr id="8" name="Picture 7"/>
          <p:cNvPicPr>
            <a:picLocks noChangeAspect="1"/>
          </p:cNvPicPr>
          <p:nvPr/>
        </p:nvPicPr>
        <p:blipFill>
          <a:blip r:embed="rId3"/>
          <a:stretch>
            <a:fillRect/>
          </a:stretch>
        </p:blipFill>
        <p:spPr>
          <a:xfrm>
            <a:off x="7142860" y="1976662"/>
            <a:ext cx="4671050" cy="4341737"/>
          </a:xfrm>
          <a:prstGeom prst="rect">
            <a:avLst/>
          </a:prstGeom>
        </p:spPr>
      </p:pic>
    </p:spTree>
    <p:extLst>
      <p:ext uri="{BB962C8B-B14F-4D97-AF65-F5344CB8AC3E}">
        <p14:creationId xmlns:p14="http://schemas.microsoft.com/office/powerpoint/2010/main" val="70886432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difficulty</a:t>
            </a:r>
          </a:p>
        </p:txBody>
      </p:sp>
      <p:sp>
        <p:nvSpPr>
          <p:cNvPr id="3" name="Content Placeholder 2"/>
          <p:cNvSpPr>
            <a:spLocks noGrp="1"/>
          </p:cNvSpPr>
          <p:nvPr>
            <p:ph type="body" sz="quarter" idx="10"/>
          </p:nvPr>
        </p:nvSpPr>
        <p:spPr/>
        <p:txBody>
          <a:bodyPr/>
          <a:lstStyle/>
          <a:p>
            <a:r>
              <a:rPr lang="en-US" dirty="0"/>
              <a:t>Puzzle with controllable level of difficulty</a:t>
            </a:r>
          </a:p>
        </p:txBody>
      </p:sp>
      <p:pic>
        <p:nvPicPr>
          <p:cNvPr id="1026" name="Picture 2" descr="Image result for dart 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48090" y="3324812"/>
            <a:ext cx="1465582" cy="13915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dart 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8847" y="2021630"/>
            <a:ext cx="4525422" cy="4296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24921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difficulty</a:t>
            </a:r>
          </a:p>
        </p:txBody>
      </p:sp>
      <p:sp>
        <p:nvSpPr>
          <p:cNvPr id="3" name="Content Placeholder 2"/>
          <p:cNvSpPr>
            <a:spLocks noGrp="1"/>
          </p:cNvSpPr>
          <p:nvPr>
            <p:ph type="body" sz="quarter" idx="10"/>
          </p:nvPr>
        </p:nvSpPr>
        <p:spPr/>
        <p:txBody>
          <a:bodyPr/>
          <a:lstStyle/>
          <a:p>
            <a:r>
              <a:rPr lang="en-US" dirty="0"/>
              <a:t>Puzzle that does not become easier to solve through practice. No short cuts. No expertise. Only brute force. </a:t>
            </a:r>
          </a:p>
          <a:p>
            <a:r>
              <a:rPr lang="en-US" dirty="0"/>
              <a:t>Dart board in a dark room! And it moves every time you play a new game!!</a:t>
            </a:r>
          </a:p>
        </p:txBody>
      </p:sp>
      <p:pic>
        <p:nvPicPr>
          <p:cNvPr id="8" name="Picture 2" descr="Image result for dart bo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427" y="3436598"/>
            <a:ext cx="1465582" cy="139153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76" y="3165573"/>
            <a:ext cx="12194822" cy="369401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9" name="Picture 4" descr="avatar,fa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7952" y="5060851"/>
            <a:ext cx="1402768" cy="14027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dart"/>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5400000">
            <a:off x="9187894" y="4325866"/>
            <a:ext cx="2746049" cy="1829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347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3000" fill="hold"/>
                                        <p:tgtEl>
                                          <p:spTgt spid="9"/>
                                        </p:tgtEl>
                                        <p:attrNameLst>
                                          <p:attrName>ppt_x</p:attrName>
                                        </p:attrNameLst>
                                      </p:cBhvr>
                                      <p:tavLst>
                                        <p:tav tm="0">
                                          <p:val>
                                            <p:strVal val="1+#ppt_w/2"/>
                                          </p:val>
                                        </p:tav>
                                        <p:tav tm="100000">
                                          <p:val>
                                            <p:strVal val="#ppt_x"/>
                                          </p:val>
                                        </p:tav>
                                      </p:tavLst>
                                    </p:anim>
                                    <p:anim calcmode="lin" valueType="num">
                                      <p:cBhvr additive="base">
                                        <p:cTn id="12" dur="3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5"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2000"/>
                                        <p:tgtEl>
                                          <p:spTgt spid="2050"/>
                                        </p:tgtEl>
                                      </p:cBhvr>
                                    </p:animEffect>
                                    <p:anim calcmode="lin" valueType="num">
                                      <p:cBhvr>
                                        <p:cTn id="18" dur="2000" fill="hold"/>
                                        <p:tgtEl>
                                          <p:spTgt spid="2050"/>
                                        </p:tgtEl>
                                        <p:attrNameLst>
                                          <p:attrName>ppt_w</p:attrName>
                                        </p:attrNameLst>
                                      </p:cBhvr>
                                      <p:tavLst>
                                        <p:tav tm="0" fmla="#ppt_w*sin(2.5*pi*$)">
                                          <p:val>
                                            <p:fltVal val="0"/>
                                          </p:val>
                                        </p:tav>
                                        <p:tav tm="100000">
                                          <p:val>
                                            <p:fltVal val="1"/>
                                          </p:val>
                                        </p:tav>
                                      </p:tavLst>
                                    </p:anim>
                                    <p:anim calcmode="lin" valueType="num">
                                      <p:cBhvr>
                                        <p:cTn id="19" dur="2000" fill="hold"/>
                                        <p:tgtEl>
                                          <p:spTgt spid="205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A9D59-BC62-4F3E-BD9B-83100410FD64}"/>
              </a:ext>
            </a:extLst>
          </p:cNvPr>
          <p:cNvSpPr>
            <a:spLocks noGrp="1"/>
          </p:cNvSpPr>
          <p:nvPr>
            <p:ph type="title"/>
          </p:nvPr>
        </p:nvSpPr>
        <p:spPr/>
        <p:txBody>
          <a:bodyPr/>
          <a:lstStyle/>
          <a:p>
            <a:r>
              <a:rPr lang="en-US" dirty="0"/>
              <a:t>Why bitcoin needs mining?</a:t>
            </a:r>
          </a:p>
        </p:txBody>
      </p:sp>
      <p:sp>
        <p:nvSpPr>
          <p:cNvPr id="3" name="Content Placeholder 2">
            <a:extLst>
              <a:ext uri="{FF2B5EF4-FFF2-40B4-BE49-F238E27FC236}">
                <a16:creationId xmlns:a16="http://schemas.microsoft.com/office/drawing/2014/main" id="{F8B31130-FB8D-4983-B3C8-35AF6D2E7078}"/>
              </a:ext>
            </a:extLst>
          </p:cNvPr>
          <p:cNvSpPr>
            <a:spLocks noGrp="1"/>
          </p:cNvSpPr>
          <p:nvPr>
            <p:ph type="body" sz="quarter" idx="10"/>
          </p:nvPr>
        </p:nvSpPr>
        <p:spPr/>
        <p:txBody>
          <a:bodyPr>
            <a:normAutofit fontScale="77500" lnSpcReduction="20000"/>
          </a:bodyPr>
          <a:lstStyle/>
          <a:p>
            <a:r>
              <a:rPr lang="en-US" dirty="0"/>
              <a:t>Nakamoto wanted to create a peer-to-peer electronic cash system</a:t>
            </a:r>
          </a:p>
          <a:p>
            <a:r>
              <a:rPr lang="en-US" dirty="0"/>
              <a:t>He had to first bootstrap the coins (tokens)</a:t>
            </a:r>
          </a:p>
          <a:p>
            <a:r>
              <a:rPr lang="en-US" dirty="0"/>
              <a:t>Then prevent double spending</a:t>
            </a:r>
          </a:p>
          <a:p>
            <a:r>
              <a:rPr lang="en-US" dirty="0"/>
              <a:t>Make it very difficult to change the history of the ledger where transactions are recorded</a:t>
            </a:r>
          </a:p>
          <a:p>
            <a:r>
              <a:rPr lang="en-US" dirty="0"/>
              <a:t>Also solve the Byzantine General’s Problem  </a:t>
            </a:r>
            <a:r>
              <a:rPr lang="en-US" dirty="0">
                <a:hlinkClick r:id="rId2"/>
              </a:rPr>
              <a:t>https://en.wikipedia.org/wiki/Byzantine_fault_tolerance</a:t>
            </a:r>
            <a:r>
              <a:rPr lang="en-US" dirty="0"/>
              <a:t> (he solved it </a:t>
            </a:r>
            <a:r>
              <a:rPr lang="en-US" dirty="0" err="1"/>
              <a:t>it</a:t>
            </a:r>
            <a:r>
              <a:rPr lang="en-US" dirty="0"/>
              <a:t> in a narrow sense that works for bitcoin). He used the immutable blockchain with proof of work to do this</a:t>
            </a:r>
          </a:p>
          <a:p>
            <a:r>
              <a:rPr lang="en-US" dirty="0"/>
              <a:t>So mining does several things</a:t>
            </a:r>
          </a:p>
          <a:p>
            <a:pPr lvl="1"/>
            <a:r>
              <a:rPr lang="en-US" dirty="0"/>
              <a:t>Incentivizes node(s) to validate transactions and blocks by giving bitcoin as reward.</a:t>
            </a:r>
          </a:p>
          <a:p>
            <a:pPr lvl="1"/>
            <a:r>
              <a:rPr lang="en-US" dirty="0"/>
              <a:t>This is how the currency was bootstrapped</a:t>
            </a:r>
          </a:p>
          <a:p>
            <a:pPr lvl="1"/>
            <a:r>
              <a:rPr lang="en-US" dirty="0"/>
              <a:t>Allows those nodes to collect transaction fees in addition to block reward.</a:t>
            </a:r>
          </a:p>
          <a:p>
            <a:pPr lvl="1"/>
            <a:r>
              <a:rPr lang="en-US" dirty="0"/>
              <a:t>Proof of Work consensus makes the blockchain secure (practically immutable).</a:t>
            </a:r>
          </a:p>
          <a:p>
            <a:pPr lvl="1"/>
            <a:r>
              <a:rPr lang="en-US" dirty="0"/>
              <a:t>Solves the Byzantine General’s Problem (in a narrow sense).</a:t>
            </a:r>
          </a:p>
          <a:p>
            <a:endParaRPr lang="en-US" dirty="0"/>
          </a:p>
          <a:p>
            <a:endParaRPr lang="en-US" dirty="0"/>
          </a:p>
        </p:txBody>
      </p:sp>
    </p:spTree>
    <p:extLst>
      <p:ext uri="{BB962C8B-B14F-4D97-AF65-F5344CB8AC3E}">
        <p14:creationId xmlns:p14="http://schemas.microsoft.com/office/powerpoint/2010/main" val="419562427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proof of work?</a:t>
            </a:r>
          </a:p>
        </p:txBody>
      </p:sp>
      <p:sp>
        <p:nvSpPr>
          <p:cNvPr id="3" name="Content Placeholder 2"/>
          <p:cNvSpPr>
            <a:spLocks noGrp="1"/>
          </p:cNvSpPr>
          <p:nvPr>
            <p:ph type="body" sz="quarter" idx="10"/>
          </p:nvPr>
        </p:nvSpPr>
        <p:spPr/>
        <p:txBody>
          <a:bodyPr>
            <a:normAutofit fontScale="92500" lnSpcReduction="20000"/>
          </a:bodyPr>
          <a:lstStyle/>
          <a:p>
            <a:r>
              <a:rPr lang="en-US" dirty="0"/>
              <a:t>Mining is the process of computing Proof of Work</a:t>
            </a:r>
          </a:p>
          <a:p>
            <a:r>
              <a:rPr lang="en-US" dirty="0"/>
              <a:t>A miner validates transactions, prioritizes them, computes the </a:t>
            </a:r>
            <a:r>
              <a:rPr lang="en-US" dirty="0" err="1"/>
              <a:t>merkle</a:t>
            </a:r>
            <a:r>
              <a:rPr lang="en-US" dirty="0"/>
              <a:t> root, build a block header and then builds the block.</a:t>
            </a:r>
          </a:p>
          <a:p>
            <a:r>
              <a:rPr lang="en-US" dirty="0"/>
              <a:t>Now the miner solves a math puzzle. The solution to the puzzle is called Proof of Work</a:t>
            </a:r>
          </a:p>
          <a:p>
            <a:r>
              <a:rPr lang="en-US" dirty="0"/>
              <a:t>Proof of Work: Find a nonce such that the hash of the block header concatenated with the nonce meets a difficulty target</a:t>
            </a:r>
          </a:p>
          <a:p>
            <a:r>
              <a:rPr lang="en-US" dirty="0"/>
              <a:t>E.g. if the block header is Hello. The difficulty target is measured as the number of leading zeroes in the hash, lets say 4.</a:t>
            </a:r>
          </a:p>
        </p:txBody>
      </p:sp>
      <p:sp>
        <p:nvSpPr>
          <p:cNvPr id="7" name="Content Placeholder 6">
            <a:extLst>
              <a:ext uri="{FF2B5EF4-FFF2-40B4-BE49-F238E27FC236}">
                <a16:creationId xmlns:a16="http://schemas.microsoft.com/office/drawing/2014/main" id="{C313D5B3-A628-4380-924A-286B373FCE4E}"/>
              </a:ext>
            </a:extLst>
          </p:cNvPr>
          <p:cNvSpPr>
            <a:spLocks noGrp="1"/>
          </p:cNvSpPr>
          <p:nvPr>
            <p:ph type="body" sz="quarter" idx="11"/>
          </p:nvPr>
        </p:nvSpPr>
        <p:spPr/>
        <p:txBody>
          <a:bodyPr>
            <a:normAutofit fontScale="85000" lnSpcReduction="20000"/>
          </a:bodyPr>
          <a:lstStyle/>
          <a:p>
            <a:r>
              <a:rPr lang="en-US" dirty="0"/>
              <a:t>Then try numbers (</a:t>
            </a:r>
            <a:r>
              <a:rPr lang="en-US" dirty="0" err="1"/>
              <a:t>nonces</a:t>
            </a:r>
            <a:r>
              <a:rPr lang="en-US" dirty="0"/>
              <a:t>) such that </a:t>
            </a:r>
          </a:p>
          <a:p>
            <a:pPr lvl="1"/>
            <a:r>
              <a:rPr lang="en-US" dirty="0"/>
              <a:t>SHA256(SHA256(0Hello)) = 1023xxxxxx (not accurate, just examples)</a:t>
            </a:r>
          </a:p>
          <a:p>
            <a:pPr lvl="1"/>
            <a:r>
              <a:rPr lang="en-US" dirty="0"/>
              <a:t>SHA256(SHA256(1Hello)) = 2537xxxxxx</a:t>
            </a:r>
          </a:p>
          <a:p>
            <a:pPr lvl="1"/>
            <a:r>
              <a:rPr lang="en-US" dirty="0"/>
              <a:t>SHA256(SHA256(2Hello)) = ad52xxxxxx</a:t>
            </a:r>
          </a:p>
          <a:p>
            <a:pPr lvl="1"/>
            <a:r>
              <a:rPr lang="en-US" dirty="0"/>
              <a:t>SHA256(SHA256(3Hello)) = 45ouxxxxxx</a:t>
            </a:r>
          </a:p>
          <a:p>
            <a:pPr lvl="1"/>
            <a:r>
              <a:rPr lang="en-US" dirty="0"/>
              <a:t>SHA256(SHA256(4Hello)) = 86acxxxxxx</a:t>
            </a:r>
          </a:p>
          <a:p>
            <a:pPr lvl="1"/>
            <a:r>
              <a:rPr lang="en-US" dirty="0"/>
              <a:t>SHA256(SHA256(5Hello)) = b356xxxxxx</a:t>
            </a:r>
          </a:p>
          <a:p>
            <a:pPr lvl="1"/>
            <a:r>
              <a:rPr lang="en-US" dirty="0"/>
              <a:t>SHA256(SHA256(6Hello)) = 0120xxxxxx</a:t>
            </a:r>
          </a:p>
          <a:p>
            <a:pPr lvl="1"/>
            <a:r>
              <a:rPr lang="en-US" dirty="0"/>
              <a:t>…</a:t>
            </a:r>
          </a:p>
          <a:p>
            <a:pPr lvl="1"/>
            <a:r>
              <a:rPr lang="en-US" b="1" dirty="0">
                <a:solidFill>
                  <a:srgbClr val="FF0000"/>
                </a:solidFill>
              </a:rPr>
              <a:t>SHA256(SHA256(132904Hello)) = 0000xxxxxx</a:t>
            </a:r>
          </a:p>
          <a:p>
            <a:r>
              <a:rPr lang="en-US" dirty="0">
                <a:solidFill>
                  <a:schemeClr val="tx1"/>
                </a:solidFill>
              </a:rPr>
              <a:t>The nonce is 132904! </a:t>
            </a:r>
          </a:p>
          <a:p>
            <a:r>
              <a:rPr lang="en-US" dirty="0">
                <a:solidFill>
                  <a:schemeClr val="tx1"/>
                </a:solidFill>
              </a:rPr>
              <a:t>Anyone can verify that the double hash of 132904Hello is 0000xxxx</a:t>
            </a:r>
          </a:p>
        </p:txBody>
      </p:sp>
    </p:spTree>
    <p:extLst>
      <p:ext uri="{BB962C8B-B14F-4D97-AF65-F5344CB8AC3E}">
        <p14:creationId xmlns:p14="http://schemas.microsoft.com/office/powerpoint/2010/main" val="295905760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reward</a:t>
            </a:r>
          </a:p>
        </p:txBody>
      </p:sp>
      <p:sp>
        <p:nvSpPr>
          <p:cNvPr id="3" name="Content Placeholder 2"/>
          <p:cNvSpPr>
            <a:spLocks noGrp="1"/>
          </p:cNvSpPr>
          <p:nvPr>
            <p:ph type="body" sz="quarter" idx="10"/>
          </p:nvPr>
        </p:nvSpPr>
        <p:spPr/>
        <p:txBody>
          <a:bodyPr>
            <a:normAutofit/>
          </a:bodyPr>
          <a:lstStyle/>
          <a:p>
            <a:r>
              <a:rPr lang="en-US" dirty="0"/>
              <a:t>The miner adds a transaction called the </a:t>
            </a:r>
            <a:r>
              <a:rPr lang="en-US" dirty="0" err="1"/>
              <a:t>coinbase</a:t>
            </a:r>
            <a:r>
              <a:rPr lang="en-US" dirty="0"/>
              <a:t> transaction to the block before mining.</a:t>
            </a:r>
          </a:p>
          <a:p>
            <a:r>
              <a:rPr lang="en-US" dirty="0"/>
              <a:t>When the miner finds the nonce that makes the block header hash to the target difficulty, this transaction asserts that the miner received the block reward.</a:t>
            </a:r>
          </a:p>
          <a:p>
            <a:r>
              <a:rPr lang="en-US" dirty="0"/>
              <a:t>The current block reward is 12.5 BTC</a:t>
            </a:r>
          </a:p>
          <a:p>
            <a:r>
              <a:rPr lang="en-US" dirty="0"/>
              <a:t>This reward can be spent by the miner only after 100 blocks have been added past the current block</a:t>
            </a:r>
          </a:p>
        </p:txBody>
      </p:sp>
      <p:sp>
        <p:nvSpPr>
          <p:cNvPr id="4" name="Content Placeholder 3"/>
          <p:cNvSpPr>
            <a:spLocks noGrp="1"/>
          </p:cNvSpPr>
          <p:nvPr>
            <p:ph type="body" sz="quarter" idx="11"/>
          </p:nvPr>
        </p:nvSpPr>
        <p:spPr/>
        <p:txBody>
          <a:bodyPr>
            <a:normAutofit/>
          </a:bodyPr>
          <a:lstStyle/>
          <a:p>
            <a:r>
              <a:rPr lang="en-US" dirty="0"/>
              <a:t>Let’s go to blockchain.info and find a </a:t>
            </a:r>
            <a:r>
              <a:rPr lang="en-US" dirty="0" err="1"/>
              <a:t>coinbase</a:t>
            </a:r>
            <a:r>
              <a:rPr lang="en-US" dirty="0"/>
              <a:t> transaction</a:t>
            </a:r>
          </a:p>
          <a:p>
            <a:r>
              <a:rPr lang="en-US" dirty="0"/>
              <a:t>What is the sender of the reward?</a:t>
            </a:r>
          </a:p>
          <a:p>
            <a:r>
              <a:rPr lang="en-US" dirty="0"/>
              <a:t>Who is the receiver of the reward?</a:t>
            </a:r>
          </a:p>
          <a:p>
            <a:r>
              <a:rPr lang="en-US" dirty="0"/>
              <a:t>Find the free bytes where the miner can write anything</a:t>
            </a:r>
          </a:p>
          <a:p>
            <a:endParaRPr lang="en-US" dirty="0"/>
          </a:p>
        </p:txBody>
      </p:sp>
    </p:spTree>
    <p:extLst>
      <p:ext uri="{BB962C8B-B14F-4D97-AF65-F5344CB8AC3E}">
        <p14:creationId xmlns:p14="http://schemas.microsoft.com/office/powerpoint/2010/main" val="113065312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some </a:t>
            </a:r>
            <a:r>
              <a:rPr lang="en-US" dirty="0" err="1"/>
              <a:t>nonces</a:t>
            </a:r>
            <a:endParaRPr lang="en-US" dirty="0"/>
          </a:p>
        </p:txBody>
      </p:sp>
      <p:sp>
        <p:nvSpPr>
          <p:cNvPr id="3" name="Content Placeholder 2"/>
          <p:cNvSpPr>
            <a:spLocks noGrp="1"/>
          </p:cNvSpPr>
          <p:nvPr>
            <p:ph type="body" sz="quarter" idx="10"/>
          </p:nvPr>
        </p:nvSpPr>
        <p:spPr/>
        <p:txBody>
          <a:bodyPr>
            <a:normAutofit/>
          </a:bodyPr>
          <a:lstStyle/>
          <a:p>
            <a:r>
              <a:rPr lang="en-US" dirty="0"/>
              <a:t>Go to </a:t>
            </a:r>
            <a:r>
              <a:rPr lang="en-US" dirty="0">
                <a:hlinkClick r:id="rId2"/>
              </a:rPr>
              <a:t>https://anders.com/blockchain/block.html</a:t>
            </a:r>
            <a:endParaRPr lang="en-US" dirty="0"/>
          </a:p>
          <a:p>
            <a:r>
              <a:rPr lang="en-US" dirty="0"/>
              <a:t>Add the data: </a:t>
            </a:r>
            <a:r>
              <a:rPr lang="en-US" i="1" dirty="0"/>
              <a:t>Alice sends Bob 2 BTC</a:t>
            </a:r>
          </a:p>
          <a:p>
            <a:r>
              <a:rPr lang="en-US" dirty="0"/>
              <a:t>What nonce makes the hash with three leading zeroes? 000xxxxxxxxxx</a:t>
            </a:r>
          </a:p>
        </p:txBody>
      </p:sp>
      <p:sp>
        <p:nvSpPr>
          <p:cNvPr id="4" name="Content Placeholder 3"/>
          <p:cNvSpPr>
            <a:spLocks noGrp="1"/>
          </p:cNvSpPr>
          <p:nvPr>
            <p:ph type="body" sz="quarter" idx="11"/>
          </p:nvPr>
        </p:nvSpPr>
        <p:spPr/>
        <p:txBody>
          <a:bodyPr>
            <a:normAutofit/>
          </a:bodyPr>
          <a:lstStyle/>
          <a:p>
            <a:r>
              <a:rPr lang="en-US" dirty="0"/>
              <a:t>Go to </a:t>
            </a:r>
            <a:r>
              <a:rPr lang="en-US" dirty="0">
                <a:hlinkClick r:id="rId3"/>
              </a:rPr>
              <a:t>https://anders.com/blockchain/blockchain.html</a:t>
            </a:r>
            <a:endParaRPr lang="en-US" dirty="0"/>
          </a:p>
          <a:p>
            <a:r>
              <a:rPr lang="en-US" dirty="0"/>
              <a:t>Add </a:t>
            </a:r>
            <a:r>
              <a:rPr lang="en-US" i="1" dirty="0"/>
              <a:t>Alice sends Bob 2 BTC</a:t>
            </a:r>
            <a:r>
              <a:rPr lang="en-US" dirty="0"/>
              <a:t> to the first block. </a:t>
            </a:r>
          </a:p>
          <a:p>
            <a:r>
              <a:rPr lang="en-US" dirty="0"/>
              <a:t>What do you notice?</a:t>
            </a:r>
          </a:p>
          <a:p>
            <a:r>
              <a:rPr lang="en-US" dirty="0"/>
              <a:t>Mine the first block.</a:t>
            </a:r>
          </a:p>
          <a:p>
            <a:r>
              <a:rPr lang="en-US" dirty="0"/>
              <a:t>Mine all other blocks.</a:t>
            </a:r>
          </a:p>
        </p:txBody>
      </p:sp>
    </p:spTree>
    <p:extLst>
      <p:ext uri="{BB962C8B-B14F-4D97-AF65-F5344CB8AC3E}">
        <p14:creationId xmlns:p14="http://schemas.microsoft.com/office/powerpoint/2010/main" val="300569538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nce</a:t>
            </a:r>
          </a:p>
        </p:txBody>
      </p:sp>
      <p:sp>
        <p:nvSpPr>
          <p:cNvPr id="3" name="Content Placeholder 2"/>
          <p:cNvSpPr>
            <a:spLocks noGrp="1"/>
          </p:cNvSpPr>
          <p:nvPr>
            <p:ph type="body" sz="quarter" idx="10"/>
          </p:nvPr>
        </p:nvSpPr>
        <p:spPr/>
        <p:txBody>
          <a:bodyPr>
            <a:normAutofit fontScale="85000" lnSpcReduction="10000"/>
          </a:bodyPr>
          <a:lstStyle/>
          <a:p>
            <a:r>
              <a:rPr lang="en-US" dirty="0"/>
              <a:t>The block nonce is part of the block header.</a:t>
            </a:r>
          </a:p>
          <a:p>
            <a:r>
              <a:rPr lang="en-US" dirty="0"/>
              <a:t>Let’s go to blockchain.info and find a block nonce</a:t>
            </a:r>
          </a:p>
          <a:p>
            <a:r>
              <a:rPr lang="en-US" dirty="0"/>
              <a:t>The block nonce is a 4 byte  (32bit) field.  So the </a:t>
            </a:r>
            <a:r>
              <a:rPr lang="en-US" dirty="0" err="1"/>
              <a:t>nonces</a:t>
            </a:r>
            <a:r>
              <a:rPr lang="en-US" dirty="0"/>
              <a:t> range from 0 to 2^32 -1 </a:t>
            </a:r>
          </a:p>
          <a:p>
            <a:r>
              <a:rPr lang="en-US" dirty="0"/>
              <a:t>i.e. 0 to 4,294,967,295</a:t>
            </a:r>
          </a:p>
          <a:p>
            <a:r>
              <a:rPr lang="en-US" dirty="0"/>
              <a:t>So if none of those </a:t>
            </a:r>
            <a:r>
              <a:rPr lang="en-US" dirty="0" err="1"/>
              <a:t>nonces</a:t>
            </a:r>
            <a:r>
              <a:rPr lang="en-US" dirty="0"/>
              <a:t> lead to the target of the block header hash, the miner can rely on the timestamp (which would have changed by this time)</a:t>
            </a:r>
          </a:p>
          <a:p>
            <a:r>
              <a:rPr lang="en-US" dirty="0"/>
              <a:t>If the timestamp has not changed, then the miner goes to the </a:t>
            </a:r>
            <a:r>
              <a:rPr lang="en-US" dirty="0" err="1"/>
              <a:t>coinbase</a:t>
            </a:r>
            <a:r>
              <a:rPr lang="en-US" dirty="0"/>
              <a:t> transaction and changes the free bytes there. Some people call this </a:t>
            </a:r>
            <a:r>
              <a:rPr lang="en-US" dirty="0" err="1"/>
              <a:t>extranonce</a:t>
            </a:r>
            <a:r>
              <a:rPr lang="en-US" dirty="0"/>
              <a:t>.</a:t>
            </a:r>
          </a:p>
        </p:txBody>
      </p:sp>
      <p:sp>
        <p:nvSpPr>
          <p:cNvPr id="4" name="Content Placeholder 3"/>
          <p:cNvSpPr>
            <a:spLocks noGrp="1"/>
          </p:cNvSpPr>
          <p:nvPr>
            <p:ph type="body" sz="quarter" idx="11"/>
          </p:nvPr>
        </p:nvSpPr>
        <p:spPr/>
        <p:txBody>
          <a:bodyPr>
            <a:normAutofit fontScale="92500" lnSpcReduction="10000"/>
          </a:bodyPr>
          <a:lstStyle/>
          <a:p>
            <a:r>
              <a:rPr lang="en-US" dirty="0"/>
              <a:t>So there are two loops that the miners use for finding the nonce</a:t>
            </a:r>
          </a:p>
          <a:p>
            <a:endParaRPr lang="en-US" dirty="0"/>
          </a:p>
          <a:p>
            <a:r>
              <a:rPr lang="en-US" i="1" dirty="0"/>
              <a:t>For loop for block nonce</a:t>
            </a:r>
          </a:p>
          <a:p>
            <a:r>
              <a:rPr lang="en-US" i="1" dirty="0"/>
              <a:t>	(</a:t>
            </a:r>
          </a:p>
          <a:p>
            <a:r>
              <a:rPr lang="en-US" i="1" dirty="0"/>
              <a:t>	For loop for </a:t>
            </a:r>
            <a:r>
              <a:rPr lang="en-US" i="1" dirty="0" err="1"/>
              <a:t>coinbase</a:t>
            </a:r>
            <a:r>
              <a:rPr lang="en-US" i="1" dirty="0"/>
              <a:t> free text</a:t>
            </a:r>
          </a:p>
          <a:p>
            <a:r>
              <a:rPr lang="en-US" i="1" dirty="0"/>
              <a:t>	)</a:t>
            </a:r>
          </a:p>
          <a:p>
            <a:r>
              <a:rPr lang="en-US" dirty="0"/>
              <a:t>How miners run these loops or divide them among mining pools is up to them.</a:t>
            </a:r>
          </a:p>
        </p:txBody>
      </p:sp>
    </p:spTree>
    <p:extLst>
      <p:ext uri="{BB962C8B-B14F-4D97-AF65-F5344CB8AC3E}">
        <p14:creationId xmlns:p14="http://schemas.microsoft.com/office/powerpoint/2010/main" val="69989362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details</a:t>
            </a:r>
          </a:p>
        </p:txBody>
      </p:sp>
      <p:sp>
        <p:nvSpPr>
          <p:cNvPr id="3" name="Content Placeholder 2"/>
          <p:cNvSpPr>
            <a:spLocks noGrp="1"/>
          </p:cNvSpPr>
          <p:nvPr>
            <p:ph type="body" sz="quarter" idx="10"/>
          </p:nvPr>
        </p:nvSpPr>
        <p:spPr/>
        <p:txBody>
          <a:bodyPr/>
          <a:lstStyle/>
          <a:p>
            <a:r>
              <a:rPr lang="en-US" dirty="0"/>
              <a:t>In bitcoin, the Proof of Work is targeted to take about 10 minutes on average to find.</a:t>
            </a:r>
          </a:p>
          <a:p>
            <a:r>
              <a:rPr lang="en-US" dirty="0"/>
              <a:t>Any node can set up their node to mine for the nonce</a:t>
            </a:r>
          </a:p>
          <a:p>
            <a:r>
              <a:rPr lang="en-US" dirty="0"/>
              <a:t>As many nodes join the mining activity, the nonce is found earlier than 10 minutes</a:t>
            </a:r>
          </a:p>
          <a:p>
            <a:r>
              <a:rPr lang="en-US" dirty="0"/>
              <a:t>The difficulty of the nonce (number of leading zeroes) adjusts every 2016 blocks.</a:t>
            </a:r>
          </a:p>
          <a:p>
            <a:r>
              <a:rPr lang="en-US" dirty="0"/>
              <a:t>It is a 256 bit number, expressed in</a:t>
            </a:r>
          </a:p>
          <a:p>
            <a:r>
              <a:rPr lang="en-US" b="1" dirty="0" err="1">
                <a:solidFill>
                  <a:srgbClr val="FF0000"/>
                </a:solidFill>
              </a:rPr>
              <a:t>next_difficulty</a:t>
            </a:r>
            <a:r>
              <a:rPr lang="en-US" b="1" dirty="0">
                <a:solidFill>
                  <a:srgbClr val="FF0000"/>
                </a:solidFill>
              </a:rPr>
              <a:t> = (</a:t>
            </a:r>
            <a:r>
              <a:rPr lang="en-US" b="1" dirty="0" err="1">
                <a:solidFill>
                  <a:srgbClr val="FF0000"/>
                </a:solidFill>
              </a:rPr>
              <a:t>previous_difficulty</a:t>
            </a:r>
            <a:r>
              <a:rPr lang="en-US" b="1" dirty="0">
                <a:solidFill>
                  <a:srgbClr val="FF0000"/>
                </a:solidFill>
              </a:rPr>
              <a:t> * 2016 * 10 minutes) / (time to mine last 2016 blocks)</a:t>
            </a:r>
          </a:p>
          <a:p>
            <a:endParaRPr lang="en-US" dirty="0"/>
          </a:p>
        </p:txBody>
      </p:sp>
    </p:spTree>
    <p:extLst>
      <p:ext uri="{BB962C8B-B14F-4D97-AF65-F5344CB8AC3E}">
        <p14:creationId xmlns:p14="http://schemas.microsoft.com/office/powerpoint/2010/main" val="39869616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ng Difficulty</a:t>
            </a:r>
          </a:p>
        </p:txBody>
      </p:sp>
      <p:sp>
        <p:nvSpPr>
          <p:cNvPr id="3" name="Content Placeholder 2"/>
          <p:cNvSpPr>
            <a:spLocks noGrp="1"/>
          </p:cNvSpPr>
          <p:nvPr>
            <p:ph type="body" sz="quarter" idx="10"/>
          </p:nvPr>
        </p:nvSpPr>
        <p:spPr/>
        <p:txBody>
          <a:bodyPr>
            <a:normAutofit fontScale="92500" lnSpcReduction="10000"/>
          </a:bodyPr>
          <a:lstStyle/>
          <a:p>
            <a:r>
              <a:rPr lang="en-US" dirty="0"/>
              <a:t>If a difficulty is more than 4 times the previous 2 week difficulty, then the new difficulty is limited to 4</a:t>
            </a:r>
          </a:p>
          <a:p>
            <a:r>
              <a:rPr lang="en-US" dirty="0"/>
              <a:t>The current difficulty is 1,196,792,694,099</a:t>
            </a:r>
          </a:p>
          <a:p>
            <a:r>
              <a:rPr lang="en-US" dirty="0"/>
              <a:t>Current hash rate 8,566,975,802 GH/s = 8,566,975,802,000,000,000 Hashes/s</a:t>
            </a:r>
          </a:p>
          <a:p>
            <a:r>
              <a:rPr lang="en-US" dirty="0"/>
              <a:t>E.g. This laptop has </a:t>
            </a:r>
            <a:r>
              <a:rPr lang="en-US" dirty="0" err="1"/>
              <a:t>nvidia</a:t>
            </a:r>
            <a:r>
              <a:rPr lang="en-US" dirty="0"/>
              <a:t> GPU 11,000,000 Hashes/s</a:t>
            </a:r>
          </a:p>
          <a:p>
            <a:r>
              <a:rPr lang="en-US" dirty="0">
                <a:hlinkClick r:id="rId2"/>
              </a:rPr>
              <a:t>https://bitcoinwisdom.com/bitcoin/difficulty</a:t>
            </a:r>
            <a:endParaRPr lang="en-US" dirty="0"/>
          </a:p>
          <a:p>
            <a:r>
              <a:rPr lang="en-US" dirty="0">
                <a:hlinkClick r:id="rId3"/>
              </a:rPr>
              <a:t>https://blockchain.info/charts/difficulty</a:t>
            </a:r>
            <a:r>
              <a:rPr lang="en-US" dirty="0"/>
              <a:t> </a:t>
            </a:r>
          </a:p>
          <a:p>
            <a:endParaRPr lang="en-US" dirty="0"/>
          </a:p>
          <a:p>
            <a:endParaRPr lang="en-US" dirty="0"/>
          </a:p>
        </p:txBody>
      </p:sp>
      <p:pic>
        <p:nvPicPr>
          <p:cNvPr id="8" name="Picture 7"/>
          <p:cNvPicPr>
            <a:picLocks noChangeAspect="1"/>
          </p:cNvPicPr>
          <p:nvPr/>
        </p:nvPicPr>
        <p:blipFill rotWithShape="1">
          <a:blip r:embed="rId4"/>
          <a:srcRect t="9105"/>
          <a:stretch/>
        </p:blipFill>
        <p:spPr>
          <a:xfrm>
            <a:off x="5600700" y="2417462"/>
            <a:ext cx="6035239" cy="2942874"/>
          </a:xfrm>
          <a:prstGeom prst="rect">
            <a:avLst/>
          </a:prstGeom>
        </p:spPr>
      </p:pic>
    </p:spTree>
    <p:extLst>
      <p:ext uri="{BB962C8B-B14F-4D97-AF65-F5344CB8AC3E}">
        <p14:creationId xmlns:p14="http://schemas.microsoft.com/office/powerpoint/2010/main" val="3325612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4000" y="319313"/>
            <a:ext cx="11545200" cy="756175"/>
          </a:xfrm>
        </p:spPr>
        <p:txBody>
          <a:bodyPr/>
          <a:lstStyle/>
          <a:p>
            <a:r>
              <a:rPr lang="en-US" altLang="zh-HK" sz="3200" dirty="0"/>
              <a:t>AGENDA</a:t>
            </a:r>
            <a:endParaRPr lang="zh-HK" altLang="en-US" sz="3200" dirty="0"/>
          </a:p>
        </p:txBody>
      </p:sp>
      <p:sp>
        <p:nvSpPr>
          <p:cNvPr id="4" name="Text Placeholder 3"/>
          <p:cNvSpPr>
            <a:spLocks noGrp="1"/>
          </p:cNvSpPr>
          <p:nvPr>
            <p:ph type="body" sz="quarter" idx="10"/>
          </p:nvPr>
        </p:nvSpPr>
        <p:spPr>
          <a:xfrm>
            <a:off x="2287192" y="1342080"/>
            <a:ext cx="2543046" cy="4648494"/>
          </a:xfrm>
        </p:spPr>
        <p:txBody>
          <a:bodyPr/>
          <a:lstStyle/>
          <a:p>
            <a:pPr lvl="0">
              <a:spcBef>
                <a:spcPts val="0"/>
              </a:spcBef>
              <a:buClrTx/>
              <a:buSzTx/>
            </a:pPr>
            <a:r>
              <a:rPr lang="en-US" altLang="zh-HK" sz="1800" kern="0" dirty="0">
                <a:solidFill>
                  <a:srgbClr val="FF0000"/>
                </a:solidFill>
                <a:ea typeface="Arial Unicode MS" pitchFamily="34" charset="-128"/>
                <a:cs typeface="Arial Unicode MS" pitchFamily="34" charset="-128"/>
              </a:rPr>
              <a:t>Day 1</a:t>
            </a:r>
          </a:p>
          <a:p>
            <a:pPr lvl="0">
              <a:spcBef>
                <a:spcPts val="0"/>
              </a:spcBef>
              <a:buClrTx/>
              <a:buSzTx/>
            </a:pPr>
            <a:endParaRPr lang="en-US" altLang="zh-HK" sz="1600" kern="0" dirty="0">
              <a:ea typeface="Arial Unicode MS" pitchFamily="34" charset="-128"/>
              <a:cs typeface="Arial Unicode MS" pitchFamily="34" charset="-128"/>
            </a:endParaRPr>
          </a:p>
          <a:p>
            <a:pPr lvl="0">
              <a:spcBef>
                <a:spcPts val="0"/>
              </a:spcBef>
              <a:buClrTx/>
              <a:buSzTx/>
            </a:pPr>
            <a:r>
              <a:rPr lang="en-US" altLang="zh-HK" sz="1600" kern="0" dirty="0">
                <a:solidFill>
                  <a:srgbClr val="FFFF00"/>
                </a:solidFill>
                <a:ea typeface="Arial Unicode MS" pitchFamily="34" charset="-128"/>
                <a:cs typeface="Arial Unicode MS" pitchFamily="34" charset="-128"/>
              </a:rPr>
              <a:t>Preliminaries</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Reading assignment</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Today’s actors</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A story about money</a:t>
            </a:r>
          </a:p>
          <a:p>
            <a:pPr lvl="0">
              <a:spcBef>
                <a:spcPts val="0"/>
              </a:spcBef>
              <a:buClrTx/>
              <a:buSzTx/>
            </a:pPr>
            <a:endParaRPr lang="en-US" altLang="zh-HK" sz="1400" kern="0" dirty="0">
              <a:ea typeface="Arial Unicode MS" pitchFamily="34" charset="-128"/>
              <a:cs typeface="Arial Unicode MS" pitchFamily="34" charset="-128"/>
            </a:endParaRPr>
          </a:p>
          <a:p>
            <a:pPr lvl="0">
              <a:spcBef>
                <a:spcPts val="0"/>
              </a:spcBef>
              <a:buClrTx/>
              <a:buSzTx/>
            </a:pPr>
            <a:r>
              <a:rPr lang="en-US" altLang="zh-HK" sz="1600" kern="0" dirty="0">
                <a:solidFill>
                  <a:srgbClr val="FFFF00"/>
                </a:solidFill>
                <a:ea typeface="Arial Unicode MS" pitchFamily="34" charset="-128"/>
                <a:cs typeface="Arial Unicode MS" pitchFamily="34" charset="-128"/>
              </a:rPr>
              <a:t>Blockchain Basics</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What is Blockchain?</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Why Blockchain?</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Where is Blockchain?</a:t>
            </a:r>
          </a:p>
          <a:p>
            <a:pPr marL="285750" lvl="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How does it work?</a:t>
            </a:r>
          </a:p>
          <a:p>
            <a:r>
              <a:rPr lang="en-US" sz="1600" kern="0" dirty="0">
                <a:solidFill>
                  <a:srgbClr val="FFFF00"/>
                </a:solidFill>
                <a:ea typeface="Arial Unicode MS" pitchFamily="34" charset="-128"/>
                <a:cs typeface="Arial Unicode MS" pitchFamily="34" charset="-128"/>
              </a:rPr>
              <a:t>Bitcoin</a:t>
            </a:r>
            <a:endParaRPr lang="en-US" sz="1400" kern="0" dirty="0">
              <a:solidFill>
                <a:srgbClr val="FFFF00"/>
              </a:solidFill>
              <a:ea typeface="Arial Unicode MS" pitchFamily="34" charset="-128"/>
              <a:cs typeface="Arial Unicode MS" pitchFamily="34" charset="-128"/>
            </a:endParaRP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What is cryptocurrency?</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Distributed/decentralized</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Consensus building</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Mining</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Bitcoin economy</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Storing and using bitcoin</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Security</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Regulations</a:t>
            </a:r>
          </a:p>
          <a:p>
            <a:pPr marL="285750" indent="-285750">
              <a:spcBef>
                <a:spcPts val="0"/>
              </a:spcBef>
              <a:buFont typeface="Arial" panose="020B0604020202020204" pitchFamily="34" charset="0"/>
              <a:buChar char="•"/>
            </a:pPr>
            <a:r>
              <a:rPr lang="en-US" sz="1400" b="0" kern="0" dirty="0">
                <a:ea typeface="Arial Unicode MS" pitchFamily="34" charset="-128"/>
                <a:cs typeface="Arial Unicode MS" pitchFamily="34" charset="-128"/>
              </a:rPr>
              <a:t>Challenges</a:t>
            </a:r>
          </a:p>
          <a:p>
            <a:pPr marL="285750" lvl="0" indent="-285750">
              <a:spcBef>
                <a:spcPts val="0"/>
              </a:spcBef>
              <a:buSzTx/>
              <a:buFont typeface="Arial" panose="020B0604020202020204" pitchFamily="34" charset="0"/>
              <a:buChar char="•"/>
            </a:pPr>
            <a:endParaRPr lang="en-US" altLang="zh-HK" sz="1400" b="0" kern="0" dirty="0">
              <a:ea typeface="Arial Unicode MS" pitchFamily="34" charset="-128"/>
              <a:cs typeface="Arial Unicode MS" pitchFamily="34" charset="-128"/>
            </a:endParaRPr>
          </a:p>
          <a:p>
            <a:pPr lvl="0">
              <a:lnSpc>
                <a:spcPct val="150000"/>
              </a:lnSpc>
              <a:spcBef>
                <a:spcPts val="0"/>
              </a:spcBef>
              <a:buClrTx/>
              <a:buSzTx/>
            </a:pPr>
            <a:endParaRPr lang="en-US" altLang="zh-HK" sz="1600" kern="0" dirty="0">
              <a:ea typeface="Arial Unicode MS" pitchFamily="34" charset="-128"/>
              <a:cs typeface="Arial Unicode MS" pitchFamily="34" charset="-128"/>
            </a:endParaRPr>
          </a:p>
          <a:p>
            <a:pPr lvl="0">
              <a:lnSpc>
                <a:spcPct val="150000"/>
              </a:lnSpc>
              <a:spcBef>
                <a:spcPts val="0"/>
              </a:spcBef>
              <a:buClrTx/>
              <a:buSzTx/>
            </a:pPr>
            <a:endParaRPr lang="en-US" altLang="zh-HK" sz="1600" b="0" kern="0" dirty="0">
              <a:ea typeface="Arial Unicode MS" pitchFamily="34" charset="-128"/>
              <a:cs typeface="Arial Unicode MS" pitchFamily="34" charset="-128"/>
            </a:endParaRPr>
          </a:p>
          <a:p>
            <a:pPr marL="342900" indent="-342900">
              <a:lnSpc>
                <a:spcPct val="150000"/>
              </a:lnSpc>
              <a:buFont typeface="Arial" panose="020B0604020202020204" pitchFamily="34" charset="0"/>
              <a:buChar char="•"/>
            </a:pPr>
            <a:endParaRPr lang="zh-HK" altLang="en-US" sz="1600" dirty="0"/>
          </a:p>
        </p:txBody>
      </p:sp>
      <p:sp>
        <p:nvSpPr>
          <p:cNvPr id="6" name="Text Placeholder 5"/>
          <p:cNvSpPr>
            <a:spLocks noGrp="1"/>
          </p:cNvSpPr>
          <p:nvPr>
            <p:ph type="body" sz="quarter" idx="12"/>
          </p:nvPr>
        </p:nvSpPr>
        <p:spPr>
          <a:xfrm>
            <a:off x="6317941" y="1278072"/>
            <a:ext cx="4865171" cy="4648494"/>
          </a:xfrm>
        </p:spPr>
        <p:txBody>
          <a:bodyPr/>
          <a:lstStyle/>
          <a:p>
            <a:pPr>
              <a:spcBef>
                <a:spcPts val="0"/>
              </a:spcBef>
              <a:buClrTx/>
              <a:buSzTx/>
            </a:pPr>
            <a:r>
              <a:rPr lang="en-US" sz="1800" kern="0" dirty="0">
                <a:solidFill>
                  <a:srgbClr val="FF0000"/>
                </a:solidFill>
                <a:ea typeface="Arial Unicode MS" pitchFamily="34" charset="-128"/>
                <a:cs typeface="Arial Unicode MS" pitchFamily="34" charset="-128"/>
              </a:rPr>
              <a:t>Day 2</a:t>
            </a:r>
          </a:p>
          <a:p>
            <a:pPr>
              <a:spcBef>
                <a:spcPts val="0"/>
              </a:spcBef>
              <a:buClrTx/>
              <a:buSzTx/>
            </a:pPr>
            <a:endParaRPr lang="en-US" sz="1800" kern="0" dirty="0">
              <a:solidFill>
                <a:srgbClr val="FF0000"/>
              </a:solidFill>
              <a:ea typeface="Arial Unicode MS" pitchFamily="34" charset="-128"/>
              <a:cs typeface="Arial Unicode MS" pitchFamily="34" charset="-128"/>
            </a:endParaRPr>
          </a:p>
          <a:p>
            <a:pPr>
              <a:spcBef>
                <a:spcPts val="600"/>
              </a:spcBef>
            </a:pPr>
            <a:r>
              <a:rPr lang="en-US" altLang="zh-HK" sz="1600" kern="0" dirty="0">
                <a:solidFill>
                  <a:srgbClr val="FFFF00"/>
                </a:solidFill>
                <a:ea typeface="Arial Unicode MS" pitchFamily="34" charset="-128"/>
                <a:cs typeface="Arial Unicode MS" pitchFamily="34" charset="-128"/>
              </a:rPr>
              <a:t>Blockchains beyond bitcoin</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How else can blockchains be used</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Where can we use blockchain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A flowchart for choosing blockchain instead of centralized databases</a:t>
            </a:r>
          </a:p>
          <a:p>
            <a:pPr>
              <a:spcBef>
                <a:spcPts val="0"/>
              </a:spcBef>
              <a:buSzTx/>
            </a:pPr>
            <a:endParaRPr lang="en-US" altLang="zh-HK" sz="1400" b="0" kern="0" dirty="0">
              <a:ea typeface="Arial Unicode MS" pitchFamily="34" charset="-128"/>
              <a:cs typeface="Arial Unicode MS" pitchFamily="34" charset="-128"/>
            </a:endParaRPr>
          </a:p>
          <a:p>
            <a:pPr>
              <a:spcBef>
                <a:spcPts val="600"/>
              </a:spcBef>
            </a:pPr>
            <a:r>
              <a:rPr lang="en-US" altLang="zh-HK" sz="1600" kern="0" dirty="0">
                <a:solidFill>
                  <a:srgbClr val="FFFF00"/>
                </a:solidFill>
                <a:ea typeface="Arial Unicode MS" pitchFamily="34" charset="-128"/>
                <a:cs typeface="Arial Unicode MS" pitchFamily="34" charset="-128"/>
              </a:rPr>
              <a:t>Ethereum: Smart Contract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Global decentralized computer</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Ethereum blockchain</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Smart contract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Decentralized Applications (</a:t>
            </a:r>
            <a:r>
              <a:rPr lang="en-US" altLang="zh-HK" sz="1400" b="0" kern="0" dirty="0" err="1">
                <a:ea typeface="Arial Unicode MS" pitchFamily="34" charset="-128"/>
                <a:cs typeface="Arial Unicode MS" pitchFamily="34" charset="-128"/>
              </a:rPr>
              <a:t>Dapps</a:t>
            </a:r>
            <a:r>
              <a:rPr lang="en-US" altLang="zh-HK" sz="1400" b="0" kern="0" dirty="0">
                <a:ea typeface="Arial Unicode MS" pitchFamily="34" charset="-128"/>
                <a:cs typeface="Arial Unicode MS" pitchFamily="34" charset="-128"/>
              </a:rPr>
              <a:t>)</a:t>
            </a:r>
          </a:p>
          <a:p>
            <a:pPr>
              <a:spcBef>
                <a:spcPts val="0"/>
              </a:spcBef>
              <a:buSzTx/>
            </a:pPr>
            <a:endParaRPr lang="en-US" altLang="zh-HK" sz="1400" b="0" kern="0" dirty="0">
              <a:ea typeface="Arial Unicode MS" pitchFamily="34" charset="-128"/>
              <a:cs typeface="Arial Unicode MS" pitchFamily="34" charset="-128"/>
            </a:endParaRPr>
          </a:p>
          <a:p>
            <a:pPr>
              <a:spcBef>
                <a:spcPts val="600"/>
              </a:spcBef>
            </a:pPr>
            <a:r>
              <a:rPr lang="en-US" altLang="zh-HK" sz="1600" kern="0" dirty="0">
                <a:solidFill>
                  <a:srgbClr val="FFFF00"/>
                </a:solidFill>
                <a:ea typeface="Arial Unicode MS" pitchFamily="34" charset="-128"/>
                <a:cs typeface="Arial Unicode MS" pitchFamily="34" charset="-128"/>
              </a:rPr>
              <a:t>Blockchain Use Case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Public, private, hybrid, consortia blockchain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Hyperledger project</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SAP Leonardo Blockchain</a:t>
            </a:r>
          </a:p>
          <a:p>
            <a:pPr>
              <a:spcBef>
                <a:spcPts val="0"/>
              </a:spcBef>
              <a:buSzTx/>
            </a:pPr>
            <a:endParaRPr lang="en-US" altLang="zh-HK" sz="1400" b="0" kern="0" dirty="0">
              <a:ea typeface="Arial Unicode MS" pitchFamily="34" charset="-128"/>
              <a:cs typeface="Arial Unicode MS" pitchFamily="34" charset="-128"/>
            </a:endParaRPr>
          </a:p>
          <a:p>
            <a:pPr>
              <a:spcBef>
                <a:spcPts val="600"/>
              </a:spcBef>
            </a:pPr>
            <a:r>
              <a:rPr lang="en-US" altLang="zh-HK" sz="1600" kern="0" dirty="0">
                <a:solidFill>
                  <a:srgbClr val="FFFF00"/>
                </a:solidFill>
                <a:ea typeface="Arial Unicode MS" pitchFamily="34" charset="-128"/>
                <a:cs typeface="Arial Unicode MS" pitchFamily="34" charset="-128"/>
              </a:rPr>
              <a:t>Final Thought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Learn more</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Additional resources</a:t>
            </a:r>
          </a:p>
          <a:p>
            <a:pPr marL="285750" indent="-285750">
              <a:spcBef>
                <a:spcPts val="0"/>
              </a:spcBef>
              <a:buSzTx/>
              <a:buFont typeface="Arial" panose="020B0604020202020204" pitchFamily="34" charset="0"/>
              <a:buChar char="•"/>
            </a:pPr>
            <a:r>
              <a:rPr lang="en-US" altLang="zh-HK" sz="1400" b="0" kern="0" dirty="0">
                <a:ea typeface="Arial Unicode MS" pitchFamily="34" charset="-128"/>
                <a:cs typeface="Arial Unicode MS" pitchFamily="34" charset="-128"/>
              </a:rPr>
              <a:t>Wrap up</a:t>
            </a:r>
          </a:p>
          <a:p>
            <a:pPr>
              <a:spcBef>
                <a:spcPts val="600"/>
              </a:spcBef>
            </a:pPr>
            <a:endParaRPr lang="en-US" altLang="zh-HK" sz="1600" b="0" kern="0" dirty="0">
              <a:ea typeface="Arial Unicode MS" pitchFamily="34" charset="-128"/>
              <a:cs typeface="Arial Unicode MS" pitchFamily="34" charset="-128"/>
            </a:endParaRPr>
          </a:p>
          <a:p>
            <a:pPr>
              <a:spcBef>
                <a:spcPts val="600"/>
              </a:spcBef>
            </a:pPr>
            <a:endParaRPr lang="en-US" sz="1600" b="0" kern="0" dirty="0">
              <a:ea typeface="Arial Unicode MS" pitchFamily="34" charset="-128"/>
              <a:cs typeface="Arial Unicode MS" pitchFamily="34" charset="-128"/>
            </a:endParaRPr>
          </a:p>
          <a:p>
            <a:pPr marL="285750" indent="-285750">
              <a:spcBef>
                <a:spcPts val="1200"/>
              </a:spcBef>
              <a:buFont typeface="Arial" panose="020B0604020202020204" pitchFamily="34" charset="0"/>
              <a:buChar char="•"/>
            </a:pPr>
            <a:endParaRPr lang="en-US" sz="1600" b="0" kern="0" dirty="0">
              <a:ea typeface="Arial Unicode MS" pitchFamily="34" charset="-128"/>
              <a:cs typeface="Arial Unicode MS" pitchFamily="34" charset="-128"/>
            </a:endParaRPr>
          </a:p>
          <a:p>
            <a:pPr marL="285750" indent="-285750">
              <a:spcBef>
                <a:spcPts val="1200"/>
              </a:spcBef>
              <a:buFont typeface="Arial" panose="020B0604020202020204" pitchFamily="34" charset="0"/>
              <a:buChar char="•"/>
            </a:pPr>
            <a:endParaRPr lang="en-US" sz="1600" kern="0" dirty="0">
              <a:ea typeface="Arial Unicode MS" pitchFamily="34" charset="-128"/>
              <a:cs typeface="Arial Unicode MS" pitchFamily="34" charset="-128"/>
            </a:endParaRPr>
          </a:p>
          <a:p>
            <a:pPr marL="285750" indent="-285750">
              <a:buFont typeface="Arial" panose="020B0604020202020204" pitchFamily="34" charset="0"/>
              <a:buChar char="•"/>
            </a:pPr>
            <a:endParaRPr lang="en-US" sz="1600" kern="0" dirty="0">
              <a:ea typeface="Arial Unicode MS" pitchFamily="34" charset="-128"/>
              <a:cs typeface="Arial Unicode MS" pitchFamily="34" charset="-128"/>
            </a:endParaRPr>
          </a:p>
        </p:txBody>
      </p:sp>
      <p:cxnSp>
        <p:nvCxnSpPr>
          <p:cNvPr id="8" name="Straight Connector 7"/>
          <p:cNvCxnSpPr/>
          <p:nvPr/>
        </p:nvCxnSpPr>
        <p:spPr>
          <a:xfrm>
            <a:off x="324000" y="1738489"/>
            <a:ext cx="11545200" cy="225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83614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Image result for dart board">
            <a:extLst>
              <a:ext uri="{FF2B5EF4-FFF2-40B4-BE49-F238E27FC236}">
                <a16:creationId xmlns:a16="http://schemas.microsoft.com/office/drawing/2014/main" id="{4401487A-EB05-45AF-BA4D-1FE1362AF6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7320" y="2153282"/>
            <a:ext cx="1370568" cy="13013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EEC42DA-F300-472C-A368-BA133882428C}"/>
              </a:ext>
            </a:extLst>
          </p:cNvPr>
          <p:cNvSpPr>
            <a:spLocks noGrp="1"/>
          </p:cNvSpPr>
          <p:nvPr>
            <p:ph type="title"/>
          </p:nvPr>
        </p:nvSpPr>
        <p:spPr/>
        <p:txBody>
          <a:bodyPr/>
          <a:lstStyle/>
          <a:p>
            <a:r>
              <a:rPr lang="en-US" dirty="0"/>
              <a:t>Difficulty,  target, bits</a:t>
            </a:r>
          </a:p>
        </p:txBody>
      </p:sp>
      <p:sp>
        <p:nvSpPr>
          <p:cNvPr id="3" name="Content Placeholder 2">
            <a:extLst>
              <a:ext uri="{FF2B5EF4-FFF2-40B4-BE49-F238E27FC236}">
                <a16:creationId xmlns:a16="http://schemas.microsoft.com/office/drawing/2014/main" id="{387AD6BA-CE7A-46CE-BDED-EBA8E744D389}"/>
              </a:ext>
            </a:extLst>
          </p:cNvPr>
          <p:cNvSpPr>
            <a:spLocks noGrp="1"/>
          </p:cNvSpPr>
          <p:nvPr>
            <p:ph type="body" sz="quarter" idx="10"/>
          </p:nvPr>
        </p:nvSpPr>
        <p:spPr/>
        <p:txBody>
          <a:bodyPr>
            <a:normAutofit/>
          </a:bodyPr>
          <a:lstStyle/>
          <a:p>
            <a:r>
              <a:rPr lang="en-US" dirty="0"/>
              <a:t>There are three measures that are related to how difficulty it is to find the proof of work (nonce)</a:t>
            </a:r>
          </a:p>
          <a:p>
            <a:r>
              <a:rPr lang="en-US" dirty="0"/>
              <a:t>Target is a 256 bit number (32 bytes). So a target at any point of time has a number of leading zeroes. The hash should be smaller than the current target. i.e. the dart should hit within a circle smaller than the bull’s eye.</a:t>
            </a:r>
          </a:p>
          <a:p>
            <a:r>
              <a:rPr lang="en-US" dirty="0"/>
              <a:t>E.g. what is the probability of finding a hash when the target has only one leading zero?</a:t>
            </a:r>
          </a:p>
          <a:p>
            <a:endParaRPr lang="en-US" dirty="0"/>
          </a:p>
          <a:p>
            <a:endParaRPr lang="en-US" dirty="0"/>
          </a:p>
        </p:txBody>
      </p:sp>
      <p:sp>
        <p:nvSpPr>
          <p:cNvPr id="11" name="Text Placeholder 10"/>
          <p:cNvSpPr>
            <a:spLocks noGrp="1"/>
          </p:cNvSpPr>
          <p:nvPr>
            <p:ph type="body" sz="quarter" idx="11"/>
          </p:nvPr>
        </p:nvSpPr>
        <p:spPr/>
        <p:txBody>
          <a:bodyPr/>
          <a:lstStyle/>
          <a:p>
            <a:endParaRPr lang="en-US"/>
          </a:p>
        </p:txBody>
      </p:sp>
      <p:graphicFrame>
        <p:nvGraphicFramePr>
          <p:cNvPr id="7" name="Diagram 6">
            <a:extLst>
              <a:ext uri="{FF2B5EF4-FFF2-40B4-BE49-F238E27FC236}">
                <a16:creationId xmlns:a16="http://schemas.microsoft.com/office/drawing/2014/main" id="{395F3558-1E52-46EB-A14E-DB3D48702863}"/>
              </a:ext>
            </a:extLst>
          </p:cNvPr>
          <p:cNvGraphicFramePr/>
          <p:nvPr>
            <p:extLst/>
          </p:nvPr>
        </p:nvGraphicFramePr>
        <p:xfrm>
          <a:off x="5843528" y="1975190"/>
          <a:ext cx="5918367" cy="397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1">
            <a:extLst>
              <a:ext uri="{FF2B5EF4-FFF2-40B4-BE49-F238E27FC236}">
                <a16:creationId xmlns:a16="http://schemas.microsoft.com/office/drawing/2014/main" id="{C3651550-D4AF-4E9D-A6B6-19D2D2429F59}"/>
              </a:ext>
            </a:extLst>
          </p:cNvPr>
          <p:cNvSpPr>
            <a:spLocks noChangeArrowheads="1"/>
          </p:cNvSpPr>
          <p:nvPr/>
        </p:nvSpPr>
        <p:spPr bwMode="auto">
          <a:xfrm>
            <a:off x="772796" y="5360594"/>
            <a:ext cx="4779000" cy="1185190"/>
          </a:xfrm>
          <a:prstGeom prst="rect">
            <a:avLst/>
          </a:prstGeom>
          <a:solidFill>
            <a:srgbClr val="F6F8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61" tIns="0" rIns="91461" bIns="76194" numCol="1" anchor="ctr" anchorCtr="0" compatLnSpc="1">
            <a:prstTxWarp prst="textNoShape">
              <a:avLst/>
            </a:prstTxWarp>
            <a:spAutoFit/>
          </a:bodyPr>
          <a:lstStyle/>
          <a:p>
            <a:pPr defTabSz="914583" eaLnBrk="0" fontAlgn="base" hangingPunct="0">
              <a:spcBef>
                <a:spcPct val="0"/>
              </a:spcBef>
              <a:spcAft>
                <a:spcPct val="0"/>
              </a:spcAft>
            </a:pPr>
            <a:r>
              <a:rPr lang="en-US" altLang="en-US" sz="2400">
                <a:solidFill>
                  <a:srgbClr val="FF0000"/>
                </a:solidFill>
                <a:latin typeface="SFMono-Regular"/>
              </a:rPr>
              <a:t>New Target = Old Target * (Actual Time of Last 2016 Blocks / 20160 minutes)</a:t>
            </a:r>
            <a:r>
              <a:rPr lang="en-US" altLang="en-US" sz="1200">
                <a:solidFill>
                  <a:srgbClr val="FF0000"/>
                </a:solidFill>
              </a:rPr>
              <a:t> </a:t>
            </a:r>
            <a:endParaRPr lang="en-US" altLang="en-US" sz="5401">
              <a:solidFill>
                <a:srgbClr val="FF0000"/>
              </a:solidFill>
              <a:latin typeface="Arial" panose="020B0604020202020204" pitchFamily="34" charset="0"/>
            </a:endParaRPr>
          </a:p>
        </p:txBody>
      </p:sp>
      <p:sp>
        <p:nvSpPr>
          <p:cNvPr id="10" name="Rectangle 9">
            <a:extLst>
              <a:ext uri="{FF2B5EF4-FFF2-40B4-BE49-F238E27FC236}">
                <a16:creationId xmlns:a16="http://schemas.microsoft.com/office/drawing/2014/main" id="{1FD0CABC-423A-40EA-8507-1C49591E9D90}"/>
              </a:ext>
            </a:extLst>
          </p:cNvPr>
          <p:cNvSpPr/>
          <p:nvPr/>
        </p:nvSpPr>
        <p:spPr>
          <a:xfrm>
            <a:off x="10263821" y="2517129"/>
            <a:ext cx="1526733" cy="415594"/>
          </a:xfrm>
          <a:prstGeom prst="rect">
            <a:avLst/>
          </a:prstGeom>
        </p:spPr>
        <p:txBody>
          <a:bodyPr wrap="none">
            <a:spAutoFit/>
          </a:bodyPr>
          <a:lstStyle/>
          <a:p>
            <a:r>
              <a:rPr lang="en-US" b="1" dirty="0">
                <a:latin typeface="Helvetica Neue"/>
              </a:rPr>
              <a:t>402713392</a:t>
            </a:r>
            <a:endParaRPr lang="en-US" b="1" dirty="0"/>
          </a:p>
        </p:txBody>
      </p:sp>
      <p:sp>
        <p:nvSpPr>
          <p:cNvPr id="12" name="Rectangle 11">
            <a:extLst>
              <a:ext uri="{FF2B5EF4-FFF2-40B4-BE49-F238E27FC236}">
                <a16:creationId xmlns:a16="http://schemas.microsoft.com/office/drawing/2014/main" id="{752BF43D-2438-4A0D-ACB3-654245A6B964}"/>
              </a:ext>
            </a:extLst>
          </p:cNvPr>
          <p:cNvSpPr/>
          <p:nvPr/>
        </p:nvSpPr>
        <p:spPr>
          <a:xfrm>
            <a:off x="6996441" y="5842607"/>
            <a:ext cx="3898123" cy="415594"/>
          </a:xfrm>
          <a:prstGeom prst="rect">
            <a:avLst/>
          </a:prstGeom>
        </p:spPr>
        <p:txBody>
          <a:bodyPr wrap="none">
            <a:spAutoFit/>
          </a:bodyPr>
          <a:lstStyle/>
          <a:p>
            <a:r>
              <a:rPr lang="en-US" dirty="0"/>
              <a:t>	1,196,792,694,098.79</a:t>
            </a:r>
          </a:p>
        </p:txBody>
      </p:sp>
    </p:spTree>
    <p:extLst>
      <p:ext uri="{BB962C8B-B14F-4D97-AF65-F5344CB8AC3E}">
        <p14:creationId xmlns:p14="http://schemas.microsoft.com/office/powerpoint/2010/main" val="30864107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rget</a:t>
            </a:r>
          </a:p>
        </p:txBody>
      </p:sp>
      <p:sp>
        <p:nvSpPr>
          <p:cNvPr id="3" name="Content Placeholder 2"/>
          <p:cNvSpPr>
            <a:spLocks noGrp="1"/>
          </p:cNvSpPr>
          <p:nvPr>
            <p:ph type="body" sz="quarter" idx="10"/>
          </p:nvPr>
        </p:nvSpPr>
        <p:spPr/>
        <p:txBody>
          <a:bodyPr>
            <a:noAutofit/>
          </a:bodyPr>
          <a:lstStyle/>
          <a:p>
            <a:r>
              <a:rPr lang="en-US" sz="1600" dirty="0"/>
              <a:t>The maximum target (largest bulls eye) is shown below ( in 32 bytes, two characters is one byte)</a:t>
            </a:r>
          </a:p>
          <a:p>
            <a:r>
              <a:rPr lang="en-US" sz="1600" i="1" dirty="0"/>
              <a:t>0x00000000FFFFFFFFFFFFFFFFFFFFFFFFFFFFFFFFFFFFFFFFFFFFFFFFFFFFFFFF</a:t>
            </a:r>
          </a:p>
          <a:p>
            <a:r>
              <a:rPr lang="en-US" sz="1600" i="1" dirty="0"/>
              <a:t>Note: The 0x at the beginning is a flag to tell you that this is a hex number.</a:t>
            </a:r>
          </a:p>
          <a:p>
            <a:r>
              <a:rPr lang="en-US" sz="1600" dirty="0"/>
              <a:t>The target is stored as a floating-point type. So it is truncated to </a:t>
            </a:r>
          </a:p>
          <a:p>
            <a:r>
              <a:rPr lang="en-US" sz="1600" i="1" dirty="0"/>
              <a:t>0x00000000FFFF0000000000000000000000000000000000000000000000000000</a:t>
            </a:r>
          </a:p>
          <a:p>
            <a:r>
              <a:rPr lang="en-US" sz="1600" dirty="0"/>
              <a:t>Convert to bits (remove the 0x first</a:t>
            </a:r>
            <a:r>
              <a:rPr lang="en-US" sz="1600" i="1" dirty="0"/>
              <a:t>) . </a:t>
            </a:r>
          </a:p>
          <a:p>
            <a:r>
              <a:rPr lang="en-US" sz="1600" i="1" dirty="0"/>
              <a:t>00000000000000000000000000000000011111111111111110000000000000000000000000000000000000000000000000000000000000000000000000000000000000000000000000000000000000000000000000000000000000000000000000000000000000000000000000000000000000000000000000000000000000000</a:t>
            </a:r>
          </a:p>
          <a:p>
            <a:r>
              <a:rPr lang="en-US" sz="1600" dirty="0"/>
              <a:t>This binary number is 256 bits long.  </a:t>
            </a:r>
          </a:p>
          <a:p>
            <a:r>
              <a:rPr lang="en-US" sz="1600" dirty="0"/>
              <a:t>This target was used by </a:t>
            </a:r>
            <a:r>
              <a:rPr lang="en-US" sz="1600" dirty="0" err="1"/>
              <a:t>Nakamoto</a:t>
            </a:r>
            <a:r>
              <a:rPr lang="en-US" sz="1600" dirty="0"/>
              <a:t> in the genesis block (so as not to mine the block too fast)</a:t>
            </a:r>
          </a:p>
          <a:p>
            <a:r>
              <a:rPr lang="en-US" sz="1600" dirty="0"/>
              <a:t>The maximum target corresponds to the lowest difficulty of 1</a:t>
            </a:r>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5279081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iculty,  target, bits</a:t>
            </a:r>
          </a:p>
        </p:txBody>
      </p:sp>
      <p:sp>
        <p:nvSpPr>
          <p:cNvPr id="3" name="Content Placeholder 2"/>
          <p:cNvSpPr>
            <a:spLocks noGrp="1"/>
          </p:cNvSpPr>
          <p:nvPr>
            <p:ph type="body" sz="quarter" idx="10"/>
          </p:nvPr>
        </p:nvSpPr>
        <p:spPr/>
        <p:txBody>
          <a:bodyPr>
            <a:normAutofit fontScale="92500" lnSpcReduction="20000"/>
          </a:bodyPr>
          <a:lstStyle/>
          <a:p>
            <a:r>
              <a:rPr lang="en-US" dirty="0"/>
              <a:t>Difficulty is a measure of how difficult the proof of work is for the current block (in the current 2 week period)</a:t>
            </a:r>
          </a:p>
          <a:p>
            <a:r>
              <a:rPr lang="en-US" dirty="0"/>
              <a:t>Blocks must find a has that is smaller than the current target</a:t>
            </a:r>
          </a:p>
          <a:p>
            <a:r>
              <a:rPr lang="en-US" dirty="0"/>
              <a:t>Difficulty is inversely proportional to target</a:t>
            </a:r>
          </a:p>
          <a:p>
            <a:r>
              <a:rPr lang="en-US" dirty="0"/>
              <a:t>The difficulty of the genesis block, by definition, equal to 1</a:t>
            </a:r>
          </a:p>
          <a:p>
            <a:r>
              <a:rPr lang="en-US" dirty="0">
                <a:solidFill>
                  <a:srgbClr val="FF0000"/>
                </a:solidFill>
              </a:rPr>
              <a:t>Difficulty = Maximum Target/Current Target</a:t>
            </a:r>
          </a:p>
          <a:p>
            <a:r>
              <a:rPr lang="en-US" dirty="0"/>
              <a:t>The difficulty is retargeted every 2 week, 2016 blocks</a:t>
            </a:r>
          </a:p>
          <a:p>
            <a:r>
              <a:rPr lang="en-US" b="1" dirty="0" err="1">
                <a:solidFill>
                  <a:srgbClr val="FF0000"/>
                </a:solidFill>
              </a:rPr>
              <a:t>next_difficulty</a:t>
            </a:r>
            <a:r>
              <a:rPr lang="en-US" b="1" dirty="0">
                <a:solidFill>
                  <a:srgbClr val="FF0000"/>
                </a:solidFill>
              </a:rPr>
              <a:t> = (</a:t>
            </a:r>
            <a:r>
              <a:rPr lang="en-US" b="1" dirty="0" err="1">
                <a:solidFill>
                  <a:srgbClr val="FF0000"/>
                </a:solidFill>
              </a:rPr>
              <a:t>previous_difficulty</a:t>
            </a:r>
            <a:r>
              <a:rPr lang="en-US" b="1" dirty="0">
                <a:solidFill>
                  <a:srgbClr val="FF0000"/>
                </a:solidFill>
              </a:rPr>
              <a:t> * 2016 * 10 minutes) / (time to mine last 2016 blocks)</a:t>
            </a:r>
          </a:p>
          <a:p>
            <a:r>
              <a:rPr lang="en-US" dirty="0"/>
              <a:t>Once you compute the new difficulty, the new target can be computed for the new mining puzzle</a:t>
            </a:r>
          </a:p>
          <a:p>
            <a:endParaRPr lang="en-US" dirty="0"/>
          </a:p>
        </p:txBody>
      </p:sp>
    </p:spTree>
    <p:extLst>
      <p:ext uri="{BB962C8B-B14F-4D97-AF65-F5344CB8AC3E}">
        <p14:creationId xmlns:p14="http://schemas.microsoft.com/office/powerpoint/2010/main" val="245464223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iculty,  target, bits</a:t>
            </a:r>
          </a:p>
        </p:txBody>
      </p:sp>
      <p:sp>
        <p:nvSpPr>
          <p:cNvPr id="3" name="Content Placeholder 2"/>
          <p:cNvSpPr>
            <a:spLocks noGrp="1"/>
          </p:cNvSpPr>
          <p:nvPr>
            <p:ph type="body" sz="quarter" idx="10"/>
          </p:nvPr>
        </p:nvSpPr>
        <p:spPr/>
        <p:txBody>
          <a:bodyPr>
            <a:normAutofit/>
          </a:bodyPr>
          <a:lstStyle/>
          <a:p>
            <a:r>
              <a:rPr lang="en-US" dirty="0"/>
              <a:t>What is the difficulty of the </a:t>
            </a:r>
            <a:r>
              <a:rPr lang="en-US" i="1" dirty="0"/>
              <a:t>genesis</a:t>
            </a:r>
            <a:r>
              <a:rPr lang="en-US" dirty="0"/>
              <a:t> block?</a:t>
            </a:r>
          </a:p>
          <a:p>
            <a:r>
              <a:rPr lang="en-US" dirty="0"/>
              <a:t>What is the difficulty of the </a:t>
            </a:r>
            <a:r>
              <a:rPr lang="en-US" i="1" dirty="0"/>
              <a:t>current</a:t>
            </a:r>
            <a:r>
              <a:rPr lang="en-US" dirty="0"/>
              <a:t> block?</a:t>
            </a:r>
          </a:p>
          <a:p>
            <a:endParaRPr lang="en-US" dirty="0"/>
          </a:p>
          <a:p>
            <a:endParaRPr lang="en-US" dirty="0"/>
          </a:p>
        </p:txBody>
      </p:sp>
      <p:sp>
        <p:nvSpPr>
          <p:cNvPr id="4" name="Content Placeholder 3"/>
          <p:cNvSpPr>
            <a:spLocks noGrp="1"/>
          </p:cNvSpPr>
          <p:nvPr>
            <p:ph type="body" sz="quarter" idx="11"/>
          </p:nvPr>
        </p:nvSpPr>
        <p:spPr/>
        <p:txBody>
          <a:bodyPr>
            <a:normAutofit/>
          </a:bodyPr>
          <a:lstStyle/>
          <a:p>
            <a:r>
              <a:rPr lang="en-US" dirty="0"/>
              <a:t>Remember that maximum target is the target of the genesis block (size of the largest bulls eye)</a:t>
            </a:r>
          </a:p>
          <a:p>
            <a:r>
              <a:rPr lang="en-US" dirty="0"/>
              <a:t>So as the target becomes half, the difficulty doubles</a:t>
            </a:r>
          </a:p>
          <a:p>
            <a:r>
              <a:rPr lang="en-US" dirty="0"/>
              <a:t>Difficulty is inversely proportional to target</a:t>
            </a:r>
          </a:p>
          <a:p>
            <a:r>
              <a:rPr lang="en-US" dirty="0"/>
              <a:t>What is the lowest difficulty?</a:t>
            </a:r>
          </a:p>
          <a:p>
            <a:r>
              <a:rPr lang="en-US" dirty="0"/>
              <a:t>Difficulty can only increase or decrease by a maximum factor of 4</a:t>
            </a:r>
          </a:p>
          <a:p>
            <a:endParaRPr lang="en-US" dirty="0"/>
          </a:p>
        </p:txBody>
      </p:sp>
      <p:pic>
        <p:nvPicPr>
          <p:cNvPr id="6" name="Picture 5"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915096" y="2780406"/>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604685" y="1446433"/>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847432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3162B-615C-4833-A41B-EBCEA0EF0D54}"/>
              </a:ext>
            </a:extLst>
          </p:cNvPr>
          <p:cNvSpPr>
            <a:spLocks noGrp="1"/>
          </p:cNvSpPr>
          <p:nvPr>
            <p:ph type="title"/>
          </p:nvPr>
        </p:nvSpPr>
        <p:spPr/>
        <p:txBody>
          <a:bodyPr/>
          <a:lstStyle/>
          <a:p>
            <a:r>
              <a:rPr lang="en-US" dirty="0"/>
              <a:t>Difficulty,  target, bits</a:t>
            </a:r>
          </a:p>
        </p:txBody>
      </p:sp>
      <p:sp>
        <p:nvSpPr>
          <p:cNvPr id="3" name="Content Placeholder 2">
            <a:extLst>
              <a:ext uri="{FF2B5EF4-FFF2-40B4-BE49-F238E27FC236}">
                <a16:creationId xmlns:a16="http://schemas.microsoft.com/office/drawing/2014/main" id="{1CA20595-F427-43F4-972E-4F4CE7EAA065}"/>
              </a:ext>
            </a:extLst>
          </p:cNvPr>
          <p:cNvSpPr>
            <a:spLocks noGrp="1"/>
          </p:cNvSpPr>
          <p:nvPr>
            <p:ph type="body" sz="quarter" idx="10"/>
          </p:nvPr>
        </p:nvSpPr>
        <p:spPr/>
        <p:txBody>
          <a:bodyPr>
            <a:normAutofit fontScale="77500" lnSpcReduction="20000"/>
          </a:bodyPr>
          <a:lstStyle/>
          <a:p>
            <a:r>
              <a:rPr lang="en-US" dirty="0"/>
              <a:t>The </a:t>
            </a:r>
            <a:r>
              <a:rPr lang="en-US" i="1" dirty="0"/>
              <a:t>bits</a:t>
            </a:r>
            <a:r>
              <a:rPr lang="en-US" dirty="0"/>
              <a:t> is a compact representation of the target</a:t>
            </a:r>
          </a:p>
          <a:p>
            <a:r>
              <a:rPr lang="en-US" dirty="0"/>
              <a:t>It can be represented in hex using 4 bytes</a:t>
            </a:r>
          </a:p>
          <a:p>
            <a:r>
              <a:rPr lang="en-US" dirty="0"/>
              <a:t>You can view it here </a:t>
            </a:r>
            <a:r>
              <a:rPr lang="en-US" dirty="0">
                <a:hlinkClick r:id="rId2"/>
              </a:rPr>
              <a:t>https://www.smartbit.com.au/block/0</a:t>
            </a:r>
            <a:r>
              <a:rPr lang="en-US" dirty="0"/>
              <a:t> </a:t>
            </a:r>
          </a:p>
          <a:p>
            <a:r>
              <a:rPr lang="en-US" dirty="0"/>
              <a:t>You can compute the </a:t>
            </a:r>
            <a:r>
              <a:rPr lang="en-US" i="1" dirty="0"/>
              <a:t>target</a:t>
            </a:r>
            <a:r>
              <a:rPr lang="en-US" dirty="0"/>
              <a:t> from the </a:t>
            </a:r>
            <a:r>
              <a:rPr lang="en-US" i="1" dirty="0"/>
              <a:t>bits</a:t>
            </a:r>
          </a:p>
          <a:p>
            <a:r>
              <a:rPr lang="en-US" dirty="0"/>
              <a:t>Find the bits (in hex) of the current block</a:t>
            </a:r>
          </a:p>
          <a:p>
            <a:r>
              <a:rPr lang="en-US" dirty="0"/>
              <a:t>It is made up of four bytes (two hex characters each) e.g. AABBCCDD</a:t>
            </a:r>
          </a:p>
          <a:p>
            <a:r>
              <a:rPr lang="en-US" dirty="0"/>
              <a:t>Then AA represents the number of bytes used in the target (of 32 bytes)</a:t>
            </a:r>
          </a:p>
          <a:p>
            <a:r>
              <a:rPr lang="en-US" dirty="0"/>
              <a:t>BBCCDD represent the most significant bytes of the target</a:t>
            </a:r>
          </a:p>
          <a:p>
            <a:endParaRPr lang="en-US" dirty="0"/>
          </a:p>
          <a:p>
            <a:endParaRPr lang="en-US" dirty="0"/>
          </a:p>
          <a:p>
            <a:endParaRPr lang="en-US" dirty="0"/>
          </a:p>
        </p:txBody>
      </p:sp>
      <p:sp>
        <p:nvSpPr>
          <p:cNvPr id="7" name="Content Placeholder 6">
            <a:extLst>
              <a:ext uri="{FF2B5EF4-FFF2-40B4-BE49-F238E27FC236}">
                <a16:creationId xmlns:a16="http://schemas.microsoft.com/office/drawing/2014/main" id="{91D242D3-9F97-4118-A07E-132FAA22B912}"/>
              </a:ext>
            </a:extLst>
          </p:cNvPr>
          <p:cNvSpPr>
            <a:spLocks noGrp="1"/>
          </p:cNvSpPr>
          <p:nvPr>
            <p:ph type="body" sz="quarter" idx="11"/>
          </p:nvPr>
        </p:nvSpPr>
        <p:spPr/>
        <p:txBody>
          <a:bodyPr>
            <a:normAutofit fontScale="70000" lnSpcReduction="20000"/>
          </a:bodyPr>
          <a:lstStyle/>
          <a:p>
            <a:r>
              <a:rPr lang="en-US" dirty="0"/>
              <a:t>E.g. if the hex was 1800eb30, then the target would have 24 bytes (which is the decimal representation of 18) of the 32 bytes</a:t>
            </a:r>
          </a:p>
          <a:p>
            <a:r>
              <a:rPr lang="en-US" dirty="0"/>
              <a:t>Then BBCCDD are the most significant bytes</a:t>
            </a:r>
          </a:p>
          <a:p>
            <a:r>
              <a:rPr lang="en-US" dirty="0"/>
              <a:t>So the target would be 32-24 = 8 zero bytes following the most significant bytes </a:t>
            </a:r>
          </a:p>
          <a:p>
            <a:r>
              <a:rPr lang="en-US" dirty="0"/>
              <a:t>00 00 00 00 00 00 00 00 00 </a:t>
            </a:r>
            <a:r>
              <a:rPr lang="en-US" dirty="0" err="1"/>
              <a:t>eb</a:t>
            </a:r>
            <a:r>
              <a:rPr lang="en-US" dirty="0"/>
              <a:t> 30 00 00 … fill  up to 23 bytes.</a:t>
            </a:r>
          </a:p>
          <a:p>
            <a:r>
              <a:rPr lang="en-US" dirty="0"/>
              <a:t>This is the target of the hash of the block header.</a:t>
            </a:r>
          </a:p>
          <a:p>
            <a:r>
              <a:rPr lang="en-US" dirty="0"/>
              <a:t>Here is the formula </a:t>
            </a:r>
          </a:p>
          <a:p>
            <a:r>
              <a:rPr lang="fr-FR" b="1" dirty="0" err="1">
                <a:solidFill>
                  <a:srgbClr val="FF0000"/>
                </a:solidFill>
              </a:rPr>
              <a:t>target</a:t>
            </a:r>
            <a:r>
              <a:rPr lang="fr-FR" b="1" dirty="0">
                <a:solidFill>
                  <a:srgbClr val="FF0000"/>
                </a:solidFill>
              </a:rPr>
              <a:t> = coefficient * 2^(8 * (</a:t>
            </a:r>
            <a:r>
              <a:rPr lang="fr-FR" b="1" dirty="0" err="1">
                <a:solidFill>
                  <a:srgbClr val="FF0000"/>
                </a:solidFill>
              </a:rPr>
              <a:t>exponent</a:t>
            </a:r>
            <a:r>
              <a:rPr lang="fr-FR" b="1" dirty="0">
                <a:solidFill>
                  <a:srgbClr val="FF0000"/>
                </a:solidFill>
              </a:rPr>
              <a:t> – 3))</a:t>
            </a:r>
          </a:p>
          <a:p>
            <a:r>
              <a:rPr lang="fr-FR" b="1" dirty="0" err="1">
                <a:solidFill>
                  <a:srgbClr val="FF0000"/>
                </a:solidFill>
              </a:rPr>
              <a:t>Where</a:t>
            </a:r>
            <a:r>
              <a:rPr lang="fr-FR" b="1" dirty="0">
                <a:solidFill>
                  <a:srgbClr val="FF0000"/>
                </a:solidFill>
              </a:rPr>
              <a:t> coefficient </a:t>
            </a:r>
            <a:r>
              <a:rPr lang="fr-FR" b="1" dirty="0" err="1">
                <a:solidFill>
                  <a:srgbClr val="FF0000"/>
                </a:solidFill>
              </a:rPr>
              <a:t>is</a:t>
            </a:r>
            <a:r>
              <a:rPr lang="fr-FR" b="1" dirty="0">
                <a:solidFill>
                  <a:srgbClr val="FF0000"/>
                </a:solidFill>
              </a:rPr>
              <a:t> BBCCDD and </a:t>
            </a:r>
            <a:r>
              <a:rPr lang="fr-FR" b="1" dirty="0" err="1">
                <a:solidFill>
                  <a:srgbClr val="FF0000"/>
                </a:solidFill>
              </a:rPr>
              <a:t>exponent</a:t>
            </a:r>
            <a:r>
              <a:rPr lang="fr-FR" b="1" dirty="0">
                <a:solidFill>
                  <a:srgbClr val="FF0000"/>
                </a:solidFill>
              </a:rPr>
              <a:t> </a:t>
            </a:r>
            <a:r>
              <a:rPr lang="fr-FR" b="1" dirty="0" err="1">
                <a:solidFill>
                  <a:srgbClr val="FF0000"/>
                </a:solidFill>
              </a:rPr>
              <a:t>is</a:t>
            </a:r>
            <a:r>
              <a:rPr lang="fr-FR" b="1" dirty="0">
                <a:solidFill>
                  <a:srgbClr val="FF0000"/>
                </a:solidFill>
              </a:rPr>
              <a:t> AA in </a:t>
            </a:r>
            <a:r>
              <a:rPr lang="fr-FR" b="1" dirty="0" err="1">
                <a:solidFill>
                  <a:srgbClr val="FF0000"/>
                </a:solidFill>
              </a:rPr>
              <a:t>our</a:t>
            </a:r>
            <a:r>
              <a:rPr lang="fr-FR" b="1" dirty="0">
                <a:solidFill>
                  <a:srgbClr val="FF0000"/>
                </a:solidFill>
              </a:rPr>
              <a:t> </a:t>
            </a:r>
            <a:r>
              <a:rPr lang="fr-FR" b="1" dirty="0" err="1">
                <a:solidFill>
                  <a:srgbClr val="FF0000"/>
                </a:solidFill>
              </a:rPr>
              <a:t>example</a:t>
            </a:r>
            <a:endParaRPr lang="fr-FR" b="1" dirty="0">
              <a:solidFill>
                <a:srgbClr val="FF0000"/>
              </a:solidFill>
            </a:endParaRPr>
          </a:p>
          <a:p>
            <a:r>
              <a:rPr lang="fr-FR" b="1" dirty="0">
                <a:solidFill>
                  <a:srgbClr val="FF0000"/>
                </a:solidFill>
              </a:rPr>
              <a:t>Or coefficient </a:t>
            </a:r>
            <a:r>
              <a:rPr lang="fr-FR" b="1" dirty="0" err="1">
                <a:solidFill>
                  <a:srgbClr val="FF0000"/>
                </a:solidFill>
              </a:rPr>
              <a:t>is</a:t>
            </a:r>
            <a:r>
              <a:rPr lang="fr-FR" b="1" dirty="0">
                <a:solidFill>
                  <a:srgbClr val="FF0000"/>
                </a:solidFill>
              </a:rPr>
              <a:t> 00eb30 and </a:t>
            </a:r>
            <a:r>
              <a:rPr lang="fr-FR" b="1" dirty="0" err="1">
                <a:solidFill>
                  <a:srgbClr val="FF0000"/>
                </a:solidFill>
              </a:rPr>
              <a:t>exponent</a:t>
            </a:r>
            <a:r>
              <a:rPr lang="fr-FR" b="1" dirty="0">
                <a:solidFill>
                  <a:srgbClr val="FF0000"/>
                </a:solidFill>
              </a:rPr>
              <a:t> </a:t>
            </a:r>
            <a:r>
              <a:rPr lang="fr-FR" b="1" dirty="0" err="1">
                <a:solidFill>
                  <a:srgbClr val="FF0000"/>
                </a:solidFill>
              </a:rPr>
              <a:t>is</a:t>
            </a:r>
            <a:r>
              <a:rPr lang="fr-FR" b="1" dirty="0">
                <a:solidFill>
                  <a:srgbClr val="FF0000"/>
                </a:solidFill>
              </a:rPr>
              <a:t> 18</a:t>
            </a:r>
            <a:endParaRPr lang="en-US" b="1" dirty="0">
              <a:solidFill>
                <a:srgbClr val="FF0000"/>
              </a:solidFill>
            </a:endParaRPr>
          </a:p>
          <a:p>
            <a:endParaRPr lang="en-US" i="1" dirty="0"/>
          </a:p>
          <a:p>
            <a:endParaRPr lang="en-US" dirty="0"/>
          </a:p>
        </p:txBody>
      </p:sp>
    </p:spTree>
    <p:extLst>
      <p:ext uri="{BB962C8B-B14F-4D97-AF65-F5344CB8AC3E}">
        <p14:creationId xmlns:p14="http://schemas.microsoft.com/office/powerpoint/2010/main" val="120152451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55020-A38D-43F1-B4D4-3B7F95557B3C}"/>
              </a:ext>
            </a:extLst>
          </p:cNvPr>
          <p:cNvSpPr>
            <a:spLocks noGrp="1"/>
          </p:cNvSpPr>
          <p:nvPr>
            <p:ph type="title"/>
          </p:nvPr>
        </p:nvSpPr>
        <p:spPr/>
        <p:txBody>
          <a:bodyPr/>
          <a:lstStyle/>
          <a:p>
            <a:r>
              <a:rPr lang="en-US" dirty="0"/>
              <a:t>Difficulty,  target, bits</a:t>
            </a:r>
          </a:p>
        </p:txBody>
      </p:sp>
      <p:sp>
        <p:nvSpPr>
          <p:cNvPr id="3" name="Content Placeholder 2">
            <a:extLst>
              <a:ext uri="{FF2B5EF4-FFF2-40B4-BE49-F238E27FC236}">
                <a16:creationId xmlns:a16="http://schemas.microsoft.com/office/drawing/2014/main" id="{03505EA6-6C20-4BB0-AF41-814D0724EE2E}"/>
              </a:ext>
            </a:extLst>
          </p:cNvPr>
          <p:cNvSpPr>
            <a:spLocks noGrp="1"/>
          </p:cNvSpPr>
          <p:nvPr>
            <p:ph type="body" sz="quarter" idx="10"/>
          </p:nvPr>
        </p:nvSpPr>
        <p:spPr/>
        <p:txBody>
          <a:bodyPr>
            <a:normAutofit/>
          </a:bodyPr>
          <a:lstStyle/>
          <a:p>
            <a:r>
              <a:rPr lang="en-US" dirty="0"/>
              <a:t>The target of the genesis block as measured in bits is 1d00ffff</a:t>
            </a:r>
          </a:p>
          <a:p>
            <a:r>
              <a:rPr lang="en-US" dirty="0"/>
              <a:t>Why do you think </a:t>
            </a:r>
            <a:r>
              <a:rPr lang="en-US" dirty="0" err="1"/>
              <a:t>Nakamoto</a:t>
            </a:r>
            <a:r>
              <a:rPr lang="en-US" dirty="0"/>
              <a:t> not choose the largest possible target for first block mined?</a:t>
            </a:r>
          </a:p>
          <a:p>
            <a:endParaRPr lang="en-US" dirty="0"/>
          </a:p>
        </p:txBody>
      </p:sp>
      <p:sp>
        <p:nvSpPr>
          <p:cNvPr id="8" name="Text Placeholder 7"/>
          <p:cNvSpPr>
            <a:spLocks noGrp="1"/>
          </p:cNvSpPr>
          <p:nvPr>
            <p:ph type="body" sz="quarter" idx="11"/>
          </p:nvPr>
        </p:nvSpPr>
        <p:spPr/>
        <p:txBody>
          <a:bodyPr/>
          <a:lstStyle/>
          <a:p>
            <a:endParaRPr lang="en-US"/>
          </a:p>
        </p:txBody>
      </p:sp>
      <p:pic>
        <p:nvPicPr>
          <p:cNvPr id="6" name="Picture 5"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538859" y="3442395"/>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336035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F438E-19BF-4A0F-8795-DECEE3A2AA71}"/>
              </a:ext>
            </a:extLst>
          </p:cNvPr>
          <p:cNvSpPr>
            <a:spLocks noGrp="1"/>
          </p:cNvSpPr>
          <p:nvPr>
            <p:ph type="title"/>
          </p:nvPr>
        </p:nvSpPr>
        <p:spPr/>
        <p:txBody>
          <a:bodyPr/>
          <a:lstStyle/>
          <a:p>
            <a:r>
              <a:rPr lang="en-US" dirty="0"/>
              <a:t>Difficulty and </a:t>
            </a:r>
            <a:r>
              <a:rPr lang="en-US" dirty="0" err="1"/>
              <a:t>hashrate</a:t>
            </a:r>
            <a:endParaRPr lang="en-US" dirty="0"/>
          </a:p>
        </p:txBody>
      </p:sp>
      <p:sp>
        <p:nvSpPr>
          <p:cNvPr id="3" name="Content Placeholder 2">
            <a:extLst>
              <a:ext uri="{FF2B5EF4-FFF2-40B4-BE49-F238E27FC236}">
                <a16:creationId xmlns:a16="http://schemas.microsoft.com/office/drawing/2014/main" id="{CA78C850-915B-4290-B09D-41DA779D101F}"/>
              </a:ext>
            </a:extLst>
          </p:cNvPr>
          <p:cNvSpPr>
            <a:spLocks noGrp="1"/>
          </p:cNvSpPr>
          <p:nvPr>
            <p:ph type="body" sz="quarter" idx="10"/>
          </p:nvPr>
        </p:nvSpPr>
        <p:spPr/>
        <p:txBody>
          <a:bodyPr/>
          <a:lstStyle/>
          <a:p>
            <a:r>
              <a:rPr lang="en-US" dirty="0"/>
              <a:t>The average time to find a block (in hours) = difficulty x 2^32 / (</a:t>
            </a:r>
            <a:r>
              <a:rPr lang="en-US" dirty="0" err="1"/>
              <a:t>hashrate</a:t>
            </a:r>
            <a:r>
              <a:rPr lang="en-US" dirty="0"/>
              <a:t> per second x 3600)</a:t>
            </a:r>
          </a:p>
          <a:p>
            <a:endParaRPr lang="en-US" dirty="0"/>
          </a:p>
        </p:txBody>
      </p:sp>
      <p:sp>
        <p:nvSpPr>
          <p:cNvPr id="4" name="Content Placeholder 3">
            <a:extLst>
              <a:ext uri="{FF2B5EF4-FFF2-40B4-BE49-F238E27FC236}">
                <a16:creationId xmlns:a16="http://schemas.microsoft.com/office/drawing/2014/main" id="{9706C3ED-B449-458A-890C-75F56B3FD155}"/>
              </a:ext>
            </a:extLst>
          </p:cNvPr>
          <p:cNvSpPr>
            <a:spLocks noGrp="1"/>
          </p:cNvSpPr>
          <p:nvPr>
            <p:ph type="body" sz="quarter" idx="11"/>
          </p:nvPr>
        </p:nvSpPr>
        <p:spPr/>
        <p:txBody>
          <a:bodyPr/>
          <a:lstStyle/>
          <a:p>
            <a:r>
              <a:rPr lang="en-US" dirty="0"/>
              <a:t>Estimate how long it will take to mine a block at the current difficulty using my laptop which can compute 11,000,000 hashes/sec using this calculator </a:t>
            </a:r>
            <a:r>
              <a:rPr lang="en-US" dirty="0">
                <a:hlinkClick r:id="rId2"/>
              </a:rPr>
              <a:t>https://btcserv.net/bitcoin-mining-calculator</a:t>
            </a:r>
            <a:r>
              <a:rPr lang="en-US" dirty="0"/>
              <a:t> </a:t>
            </a:r>
          </a:p>
        </p:txBody>
      </p:sp>
    </p:spTree>
    <p:extLst>
      <p:ext uri="{BB962C8B-B14F-4D97-AF65-F5344CB8AC3E}">
        <p14:creationId xmlns:p14="http://schemas.microsoft.com/office/powerpoint/2010/main" val="293120532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B463A-6D2E-4A78-9826-93DF4633DE33}"/>
              </a:ext>
            </a:extLst>
          </p:cNvPr>
          <p:cNvSpPr>
            <a:spLocks noGrp="1"/>
          </p:cNvSpPr>
          <p:nvPr>
            <p:ph type="title"/>
          </p:nvPr>
        </p:nvSpPr>
        <p:spPr/>
        <p:txBody>
          <a:bodyPr/>
          <a:lstStyle/>
          <a:p>
            <a:r>
              <a:rPr lang="en-US" dirty="0"/>
              <a:t>Mining stats</a:t>
            </a:r>
          </a:p>
        </p:txBody>
      </p:sp>
      <p:sp>
        <p:nvSpPr>
          <p:cNvPr id="3" name="Content Placeholder 2">
            <a:extLst>
              <a:ext uri="{FF2B5EF4-FFF2-40B4-BE49-F238E27FC236}">
                <a16:creationId xmlns:a16="http://schemas.microsoft.com/office/drawing/2014/main" id="{4C8D4342-34FD-4AE6-BB05-9A4C315A3600}"/>
              </a:ext>
            </a:extLst>
          </p:cNvPr>
          <p:cNvSpPr>
            <a:spLocks noGrp="1"/>
          </p:cNvSpPr>
          <p:nvPr>
            <p:ph type="body" sz="quarter" idx="10"/>
          </p:nvPr>
        </p:nvSpPr>
        <p:spPr/>
        <p:txBody>
          <a:bodyPr/>
          <a:lstStyle/>
          <a:p>
            <a:r>
              <a:rPr lang="en-US" dirty="0">
                <a:hlinkClick r:id="" action="ppaction://noaction"/>
              </a:rPr>
              <a:t>https://blockchain.info/charts</a:t>
            </a:r>
          </a:p>
          <a:p>
            <a:r>
              <a:rPr lang="en-US" dirty="0">
                <a:hlinkClick r:id="" action="ppaction://noaction"/>
              </a:rPr>
              <a:t>https://blockchain.info/charts/difficulty</a:t>
            </a:r>
            <a:endParaRPr lang="en-US" dirty="0"/>
          </a:p>
          <a:p>
            <a:r>
              <a:rPr lang="en-US" dirty="0">
                <a:hlinkClick r:id="rId2"/>
              </a:rPr>
              <a:t>https://bitcoinwisdom.com/bitcoin/difficulty</a:t>
            </a:r>
            <a:endParaRPr lang="en-US" dirty="0"/>
          </a:p>
          <a:p>
            <a:endParaRPr lang="en-US" dirty="0"/>
          </a:p>
        </p:txBody>
      </p:sp>
    </p:spTree>
    <p:extLst>
      <p:ext uri="{BB962C8B-B14F-4D97-AF65-F5344CB8AC3E}">
        <p14:creationId xmlns:p14="http://schemas.microsoft.com/office/powerpoint/2010/main" val="68432024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rn Monetary System (conventional banking)</a:t>
            </a:r>
          </a:p>
        </p:txBody>
      </p:sp>
      <p:sp>
        <p:nvSpPr>
          <p:cNvPr id="5" name="Text Placeholder 4"/>
          <p:cNvSpPr>
            <a:spLocks noGrp="1"/>
          </p:cNvSpPr>
          <p:nvPr>
            <p:ph type="body" sz="quarter" idx="10"/>
          </p:nvPr>
        </p:nvSpPr>
        <p:spPr/>
        <p:txBody>
          <a:bodyPr/>
          <a:lstStyle/>
          <a:p>
            <a:r>
              <a:rPr lang="en-US" dirty="0"/>
              <a:t>Banks “create” money by giving loans. Money is created out of nothing. When the loan is paid back, the money is “destroyed”. Banks “make” money by the difference in the interest rates from the loans and deposits.</a:t>
            </a:r>
          </a:p>
          <a:p>
            <a:r>
              <a:rPr lang="en-US" dirty="0"/>
              <a:t>The actual amount of “cash” money is controlled by central banks (e.g. federal reserve) is far less than the money circulating in the economy (which are essentially IOUs)</a:t>
            </a:r>
          </a:p>
          <a:p>
            <a:r>
              <a:rPr lang="en-US" dirty="0"/>
              <a:t>Governments impose rules about how much “cash” banks must hold (reserves) as a fraction of money they hold for customers (liability). This fraction varies from country to country. In the US it varies from 0 to 10% depending on the total transaction amount at the bank.</a:t>
            </a:r>
          </a:p>
        </p:txBody>
      </p:sp>
    </p:spTree>
    <p:extLst>
      <p:ext uri="{BB962C8B-B14F-4D97-AF65-F5344CB8AC3E}">
        <p14:creationId xmlns:p14="http://schemas.microsoft.com/office/powerpoint/2010/main" val="322147001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ACFB8E-97A1-4221-96D7-2BCB770EF2A2}"/>
              </a:ext>
            </a:extLst>
          </p:cNvPr>
          <p:cNvSpPr>
            <a:spLocks noGrp="1"/>
          </p:cNvSpPr>
          <p:nvPr>
            <p:ph type="ctrTitle"/>
          </p:nvPr>
        </p:nvSpPr>
        <p:spPr/>
        <p:txBody>
          <a:bodyPr/>
          <a:lstStyle/>
          <a:p>
            <a:r>
              <a:rPr lang="en-US" dirty="0"/>
              <a:t>Economics</a:t>
            </a:r>
          </a:p>
        </p:txBody>
      </p:sp>
      <p:sp>
        <p:nvSpPr>
          <p:cNvPr id="5" name="Text Placeholder 4">
            <a:extLst>
              <a:ext uri="{FF2B5EF4-FFF2-40B4-BE49-F238E27FC236}">
                <a16:creationId xmlns:a16="http://schemas.microsoft.com/office/drawing/2014/main" id="{3672C531-2503-47C3-AC6F-61EECB711F4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36640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626232">
            <a:off x="10131720" y="182426"/>
            <a:ext cx="2078480" cy="20784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four warehouses measure around 3,000 square meters each."/>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rot="21027095">
            <a:off x="351444" y="2089394"/>
            <a:ext cx="5500185" cy="30938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descr="Image result for satoshi nakamoto"/>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rot="1265550">
            <a:off x="7741887" y="3177470"/>
            <a:ext cx="4173536" cy="233172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4" name="Diagram 3"/>
          <p:cNvGraphicFramePr/>
          <p:nvPr>
            <p:extLst>
              <p:ext uri="{D42A27DB-BD31-4B8C-83A1-F6EECF244321}">
                <p14:modId xmlns:p14="http://schemas.microsoft.com/office/powerpoint/2010/main" val="4071039724"/>
              </p:ext>
            </p:extLst>
          </p:nvPr>
        </p:nvGraphicFramePr>
        <p:xfrm>
          <a:off x="2080765" y="5684695"/>
          <a:ext cx="6691313" cy="8106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p:cNvSpPr txBox="1"/>
          <p:nvPr/>
        </p:nvSpPr>
        <p:spPr>
          <a:xfrm>
            <a:off x="6385186" y="4780121"/>
            <a:ext cx="570669" cy="1231106"/>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8000" kern="0" dirty="0">
                <a:ea typeface="Arial Unicode MS" pitchFamily="34" charset="-128"/>
                <a:cs typeface="Arial Unicode MS" pitchFamily="34" charset="-128"/>
              </a:rPr>
              <a:t>?</a:t>
            </a:r>
          </a:p>
        </p:txBody>
      </p:sp>
      <p:sp>
        <p:nvSpPr>
          <p:cNvPr id="9" name="TextBox 8"/>
          <p:cNvSpPr txBox="1"/>
          <p:nvPr/>
        </p:nvSpPr>
        <p:spPr>
          <a:xfrm>
            <a:off x="7937774" y="231748"/>
            <a:ext cx="570669" cy="123110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8000" kern="0" dirty="0">
                <a:ea typeface="Arial Unicode MS" pitchFamily="34" charset="-128"/>
                <a:cs typeface="Arial Unicode MS" pitchFamily="34" charset="-128"/>
              </a:rPr>
              <a:t>?</a:t>
            </a:r>
          </a:p>
        </p:txBody>
      </p:sp>
      <p:sp>
        <p:nvSpPr>
          <p:cNvPr id="10" name="TextBox 9"/>
          <p:cNvSpPr txBox="1"/>
          <p:nvPr/>
        </p:nvSpPr>
        <p:spPr>
          <a:xfrm>
            <a:off x="10144158" y="1527932"/>
            <a:ext cx="570669" cy="123110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8000" kern="0" dirty="0">
                <a:ea typeface="Arial Unicode MS" pitchFamily="34" charset="-128"/>
                <a:cs typeface="Arial Unicode MS" pitchFamily="34" charset="-128"/>
              </a:rPr>
              <a:t>?</a:t>
            </a:r>
          </a:p>
        </p:txBody>
      </p:sp>
      <p:sp>
        <p:nvSpPr>
          <p:cNvPr id="11" name="TextBox 10"/>
          <p:cNvSpPr txBox="1"/>
          <p:nvPr/>
        </p:nvSpPr>
        <p:spPr>
          <a:xfrm>
            <a:off x="1647721" y="1316026"/>
            <a:ext cx="570669" cy="123110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8000" kern="0" dirty="0">
                <a:ea typeface="Arial Unicode MS" pitchFamily="34" charset="-128"/>
                <a:cs typeface="Arial Unicode MS" pitchFamily="34" charset="-128"/>
              </a:rPr>
              <a:t>?</a:t>
            </a:r>
          </a:p>
        </p:txBody>
      </p:sp>
      <p:sp>
        <p:nvSpPr>
          <p:cNvPr id="2" name="Title 1"/>
          <p:cNvSpPr>
            <a:spLocks noGrp="1"/>
          </p:cNvSpPr>
          <p:nvPr>
            <p:ph type="title"/>
          </p:nvPr>
        </p:nvSpPr>
        <p:spPr/>
        <p:txBody>
          <a:bodyPr/>
          <a:lstStyle/>
          <a:p>
            <a:r>
              <a:rPr lang="en-US" dirty="0"/>
              <a:t>Quiz: Identify these five</a:t>
            </a:r>
          </a:p>
        </p:txBody>
      </p:sp>
      <p:pic>
        <p:nvPicPr>
          <p:cNvPr id="2050" name="Picture 2" descr="Image result for ecdsa"/>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4939809" y="101121"/>
            <a:ext cx="2963042" cy="297028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772078" y="1949840"/>
            <a:ext cx="570669" cy="123110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8000" kern="0" dirty="0">
                <a:ea typeface="Arial Unicode MS" pitchFamily="34" charset="-128"/>
                <a:cs typeface="Arial Unicode MS" pitchFamily="34" charset="-128"/>
              </a:rPr>
              <a:t>?</a:t>
            </a:r>
          </a:p>
        </p:txBody>
      </p:sp>
    </p:spTree>
    <p:extLst>
      <p:ext uri="{BB962C8B-B14F-4D97-AF65-F5344CB8AC3E}">
        <p14:creationId xmlns:p14="http://schemas.microsoft.com/office/powerpoint/2010/main" val="227657871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tcoin Supply and asymptote</a:t>
            </a:r>
          </a:p>
        </p:txBody>
      </p:sp>
      <p:sp>
        <p:nvSpPr>
          <p:cNvPr id="3" name="Text Placeholder 2"/>
          <p:cNvSpPr>
            <a:spLocks noGrp="1"/>
          </p:cNvSpPr>
          <p:nvPr>
            <p:ph type="body" sz="quarter" idx="10"/>
          </p:nvPr>
        </p:nvSpPr>
        <p:spPr/>
        <p:txBody>
          <a:bodyPr>
            <a:normAutofit fontScale="92500" lnSpcReduction="10000"/>
          </a:bodyPr>
          <a:lstStyle/>
          <a:p>
            <a:r>
              <a:rPr lang="en-US" dirty="0"/>
              <a:t>When a miner “mines” (discovers) a block, it gets a block reward in BTC. In 2009, the award was 50 BTC. It is 12.5 bitcoin now. The miner also collects all of the </a:t>
            </a:r>
            <a:r>
              <a:rPr lang="en-US" i="1" dirty="0">
                <a:solidFill>
                  <a:srgbClr val="FF0000"/>
                </a:solidFill>
              </a:rPr>
              <a:t>transaction fees </a:t>
            </a:r>
            <a:r>
              <a:rPr lang="en-US" dirty="0"/>
              <a:t>for the block they mined.</a:t>
            </a:r>
          </a:p>
          <a:p>
            <a:r>
              <a:rPr lang="en-US" dirty="0"/>
              <a:t> A block is mined every 10 mins on average.</a:t>
            </a:r>
          </a:p>
          <a:p>
            <a:r>
              <a:rPr lang="en-US" dirty="0"/>
              <a:t>Every 210000 blocks, the reward is halved to slowly diminish the reward and therefore limit the total supply of bitcoins.</a:t>
            </a:r>
          </a:p>
          <a:p>
            <a:r>
              <a:rPr lang="en-US" dirty="0"/>
              <a:t>Because this geometric series halves every 4 years, it has an asymptote of 21 million bitcoin. The last bitcoin will be mined in approx. in the year 2140</a:t>
            </a:r>
          </a:p>
          <a:p>
            <a:r>
              <a:rPr lang="en-US" dirty="0">
                <a:hlinkClick r:id="rId2"/>
              </a:rPr>
              <a:t>https://plot.ly/~BashCo/5.embed?share_key=ljQVkaTiHXjX2W41UiqzCn</a:t>
            </a:r>
            <a:r>
              <a:rPr lang="en-US" dirty="0"/>
              <a:t> </a:t>
            </a:r>
          </a:p>
          <a:p>
            <a:r>
              <a:rPr lang="en-US" dirty="0"/>
              <a:t>As usage gets wide spread, the cryptocurrency appreciates in value. It is a </a:t>
            </a:r>
            <a:r>
              <a:rPr lang="en-US" dirty="0">
                <a:solidFill>
                  <a:srgbClr val="FF0000"/>
                </a:solidFill>
              </a:rPr>
              <a:t> deflationary </a:t>
            </a:r>
            <a:r>
              <a:rPr lang="en-US" dirty="0"/>
              <a:t>currency! </a:t>
            </a:r>
          </a:p>
          <a:p>
            <a:endParaRPr lang="en-US" dirty="0"/>
          </a:p>
        </p:txBody>
      </p:sp>
    </p:spTree>
    <p:extLst>
      <p:ext uri="{BB962C8B-B14F-4D97-AF65-F5344CB8AC3E}">
        <p14:creationId xmlns:p14="http://schemas.microsoft.com/office/powerpoint/2010/main" val="45124047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tcoin monetary system</a:t>
            </a:r>
          </a:p>
        </p:txBody>
      </p:sp>
      <p:sp>
        <p:nvSpPr>
          <p:cNvPr id="3" name="Text Placeholder 2"/>
          <p:cNvSpPr>
            <a:spLocks noGrp="1"/>
          </p:cNvSpPr>
          <p:nvPr>
            <p:ph type="body" sz="quarter" idx="10"/>
          </p:nvPr>
        </p:nvSpPr>
        <p:spPr/>
        <p:txBody>
          <a:bodyPr/>
          <a:lstStyle/>
          <a:p>
            <a:r>
              <a:rPr lang="en-US" dirty="0"/>
              <a:t>Bitcoin has a </a:t>
            </a:r>
            <a:r>
              <a:rPr lang="en-US" dirty="0">
                <a:solidFill>
                  <a:srgbClr val="FF0000"/>
                </a:solidFill>
              </a:rPr>
              <a:t>limited</a:t>
            </a:r>
            <a:r>
              <a:rPr lang="en-US" dirty="0"/>
              <a:t> supply of money (21 million is the max, to be mined over time).</a:t>
            </a:r>
          </a:p>
          <a:p>
            <a:r>
              <a:rPr lang="en-US" dirty="0"/>
              <a:t>The amount of bitcoin that can be created </a:t>
            </a:r>
            <a:r>
              <a:rPr lang="en-US" dirty="0">
                <a:solidFill>
                  <a:srgbClr val="FF0000"/>
                </a:solidFill>
              </a:rPr>
              <a:t>out of nothing </a:t>
            </a:r>
            <a:r>
              <a:rPr lang="en-US" dirty="0"/>
              <a:t>is limited and controlled by software.</a:t>
            </a:r>
          </a:p>
          <a:p>
            <a:r>
              <a:rPr lang="en-US" dirty="0"/>
              <a:t>The amount of bitcoin in circulation is equal to or less than that which has been mined (some bitcoins are lost or destroyed accidentally).</a:t>
            </a:r>
          </a:p>
          <a:p>
            <a:r>
              <a:rPr lang="en-US" i="1" dirty="0"/>
              <a:t>HOWEVER, </a:t>
            </a:r>
            <a:r>
              <a:rPr lang="en-US" dirty="0"/>
              <a:t>there is nothing to keep a bitcoin exchange from behaving like a traditional bank and lend IOU ‘bitcoin’ to customers with a promise of withdrawal on demand.</a:t>
            </a:r>
          </a:p>
          <a:p>
            <a:r>
              <a:rPr lang="en-US" i="1" dirty="0"/>
              <a:t>BUT, </a:t>
            </a:r>
            <a:r>
              <a:rPr lang="en-US" dirty="0"/>
              <a:t>the monetary base of bitcoin is controlled and predictable.</a:t>
            </a:r>
          </a:p>
          <a:p>
            <a:endParaRPr lang="en-US" dirty="0"/>
          </a:p>
        </p:txBody>
      </p:sp>
    </p:spTree>
    <p:extLst>
      <p:ext uri="{BB962C8B-B14F-4D97-AF65-F5344CB8AC3E}">
        <p14:creationId xmlns:p14="http://schemas.microsoft.com/office/powerpoint/2010/main" val="330434060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dirty="0"/>
          </a:p>
        </p:txBody>
      </p:sp>
      <p:pic>
        <p:nvPicPr>
          <p:cNvPr id="1026" name="Picture 2" descr="https://en.bitcoin.it/w/images/en/4/42/Controlled_supply-supply_over_block_height.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02513" y="206387"/>
            <a:ext cx="10588173" cy="540864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313121" y="5678354"/>
            <a:ext cx="9566955" cy="261610"/>
          </a:xfrm>
          <a:prstGeom prst="rect">
            <a:avLst/>
          </a:prstGeom>
        </p:spPr>
        <p:txBody>
          <a:bodyPr wrap="square">
            <a:spAutoFit/>
          </a:bodyPr>
          <a:lstStyle/>
          <a:p>
            <a:r>
              <a:rPr lang="en-US" sz="1100" dirty="0"/>
              <a:t>https://en.bitcoin.it/w/images/en/4/42/Controlled_supply-supply_over_block_height.png</a:t>
            </a:r>
          </a:p>
        </p:txBody>
      </p:sp>
    </p:spTree>
    <p:extLst>
      <p:ext uri="{BB962C8B-B14F-4D97-AF65-F5344CB8AC3E}">
        <p14:creationId xmlns:p14="http://schemas.microsoft.com/office/powerpoint/2010/main" val="18831962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sensu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8367161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tx1">
                    <a:lumMod val="50000"/>
                    <a:lumOff val="50000"/>
                  </a:schemeClr>
                </a:solidFill>
                <a:ea typeface="Arial Unicode MS" pitchFamily="34" charset="-128"/>
                <a:cs typeface="Arial Unicode MS" pitchFamily="34" charset="-128"/>
              </a:rPr>
              <a:t>Consensus building</a:t>
            </a:r>
            <a:endParaRPr lang="en-US" dirty="0">
              <a:solidFill>
                <a:schemeClr val="tx1">
                  <a:lumMod val="50000"/>
                  <a:lumOff val="50000"/>
                </a:schemeClr>
              </a:solidFill>
            </a:endParaRPr>
          </a:p>
        </p:txBody>
      </p:sp>
      <p:sp>
        <p:nvSpPr>
          <p:cNvPr id="3" name="Text Placeholder 2"/>
          <p:cNvSpPr>
            <a:spLocks noGrp="1"/>
          </p:cNvSpPr>
          <p:nvPr>
            <p:ph type="body" sz="quarter" idx="10"/>
          </p:nvPr>
        </p:nvSpPr>
        <p:spPr/>
        <p:txBody>
          <a:bodyPr/>
          <a:lstStyle/>
          <a:p>
            <a:r>
              <a:rPr lang="en-US" dirty="0"/>
              <a:t>After a new block is mined and broadcast, other miners express acceptance of the block by building the next block on top of the block they received (and validated). They do this by including the hash of the received block in their own block</a:t>
            </a:r>
          </a:p>
          <a:p>
            <a:r>
              <a:rPr lang="en-US" dirty="0"/>
              <a:t>Consensus in bitcoin is represented by the </a:t>
            </a:r>
            <a:r>
              <a:rPr lang="en-US" i="1" dirty="0">
                <a:solidFill>
                  <a:srgbClr val="FF0000"/>
                </a:solidFill>
              </a:rPr>
              <a:t>longest proof of work chain</a:t>
            </a:r>
          </a:p>
          <a:p>
            <a:r>
              <a:rPr lang="en-US" dirty="0"/>
              <a:t>If a majority of computing power is controlled by honest nodes, the honest chain will grow fastest and outpace any competing chains. </a:t>
            </a:r>
          </a:p>
          <a:p>
            <a:r>
              <a:rPr lang="en-US" dirty="0"/>
              <a:t>To modify a past block, an attacker would have to redo the proof-of-work of that block and all blocks after it and then surpass the work of the honest nodes. </a:t>
            </a:r>
            <a:r>
              <a:rPr lang="en-US" i="1" dirty="0">
                <a:solidFill>
                  <a:srgbClr val="FF0000"/>
                </a:solidFill>
              </a:rPr>
              <a:t>In 10 Minutes!</a:t>
            </a:r>
          </a:p>
          <a:p>
            <a:r>
              <a:rPr lang="en-US" dirty="0"/>
              <a:t>The probability of a slower attacker catching up diminishes exponentially as subsequent blocks are added</a:t>
            </a:r>
          </a:p>
          <a:p>
            <a:endParaRPr lang="en-US" dirty="0"/>
          </a:p>
        </p:txBody>
      </p:sp>
    </p:spTree>
    <p:extLst>
      <p:ext uri="{BB962C8B-B14F-4D97-AF65-F5344CB8AC3E}">
        <p14:creationId xmlns:p14="http://schemas.microsoft.com/office/powerpoint/2010/main" val="429000276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ensus</a:t>
            </a:r>
          </a:p>
        </p:txBody>
      </p:sp>
      <p:sp>
        <p:nvSpPr>
          <p:cNvPr id="3" name="Text Placeholder 2"/>
          <p:cNvSpPr>
            <a:spLocks noGrp="1"/>
          </p:cNvSpPr>
          <p:nvPr>
            <p:ph type="body" sz="quarter" idx="10"/>
          </p:nvPr>
        </p:nvSpPr>
        <p:spPr/>
        <p:txBody>
          <a:bodyPr/>
          <a:lstStyle/>
          <a:p>
            <a:r>
              <a:rPr lang="en-US" dirty="0"/>
              <a:t>Consensus in a decentralized system can have various roles. In bitcoin, there are three roles of consensus.</a:t>
            </a:r>
          </a:p>
          <a:p>
            <a:pPr marL="342900" indent="-342900">
              <a:buFont typeface="Arial" panose="020B0604020202020204" pitchFamily="34" charset="0"/>
              <a:buChar char="•"/>
            </a:pPr>
            <a:r>
              <a:rPr lang="en-US" dirty="0"/>
              <a:t>Consensus for the </a:t>
            </a:r>
            <a:r>
              <a:rPr lang="en-US" dirty="0">
                <a:solidFill>
                  <a:srgbClr val="FF0000"/>
                </a:solidFill>
              </a:rPr>
              <a:t>history</a:t>
            </a:r>
            <a:r>
              <a:rPr lang="en-US" dirty="0"/>
              <a:t> (writing to the </a:t>
            </a:r>
            <a:r>
              <a:rPr lang="en-US" dirty="0" err="1"/>
              <a:t>blockchain</a:t>
            </a:r>
            <a:r>
              <a:rPr lang="en-US" dirty="0"/>
              <a:t>, using Proof of Work mining). Proof of State. History of transactions and bitcoins</a:t>
            </a:r>
          </a:p>
          <a:p>
            <a:pPr marL="342900" indent="-342900">
              <a:buFont typeface="Arial" panose="020B0604020202020204" pitchFamily="34" charset="0"/>
              <a:buChar char="•"/>
            </a:pPr>
            <a:r>
              <a:rPr lang="en-US" dirty="0"/>
              <a:t>Consensus for the </a:t>
            </a:r>
            <a:r>
              <a:rPr lang="en-US" dirty="0">
                <a:solidFill>
                  <a:srgbClr val="FF0000"/>
                </a:solidFill>
              </a:rPr>
              <a:t>rules</a:t>
            </a:r>
            <a:r>
              <a:rPr lang="en-US" dirty="0"/>
              <a:t> – transaction level, </a:t>
            </a:r>
            <a:r>
              <a:rPr lang="en-US" dirty="0" err="1"/>
              <a:t>blocklevel</a:t>
            </a:r>
            <a:r>
              <a:rPr lang="en-US" dirty="0"/>
              <a:t>, network level. Consensus on how rules should updated</a:t>
            </a:r>
          </a:p>
          <a:p>
            <a:pPr marL="342900" indent="-342900">
              <a:buFont typeface="Arial" panose="020B0604020202020204" pitchFamily="34" charset="0"/>
              <a:buChar char="•"/>
            </a:pPr>
            <a:r>
              <a:rPr lang="en-US" dirty="0"/>
              <a:t>Consensus for </a:t>
            </a:r>
            <a:r>
              <a:rPr lang="en-US" dirty="0">
                <a:solidFill>
                  <a:srgbClr val="FF0000"/>
                </a:solidFill>
              </a:rPr>
              <a:t>value</a:t>
            </a:r>
            <a:r>
              <a:rPr lang="en-US" dirty="0"/>
              <a:t> – economic, political, social consensus (belief) that coins have value</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9773290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n Fork</a:t>
            </a:r>
          </a:p>
        </p:txBody>
      </p:sp>
      <p:sp>
        <p:nvSpPr>
          <p:cNvPr id="3" name="Text Placeholder 2"/>
          <p:cNvSpPr>
            <a:spLocks noGrp="1"/>
          </p:cNvSpPr>
          <p:nvPr>
            <p:ph type="body" sz="quarter" idx="10"/>
          </p:nvPr>
        </p:nvSpPr>
        <p:spPr>
          <a:xfrm>
            <a:off x="323999" y="1692391"/>
            <a:ext cx="8138964" cy="4393017"/>
          </a:xfrm>
        </p:spPr>
        <p:txBody>
          <a:bodyPr>
            <a:normAutofit fontScale="85000" lnSpcReduction="20000"/>
          </a:bodyPr>
          <a:lstStyle/>
          <a:p>
            <a:r>
              <a:rPr lang="en-US" dirty="0"/>
              <a:t>What happens if two miners mine two blocks around the same time and broadcast it to the network?</a:t>
            </a:r>
          </a:p>
          <a:p>
            <a:r>
              <a:rPr lang="en-US" dirty="0"/>
              <a:t>Some miners will receive block A and other will receive block B. Both blocks are valid.</a:t>
            </a:r>
          </a:p>
          <a:p>
            <a:r>
              <a:rPr lang="en-US" dirty="0"/>
              <a:t>Some miners will add block A to their blockchain and other will add block B. Now you have a </a:t>
            </a:r>
            <a:r>
              <a:rPr lang="en-US" dirty="0">
                <a:solidFill>
                  <a:srgbClr val="FF0000"/>
                </a:solidFill>
              </a:rPr>
              <a:t>fork </a:t>
            </a:r>
            <a:r>
              <a:rPr lang="en-US" dirty="0"/>
              <a:t>in the chain!</a:t>
            </a:r>
          </a:p>
          <a:p>
            <a:r>
              <a:rPr lang="en-US" dirty="0"/>
              <a:t>The race begins again. The fork can deepen if two more blocks are found at around the same time.</a:t>
            </a:r>
          </a:p>
          <a:p>
            <a:r>
              <a:rPr lang="en-US" dirty="0"/>
              <a:t>The bitcoin </a:t>
            </a:r>
            <a:r>
              <a:rPr lang="en-US" dirty="0">
                <a:solidFill>
                  <a:srgbClr val="FF0000"/>
                </a:solidFill>
              </a:rPr>
              <a:t>consensus</a:t>
            </a:r>
            <a:r>
              <a:rPr lang="en-US" dirty="0"/>
              <a:t> rules say that the chain with the most cumulative proof of work wins. This means the miners will abandon the shorter chain. The miners who were mining the shorter chain lose their reward (transaction) and the all the work they did.</a:t>
            </a:r>
          </a:p>
          <a:p>
            <a:r>
              <a:rPr lang="en-US" dirty="0"/>
              <a:t>The blockchain self corrects by abandoning the shorter branch of the fork.</a:t>
            </a:r>
          </a:p>
        </p:txBody>
      </p:sp>
      <p:pic>
        <p:nvPicPr>
          <p:cNvPr id="2050" name="Picture 2"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162439" y="1564297"/>
            <a:ext cx="1836737" cy="4890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192066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n Fork</a:t>
            </a:r>
          </a:p>
        </p:txBody>
      </p:sp>
      <p:pic>
        <p:nvPicPr>
          <p:cNvPr id="8" name="Picture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47076" y="1596231"/>
            <a:ext cx="11274476" cy="3872584"/>
          </a:xfrm>
          <a:prstGeom prst="rect">
            <a:avLst/>
          </a:prstGeom>
        </p:spPr>
      </p:pic>
      <p:sp>
        <p:nvSpPr>
          <p:cNvPr id="9" name="Rectangle 8"/>
          <p:cNvSpPr/>
          <p:nvPr/>
        </p:nvSpPr>
        <p:spPr>
          <a:xfrm>
            <a:off x="473441" y="5565531"/>
            <a:ext cx="6096000" cy="261610"/>
          </a:xfrm>
          <a:prstGeom prst="rect">
            <a:avLst/>
          </a:prstGeom>
        </p:spPr>
        <p:txBody>
          <a:bodyPr>
            <a:spAutoFit/>
          </a:bodyPr>
          <a:lstStyle/>
          <a:p>
            <a:r>
              <a:rPr lang="en-US" sz="1050" dirty="0"/>
              <a:t>https://bitcoin.org/en/developer-guide#block-height-and-forking</a:t>
            </a:r>
          </a:p>
        </p:txBody>
      </p:sp>
    </p:spTree>
    <p:extLst>
      <p:ext uri="{BB962C8B-B14F-4D97-AF65-F5344CB8AC3E}">
        <p14:creationId xmlns:p14="http://schemas.microsoft.com/office/powerpoint/2010/main" val="101003425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is a transaction confirmed?	</a:t>
            </a:r>
          </a:p>
        </p:txBody>
      </p:sp>
      <p:sp>
        <p:nvSpPr>
          <p:cNvPr id="3" name="Text Placeholder 2"/>
          <p:cNvSpPr>
            <a:spLocks noGrp="1"/>
          </p:cNvSpPr>
          <p:nvPr>
            <p:ph type="body" sz="quarter" idx="10"/>
          </p:nvPr>
        </p:nvSpPr>
        <p:spPr/>
        <p:txBody>
          <a:bodyPr/>
          <a:lstStyle/>
          <a:p>
            <a:r>
              <a:rPr lang="en-US" dirty="0"/>
              <a:t>A transaction appears on the bitcoin network within seconds for being broadcast</a:t>
            </a:r>
          </a:p>
          <a:p>
            <a:r>
              <a:rPr lang="en-US" dirty="0"/>
              <a:t>Within 10 minutes (on average) a miner would </a:t>
            </a:r>
            <a:r>
              <a:rPr lang="en-US" dirty="0">
                <a:solidFill>
                  <a:srgbClr val="FF0000"/>
                </a:solidFill>
              </a:rPr>
              <a:t>validate</a:t>
            </a:r>
            <a:r>
              <a:rPr lang="en-US" dirty="0"/>
              <a:t> and include the transaction in a new </a:t>
            </a:r>
            <a:r>
              <a:rPr lang="en-US" dirty="0">
                <a:solidFill>
                  <a:srgbClr val="FF0000"/>
                </a:solidFill>
              </a:rPr>
              <a:t>block</a:t>
            </a:r>
            <a:r>
              <a:rPr lang="en-US" dirty="0"/>
              <a:t>. The transaction would have one confirmation.</a:t>
            </a:r>
          </a:p>
          <a:p>
            <a:r>
              <a:rPr lang="en-US" dirty="0"/>
              <a:t>After another block is found, the transaction would have 2 confirmations.</a:t>
            </a:r>
          </a:p>
          <a:p>
            <a:r>
              <a:rPr lang="en-US" dirty="0"/>
              <a:t>However, there is a possibility that the block may become orphaned during consensus (a longer alternate chain is created)</a:t>
            </a:r>
          </a:p>
          <a:p>
            <a:r>
              <a:rPr lang="en-US" dirty="0"/>
              <a:t>It is recommended that a transaction have at least 6 confirmation to be considered immutable (very low probability of being attacked, more on this later)</a:t>
            </a:r>
          </a:p>
          <a:p>
            <a:r>
              <a:rPr lang="en-US" dirty="0"/>
              <a:t>Find a transaction which has only 3 confirmations.</a:t>
            </a:r>
          </a:p>
        </p:txBody>
      </p:sp>
      <p:pic>
        <p:nvPicPr>
          <p:cNvPr id="4" name="Picture 8"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5" name="Picture 4"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585269" y="5591206"/>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86792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uble Spending</a:t>
            </a:r>
          </a:p>
        </p:txBody>
      </p:sp>
      <p:sp>
        <p:nvSpPr>
          <p:cNvPr id="3" name="Text Placeholder 2"/>
          <p:cNvSpPr>
            <a:spLocks noGrp="1"/>
          </p:cNvSpPr>
          <p:nvPr>
            <p:ph type="body" sz="quarter" idx="10"/>
          </p:nvPr>
        </p:nvSpPr>
        <p:spPr/>
        <p:txBody>
          <a:bodyPr/>
          <a:lstStyle/>
          <a:p>
            <a:r>
              <a:rPr lang="en-US" dirty="0">
                <a:solidFill>
                  <a:srgbClr val="FF0000"/>
                </a:solidFill>
              </a:rPr>
              <a:t>Double spending </a:t>
            </a:r>
            <a:r>
              <a:rPr lang="en-US" dirty="0"/>
              <a:t>is the spending the same money more than once. This problem has vexed scientists for a long time (in the context of digital cash in a decentralized system).</a:t>
            </a:r>
          </a:p>
          <a:p>
            <a:r>
              <a:rPr lang="en-US" dirty="0"/>
              <a:t>Bitcoin protects against double spending by verifying each transaction added to the block chain to ensure that the inputs for the transaction had not previously already been spent.</a:t>
            </a:r>
          </a:p>
          <a:p>
            <a:r>
              <a:rPr lang="en-US" dirty="0"/>
              <a:t>Since transactions are recorded on the blockchain, double spending becomes hard to do once a transaction has been confirmed multiple times.</a:t>
            </a:r>
          </a:p>
          <a:p>
            <a:r>
              <a:rPr lang="en-US" dirty="0"/>
              <a:t>However…more on this later.</a:t>
            </a:r>
          </a:p>
        </p:txBody>
      </p:sp>
    </p:spTree>
    <p:extLst>
      <p:ext uri="{BB962C8B-B14F-4D97-AF65-F5344CB8AC3E}">
        <p14:creationId xmlns:p14="http://schemas.microsoft.com/office/powerpoint/2010/main" val="2567933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http://www.publicdomainpictures.net/pictures/160000/velka/verslaafd-aan-de-pc.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43037" y="190500"/>
            <a:ext cx="11430002" cy="311288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ctrTitle"/>
          </p:nvPr>
        </p:nvSpPr>
        <p:spPr>
          <a:xfrm>
            <a:off x="243037" y="3540341"/>
            <a:ext cx="11545200" cy="923330"/>
          </a:xfrm>
        </p:spPr>
        <p:txBody>
          <a:bodyPr/>
          <a:lstStyle/>
          <a:p>
            <a:r>
              <a:rPr lang="en-US" dirty="0"/>
              <a:t>Preliminaries</a:t>
            </a:r>
          </a:p>
        </p:txBody>
      </p:sp>
    </p:spTree>
    <p:extLst>
      <p:ext uri="{BB962C8B-B14F-4D97-AF65-F5344CB8AC3E}">
        <p14:creationId xmlns:p14="http://schemas.microsoft.com/office/powerpoint/2010/main" val="154776100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tx1">
                    <a:lumMod val="50000"/>
                    <a:lumOff val="50000"/>
                  </a:schemeClr>
                </a:solidFill>
                <a:ea typeface="Arial Unicode MS" pitchFamily="34" charset="-128"/>
                <a:cs typeface="Arial Unicode MS" pitchFamily="34" charset="-128"/>
              </a:rPr>
              <a:t>Bitcoin economy</a:t>
            </a:r>
            <a:endParaRPr lang="en-US" dirty="0"/>
          </a:p>
        </p:txBody>
      </p:sp>
      <p:sp>
        <p:nvSpPr>
          <p:cNvPr id="3" name="Text Placeholder 2"/>
          <p:cNvSpPr>
            <a:spLocks noGrp="1"/>
          </p:cNvSpPr>
          <p:nvPr>
            <p:ph type="body" sz="quarter" idx="10"/>
          </p:nvPr>
        </p:nvSpPr>
        <p:spPr/>
        <p:txBody>
          <a:bodyPr/>
          <a:lstStyle/>
          <a:p>
            <a:r>
              <a:rPr lang="en-US" dirty="0"/>
              <a:t>What percentage of the total bitcoin supply has been mined?</a:t>
            </a:r>
          </a:p>
          <a:p>
            <a:r>
              <a:rPr lang="en-US" dirty="0"/>
              <a:t>What happens after all bitcoins have been mined? </a:t>
            </a:r>
          </a:p>
          <a:p>
            <a:r>
              <a:rPr lang="en-US" dirty="0"/>
              <a:t>What are your thoughts on a ‘limited’ supply currency like bitcoin? Is deflation a bad thing for an economy? Is deflation bad for a cryptocurrency?</a:t>
            </a:r>
          </a:p>
          <a:p>
            <a:endParaRPr lang="en-US" dirty="0"/>
          </a:p>
          <a:p>
            <a:endParaRPr lang="en-US" dirty="0"/>
          </a:p>
          <a:p>
            <a:endParaRPr lang="en-US" dirty="0"/>
          </a:p>
          <a:p>
            <a:endParaRPr lang="en-US" dirty="0"/>
          </a:p>
          <a:p>
            <a:endParaRPr lang="en-US" dirty="0"/>
          </a:p>
        </p:txBody>
      </p:sp>
      <p:pic>
        <p:nvPicPr>
          <p:cNvPr id="4" name="Picture 8"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5" name="Picture 4"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98607" y="1551902"/>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585268" y="2228911"/>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31225" y="3258659"/>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45083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average transaction fee</a:t>
            </a:r>
          </a:p>
        </p:txBody>
      </p:sp>
      <p:sp>
        <p:nvSpPr>
          <p:cNvPr id="3" name="Text Placeholder 2"/>
          <p:cNvSpPr>
            <a:spLocks noGrp="1"/>
          </p:cNvSpPr>
          <p:nvPr>
            <p:ph type="body" sz="quarter" idx="10"/>
          </p:nvPr>
        </p:nvSpPr>
        <p:spPr>
          <a:xfrm>
            <a:off x="324000" y="1691078"/>
            <a:ext cx="2906880" cy="4392043"/>
          </a:xfrm>
        </p:spPr>
        <p:txBody>
          <a:bodyPr/>
          <a:lstStyle/>
          <a:p>
            <a:pPr marL="342900" indent="-342900">
              <a:buFont typeface="Arial" panose="020B0604020202020204" pitchFamily="34" charset="0"/>
              <a:buChar char="•"/>
            </a:pPr>
            <a:r>
              <a:rPr lang="en-US" dirty="0"/>
              <a:t>Go to </a:t>
            </a:r>
            <a:r>
              <a:rPr lang="en-US" i="1" dirty="0"/>
              <a:t>blockchain.info</a:t>
            </a:r>
          </a:p>
          <a:p>
            <a:pPr marL="342900" indent="-342900">
              <a:buFont typeface="Arial" panose="020B0604020202020204" pitchFamily="34" charset="0"/>
              <a:buChar char="•"/>
            </a:pPr>
            <a:r>
              <a:rPr lang="en-US" dirty="0"/>
              <a:t>Search for the following blocks and fill in this table. </a:t>
            </a:r>
          </a:p>
          <a:p>
            <a:pPr marL="342900" indent="-342900">
              <a:buFont typeface="Arial" panose="020B0604020202020204" pitchFamily="34" charset="0"/>
              <a:buChar char="•"/>
            </a:pPr>
            <a:r>
              <a:rPr lang="en-US" dirty="0"/>
              <a:t>Discuss the history of block reward/average transaction fees</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924144247"/>
              </p:ext>
            </p:extLst>
          </p:nvPr>
        </p:nvGraphicFramePr>
        <p:xfrm>
          <a:off x="3512223" y="2548555"/>
          <a:ext cx="7794685" cy="2057400"/>
        </p:xfrm>
        <a:graphic>
          <a:graphicData uri="http://schemas.openxmlformats.org/drawingml/2006/table">
            <a:tbl>
              <a:tblPr firstRow="1" bandRow="1">
                <a:tableStyleId>{93296810-A885-4BE3-A3E7-6D5BEEA58F35}</a:tableStyleId>
              </a:tblPr>
              <a:tblGrid>
                <a:gridCol w="2032529">
                  <a:extLst>
                    <a:ext uri="{9D8B030D-6E8A-4147-A177-3AD203B41FA5}">
                      <a16:colId xmlns:a16="http://schemas.microsoft.com/office/drawing/2014/main" val="1926005743"/>
                    </a:ext>
                  </a:extLst>
                </a:gridCol>
                <a:gridCol w="2032529">
                  <a:extLst>
                    <a:ext uri="{9D8B030D-6E8A-4147-A177-3AD203B41FA5}">
                      <a16:colId xmlns:a16="http://schemas.microsoft.com/office/drawing/2014/main" val="2371025104"/>
                    </a:ext>
                  </a:extLst>
                </a:gridCol>
                <a:gridCol w="2032529">
                  <a:extLst>
                    <a:ext uri="{9D8B030D-6E8A-4147-A177-3AD203B41FA5}">
                      <a16:colId xmlns:a16="http://schemas.microsoft.com/office/drawing/2014/main" val="4176008188"/>
                    </a:ext>
                  </a:extLst>
                </a:gridCol>
                <a:gridCol w="1697098">
                  <a:extLst>
                    <a:ext uri="{9D8B030D-6E8A-4147-A177-3AD203B41FA5}">
                      <a16:colId xmlns:a16="http://schemas.microsoft.com/office/drawing/2014/main" val="2589053419"/>
                    </a:ext>
                  </a:extLst>
                </a:gridCol>
              </a:tblGrid>
              <a:tr h="370840">
                <a:tc>
                  <a:txBody>
                    <a:bodyPr/>
                    <a:lstStyle/>
                    <a:p>
                      <a:r>
                        <a:rPr lang="en-US" dirty="0"/>
                        <a:t>Block Number</a:t>
                      </a:r>
                    </a:p>
                  </a:txBody>
                  <a:tcPr/>
                </a:tc>
                <a:tc>
                  <a:txBody>
                    <a:bodyPr/>
                    <a:lstStyle/>
                    <a:p>
                      <a:r>
                        <a:rPr lang="en-US" dirty="0"/>
                        <a:t>Block Reward</a:t>
                      </a:r>
                    </a:p>
                  </a:txBody>
                  <a:tcPr/>
                </a:tc>
                <a:tc>
                  <a:txBody>
                    <a:bodyPr/>
                    <a:lstStyle/>
                    <a:p>
                      <a:r>
                        <a:rPr lang="en-US" dirty="0"/>
                        <a:t>Total </a:t>
                      </a:r>
                      <a:r>
                        <a:rPr lang="en-US" dirty="0" err="1"/>
                        <a:t>tx</a:t>
                      </a:r>
                      <a:r>
                        <a:rPr lang="en-US" baseline="0" dirty="0"/>
                        <a:t> fees</a:t>
                      </a:r>
                      <a:endParaRPr lang="en-US" dirty="0"/>
                    </a:p>
                  </a:txBody>
                  <a:tcPr/>
                </a:tc>
                <a:tc>
                  <a:txBody>
                    <a:bodyPr/>
                    <a:lstStyle/>
                    <a:p>
                      <a:r>
                        <a:rPr lang="en-US" dirty="0" err="1"/>
                        <a:t>Avg</a:t>
                      </a:r>
                      <a:r>
                        <a:rPr lang="en-US" dirty="0"/>
                        <a:t> </a:t>
                      </a:r>
                      <a:r>
                        <a:rPr lang="en-US" dirty="0" err="1"/>
                        <a:t>tx</a:t>
                      </a:r>
                      <a:r>
                        <a:rPr lang="en-US" dirty="0"/>
                        <a:t> fee</a:t>
                      </a:r>
                    </a:p>
                  </a:txBody>
                  <a:tcPr/>
                </a:tc>
                <a:extLst>
                  <a:ext uri="{0D108BD9-81ED-4DB2-BD59-A6C34878D82A}">
                    <a16:rowId xmlns:a16="http://schemas.microsoft.com/office/drawing/2014/main" val="2929456605"/>
                  </a:ext>
                </a:extLst>
              </a:tr>
              <a:tr h="370840">
                <a:tc>
                  <a:txBody>
                    <a:bodyPr/>
                    <a:lstStyle/>
                    <a:p>
                      <a:r>
                        <a:rPr lang="en-US" dirty="0"/>
                        <a:t>1000</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21887100"/>
                  </a:ext>
                </a:extLst>
              </a:tr>
              <a:tr h="370840">
                <a:tc>
                  <a: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t>100000</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803266707"/>
                  </a:ext>
                </a:extLst>
              </a:tr>
              <a:tr h="370840">
                <a:tc>
                  <a:txBody>
                    <a:bodyPr/>
                    <a:lstStyle/>
                    <a:p>
                      <a:r>
                        <a:rPr lang="en-US" dirty="0"/>
                        <a:t>400000</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8851414"/>
                  </a:ext>
                </a:extLst>
              </a:tr>
              <a:tr h="370840">
                <a:tc>
                  <a:txBody>
                    <a:bodyPr/>
                    <a:lstStyle/>
                    <a:p>
                      <a:r>
                        <a:rPr lang="en-US" dirty="0"/>
                        <a:t>Current block</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890043308"/>
                  </a:ext>
                </a:extLst>
              </a:tr>
            </a:tbl>
          </a:graphicData>
        </a:graphic>
      </p:graphicFrame>
      <p:sp>
        <p:nvSpPr>
          <p:cNvPr id="6" name="AutoShape 6" descr="Image result for discussion"/>
          <p:cNvSpPr>
            <a:spLocks noChangeAspect="1" noChangeArrowheads="1"/>
          </p:cNvSpPr>
          <p:nvPr/>
        </p:nvSpPr>
        <p:spPr bwMode="auto">
          <a:xfrm>
            <a:off x="5945188"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rot="1476250">
            <a:off x="9860448" y="643978"/>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7" name="Picture 6"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96600" y="487227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91847" y="487227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241136" y="4840602"/>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051098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50000"/>
                    <a:lumOff val="50000"/>
                  </a:schemeClr>
                </a:solidFill>
              </a:rPr>
              <a:t>How to acquire bitcoin*</a:t>
            </a:r>
          </a:p>
        </p:txBody>
      </p:sp>
      <p:sp>
        <p:nvSpPr>
          <p:cNvPr id="3" name="Text Placeholder 2"/>
          <p:cNvSpPr>
            <a:spLocks noGrp="1"/>
          </p:cNvSpPr>
          <p:nvPr>
            <p:ph type="body" sz="quarter" idx="10"/>
          </p:nvPr>
        </p:nvSpPr>
        <p:spPr>
          <a:xfrm>
            <a:off x="324000" y="1691078"/>
            <a:ext cx="5259936" cy="4392043"/>
          </a:xfrm>
        </p:spPr>
        <p:txBody>
          <a:bodyPr/>
          <a:lstStyle/>
          <a:p>
            <a:r>
              <a:rPr lang="en-US" dirty="0"/>
              <a:t>Mine it yourself (impractical)</a:t>
            </a:r>
          </a:p>
          <a:p>
            <a:r>
              <a:rPr lang="en-US" dirty="0"/>
              <a:t>Join a mining pool</a:t>
            </a:r>
          </a:p>
          <a:p>
            <a:r>
              <a:rPr lang="en-US" dirty="0"/>
              <a:t>Buy it on an exchange with fiat currency</a:t>
            </a:r>
          </a:p>
          <a:p>
            <a:r>
              <a:rPr lang="en-US" dirty="0"/>
              <a:t>Offer your services</a:t>
            </a:r>
          </a:p>
          <a:p>
            <a:r>
              <a:rPr lang="en-US" dirty="0"/>
              <a:t>Use a BTM (bitcoin ATM)</a:t>
            </a:r>
          </a:p>
          <a:p>
            <a:r>
              <a:rPr lang="en-US" dirty="0"/>
              <a:t>On the street. Trade using localbitcoins.com (face to face)</a:t>
            </a:r>
          </a:p>
          <a:p>
            <a:r>
              <a:rPr lang="en-US" i="1" dirty="0">
                <a:solidFill>
                  <a:srgbClr val="FF0000"/>
                </a:solidFill>
              </a:rPr>
              <a:t>* ALL have pros and cons. Beware!!</a:t>
            </a:r>
          </a:p>
        </p:txBody>
      </p:sp>
      <p:pic>
        <p:nvPicPr>
          <p:cNvPr id="2050" name="Picture 2" descr="Image result for bitcoin mini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901184" y="324075"/>
            <a:ext cx="3396110" cy="254723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52" name="Picture 4" descr="Image result for bitcoin btm"/>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93697" y="2267712"/>
            <a:ext cx="3467100" cy="230428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54" name="Picture 6" descr="https://www.wired.com/wiredenterprise/wp-content/uploads/2013/07/20130711-BITCOIN-MEETUP-027edit-660x440.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288344" y="3887099"/>
            <a:ext cx="2855214" cy="19034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99701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s</a:t>
            </a:r>
          </a:p>
        </p:txBody>
      </p:sp>
      <p:sp>
        <p:nvSpPr>
          <p:cNvPr id="3" name="Text Placeholder 2"/>
          <p:cNvSpPr>
            <a:spLocks noGrp="1"/>
          </p:cNvSpPr>
          <p:nvPr>
            <p:ph type="body" sz="quarter" idx="10"/>
          </p:nvPr>
        </p:nvSpPr>
        <p:spPr>
          <a:xfrm>
            <a:off x="4389120" y="1447441"/>
            <a:ext cx="7480080" cy="4392043"/>
          </a:xfrm>
        </p:spPr>
        <p:txBody>
          <a:bodyPr/>
          <a:lstStyle/>
          <a:p>
            <a:r>
              <a:rPr lang="en-US" dirty="0"/>
              <a:t>Place (online) to buy (and sell) bitcoin in exchange of other currencies</a:t>
            </a:r>
          </a:p>
          <a:p>
            <a:r>
              <a:rPr lang="en-US" dirty="0"/>
              <a:t>Exchanges store your bitcoin in an </a:t>
            </a:r>
            <a:r>
              <a:rPr lang="en-US" i="1" dirty="0">
                <a:solidFill>
                  <a:srgbClr val="FF0000"/>
                </a:solidFill>
              </a:rPr>
              <a:t>online</a:t>
            </a:r>
            <a:r>
              <a:rPr lang="en-US" dirty="0"/>
              <a:t> wallet</a:t>
            </a:r>
          </a:p>
          <a:p>
            <a:r>
              <a:rPr lang="en-US" dirty="0"/>
              <a:t>A centralized service for a decentralized currency</a:t>
            </a:r>
          </a:p>
          <a:p>
            <a:r>
              <a:rPr lang="en-US" dirty="0"/>
              <a:t>Questions for security and privacy are been raised. The exchange could be required by local governments to reveal customer data. The exchange could freeze funds. Exchanges have been hacked and bitcoins stolen.</a:t>
            </a:r>
          </a:p>
          <a:p>
            <a:r>
              <a:rPr lang="en-US" dirty="0"/>
              <a:t>Users can move their bitcoin from the exchange to their own wallet. Until then the exchange only promises you ownership of the bitcoin with no real proof on the </a:t>
            </a:r>
            <a:r>
              <a:rPr lang="en-US" dirty="0" err="1"/>
              <a:t>blockchain</a:t>
            </a:r>
            <a:r>
              <a:rPr lang="en-US" dirty="0"/>
              <a:t>. Similar to banks - show you a balance of money in your account until you ask for a cash withdrawal.</a:t>
            </a:r>
          </a:p>
          <a:p>
            <a:endParaRPr lang="en-US" dirty="0"/>
          </a:p>
          <a:p>
            <a:endParaRPr lang="en-US" dirty="0"/>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6723" y="1447441"/>
            <a:ext cx="2724686" cy="3949317"/>
          </a:xfrm>
          <a:prstGeom prst="rect">
            <a:avLst/>
          </a:prstGeom>
        </p:spPr>
      </p:pic>
      <p:sp>
        <p:nvSpPr>
          <p:cNvPr id="6" name="TextBox 5"/>
          <p:cNvSpPr txBox="1"/>
          <p:nvPr/>
        </p:nvSpPr>
        <p:spPr>
          <a:xfrm>
            <a:off x="1128986" y="5548505"/>
            <a:ext cx="2220160" cy="430887"/>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2800" kern="0" dirty="0">
                <a:ea typeface="Arial Unicode MS" pitchFamily="34" charset="-128"/>
                <a:cs typeface="Arial Unicode MS" pitchFamily="34" charset="-128"/>
              </a:rPr>
              <a:t>coinbase.com</a:t>
            </a:r>
          </a:p>
        </p:txBody>
      </p:sp>
    </p:spTree>
    <p:extLst>
      <p:ext uri="{BB962C8B-B14F-4D97-AF65-F5344CB8AC3E}">
        <p14:creationId xmlns:p14="http://schemas.microsoft.com/office/powerpoint/2010/main" val="336067122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tx1">
                    <a:lumMod val="50000"/>
                    <a:lumOff val="50000"/>
                  </a:schemeClr>
                </a:solidFill>
                <a:ea typeface="Arial Unicode MS" pitchFamily="34" charset="-128"/>
                <a:cs typeface="Arial Unicode MS" pitchFamily="34" charset="-128"/>
              </a:rPr>
              <a:t>Storing and using bitcoin</a:t>
            </a:r>
            <a:endParaRPr lang="en-US" dirty="0">
              <a:solidFill>
                <a:schemeClr val="tx1">
                  <a:lumMod val="50000"/>
                  <a:lumOff val="50000"/>
                </a:schemeClr>
              </a:solidFill>
            </a:endParaRPr>
          </a:p>
        </p:txBody>
      </p:sp>
      <p:sp>
        <p:nvSpPr>
          <p:cNvPr id="4" name="Text Placeholder 3"/>
          <p:cNvSpPr>
            <a:spLocks noGrp="1"/>
          </p:cNvSpPr>
          <p:nvPr>
            <p:ph type="body" sz="quarter" idx="10"/>
          </p:nvPr>
        </p:nvSpPr>
        <p:spPr/>
        <p:txBody>
          <a:bodyPr/>
          <a:lstStyle/>
          <a:p>
            <a:r>
              <a:rPr lang="en-US" dirty="0"/>
              <a:t>One feature (goal?) of bitcoin is that a user is their own bank (in the absence of intermediaries)</a:t>
            </a:r>
          </a:p>
          <a:p>
            <a:r>
              <a:rPr lang="en-US" dirty="0"/>
              <a:t>The disintermediation puts the responsibility of storing, using and protecting bitcoin solely in the hand of the user</a:t>
            </a:r>
          </a:p>
          <a:p>
            <a:r>
              <a:rPr lang="en-US" i="1" dirty="0">
                <a:solidFill>
                  <a:srgbClr val="FF0000"/>
                </a:solidFill>
              </a:rPr>
              <a:t>Wallets</a:t>
            </a:r>
            <a:r>
              <a:rPr lang="en-US" dirty="0"/>
              <a:t> are used to store bitcoin</a:t>
            </a:r>
          </a:p>
          <a:p>
            <a:endParaRPr lang="en-US" dirty="0"/>
          </a:p>
        </p:txBody>
      </p:sp>
      <p:sp>
        <p:nvSpPr>
          <p:cNvPr id="5" name="Text Placeholder 4"/>
          <p:cNvSpPr>
            <a:spLocks noGrp="1"/>
          </p:cNvSpPr>
          <p:nvPr>
            <p:ph type="body" sz="quarter" idx="11"/>
          </p:nvPr>
        </p:nvSpPr>
        <p:spPr/>
        <p:txBody>
          <a:bodyPr/>
          <a:lstStyle/>
          <a:p>
            <a:r>
              <a:rPr lang="en-US" dirty="0"/>
              <a:t>To send bitcoin, use your wallet to find unspent transactions and then use a public address of the received to send bitcoin</a:t>
            </a:r>
          </a:p>
          <a:p>
            <a:r>
              <a:rPr lang="en-US" dirty="0"/>
              <a:t>The wallet keeps track of balances (no account)</a:t>
            </a:r>
          </a:p>
        </p:txBody>
      </p:sp>
    </p:spTree>
    <p:extLst>
      <p:ext uri="{BB962C8B-B14F-4D97-AF65-F5344CB8AC3E}">
        <p14:creationId xmlns:p14="http://schemas.microsoft.com/office/powerpoint/2010/main" val="75233470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llets</a:t>
            </a:r>
          </a:p>
        </p:txBody>
      </p:sp>
      <p:sp>
        <p:nvSpPr>
          <p:cNvPr id="3" name="Text Placeholder 2"/>
          <p:cNvSpPr>
            <a:spLocks noGrp="1"/>
          </p:cNvSpPr>
          <p:nvPr>
            <p:ph type="body" sz="quarter" idx="10"/>
          </p:nvPr>
        </p:nvSpPr>
        <p:spPr>
          <a:xfrm>
            <a:off x="324000" y="1691078"/>
            <a:ext cx="6662016" cy="4392043"/>
          </a:xfrm>
        </p:spPr>
        <p:txBody>
          <a:bodyPr/>
          <a:lstStyle/>
          <a:p>
            <a:r>
              <a:rPr lang="en-US" dirty="0"/>
              <a:t>A wallet essentially stores the keys (credentials) to the unspent bitcoins. With the keys you can spend those bitcoins.</a:t>
            </a:r>
          </a:p>
          <a:p>
            <a:r>
              <a:rPr lang="en-US" dirty="0"/>
              <a:t>Using cryptography, pairs of </a:t>
            </a:r>
            <a:r>
              <a:rPr lang="en-US" i="1" dirty="0"/>
              <a:t>public and private keys</a:t>
            </a:r>
            <a:r>
              <a:rPr lang="en-US" dirty="0"/>
              <a:t> are generated. Each wallet can have multiple pairs of keys. You can (should) use new pairs of keys for each new bitcoin transaction.</a:t>
            </a:r>
          </a:p>
          <a:p>
            <a:r>
              <a:rPr lang="en-US" i="1" dirty="0">
                <a:solidFill>
                  <a:srgbClr val="FF0000"/>
                </a:solidFill>
              </a:rPr>
              <a:t>Loss of keys </a:t>
            </a:r>
            <a:r>
              <a:rPr lang="en-US" dirty="0"/>
              <a:t>means loss of bitcoin!!</a:t>
            </a:r>
          </a:p>
          <a:p>
            <a:r>
              <a:rPr lang="en-US" dirty="0"/>
              <a:t>It should be called a </a:t>
            </a:r>
            <a:r>
              <a:rPr lang="en-US" dirty="0">
                <a:solidFill>
                  <a:srgbClr val="FFFF00"/>
                </a:solidFill>
              </a:rPr>
              <a:t>keychain</a:t>
            </a:r>
            <a:r>
              <a:rPr lang="en-US" dirty="0"/>
              <a:t> rather than a wallet. Why? </a:t>
            </a:r>
          </a:p>
          <a:p>
            <a:endParaRPr lang="en-US" dirty="0"/>
          </a:p>
          <a:p>
            <a:endParaRPr lang="en-US" dirty="0"/>
          </a:p>
          <a:p>
            <a:endParaRPr lang="en-US" dirty="0"/>
          </a:p>
        </p:txBody>
      </p:sp>
      <p:pic>
        <p:nvPicPr>
          <p:cNvPr id="2050" name="Picture 2" descr="Image result for bitcoin wallet"/>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345052" y="1828799"/>
            <a:ext cx="4415719" cy="331178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73361" y="5535927"/>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90283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wallets</a:t>
            </a:r>
          </a:p>
        </p:txBody>
      </p:sp>
      <p:sp>
        <p:nvSpPr>
          <p:cNvPr id="3" name="Text Placeholder 2"/>
          <p:cNvSpPr>
            <a:spLocks noGrp="1"/>
          </p:cNvSpPr>
          <p:nvPr>
            <p:ph type="body" sz="quarter" idx="10"/>
          </p:nvPr>
        </p:nvSpPr>
        <p:spPr/>
        <p:txBody>
          <a:bodyPr>
            <a:normAutofit lnSpcReduction="10000"/>
          </a:bodyPr>
          <a:lstStyle/>
          <a:p>
            <a:r>
              <a:rPr lang="en-US" dirty="0"/>
              <a:t>Types of wallets:</a:t>
            </a:r>
          </a:p>
          <a:p>
            <a:r>
              <a:rPr lang="en-US" dirty="0">
                <a:solidFill>
                  <a:srgbClr val="FF0000"/>
                </a:solidFill>
              </a:rPr>
              <a:t>Online wallet: </a:t>
            </a:r>
            <a:r>
              <a:rPr lang="en-US" dirty="0"/>
              <a:t>Held with an exchange</a:t>
            </a:r>
          </a:p>
          <a:p>
            <a:r>
              <a:rPr lang="en-US" dirty="0">
                <a:solidFill>
                  <a:srgbClr val="FF0000"/>
                </a:solidFill>
              </a:rPr>
              <a:t>Software wallet: </a:t>
            </a:r>
            <a:r>
              <a:rPr lang="en-US" dirty="0"/>
              <a:t>A client that stores wallets (and keys) on the user’s device </a:t>
            </a:r>
          </a:p>
          <a:p>
            <a:r>
              <a:rPr lang="en-US" dirty="0">
                <a:solidFill>
                  <a:srgbClr val="FF0000"/>
                </a:solidFill>
              </a:rPr>
              <a:t>Hardware wallet: </a:t>
            </a:r>
            <a:r>
              <a:rPr lang="en-US" dirty="0"/>
              <a:t>A specialized device that is used to store keys (offline)</a:t>
            </a:r>
          </a:p>
          <a:p>
            <a:r>
              <a:rPr lang="en-US" dirty="0">
                <a:solidFill>
                  <a:srgbClr val="FF0000"/>
                </a:solidFill>
              </a:rPr>
              <a:t>Paper wallet: </a:t>
            </a:r>
            <a:r>
              <a:rPr lang="en-US" dirty="0"/>
              <a:t>Keys are printed on paper with a QR code to read keys</a:t>
            </a:r>
          </a:p>
          <a:p>
            <a:r>
              <a:rPr lang="en-US" dirty="0">
                <a:solidFill>
                  <a:srgbClr val="FF0000"/>
                </a:solidFill>
              </a:rPr>
              <a:t>Brain wallet: </a:t>
            </a:r>
            <a:r>
              <a:rPr lang="en-US" dirty="0"/>
              <a:t>Memorize a series of words that can be turned into private key</a:t>
            </a:r>
          </a:p>
          <a:p>
            <a:endParaRPr lang="en-US" dirty="0"/>
          </a:p>
        </p:txBody>
      </p:sp>
      <p:pic>
        <p:nvPicPr>
          <p:cNvPr id="1026" name="Picture 2" descr="Image result for trezo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960986" y="1630322"/>
            <a:ext cx="2518070" cy="163772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descr="Image result for bitcoin paper walle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753188" y="4139262"/>
            <a:ext cx="3218848" cy="17335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0" name="Picture 6" descr="Image result for bitcoin  wallet"/>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60356" y="1358646"/>
            <a:ext cx="1819275" cy="32385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780323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a:t>
            </a:r>
          </a:p>
        </p:txBody>
      </p:sp>
      <p:sp>
        <p:nvSpPr>
          <p:cNvPr id="7" name="Content Placeholder 6"/>
          <p:cNvSpPr>
            <a:spLocks noGrp="1"/>
          </p:cNvSpPr>
          <p:nvPr>
            <p:ph type="body" sz="quarter" idx="10"/>
          </p:nvPr>
        </p:nvSpPr>
        <p:spPr/>
        <p:txBody>
          <a:bodyPr anchor="t">
            <a:normAutofit/>
          </a:bodyPr>
          <a:lstStyle/>
          <a:p>
            <a:r>
              <a:rPr lang="en-US" dirty="0">
                <a:solidFill>
                  <a:srgbClr val="FF0000"/>
                </a:solidFill>
              </a:rPr>
              <a:t>Hot storage</a:t>
            </a:r>
          </a:p>
          <a:p>
            <a:r>
              <a:rPr lang="en-US" dirty="0"/>
              <a:t>Online storage</a:t>
            </a:r>
          </a:p>
          <a:p>
            <a:r>
              <a:rPr lang="en-US" dirty="0"/>
              <a:t>Connected to the internet</a:t>
            </a:r>
          </a:p>
          <a:p>
            <a:r>
              <a:rPr lang="en-US" dirty="0"/>
              <a:t>Available and convenient</a:t>
            </a:r>
          </a:p>
          <a:p>
            <a:r>
              <a:rPr lang="en-US" dirty="0"/>
              <a:t>Less secure (from a cybersecurity perspective)</a:t>
            </a:r>
          </a:p>
          <a:p>
            <a:r>
              <a:rPr lang="en-US" dirty="0"/>
              <a:t>Current</a:t>
            </a:r>
          </a:p>
          <a:p>
            <a:endParaRPr lang="en-US" dirty="0"/>
          </a:p>
          <a:p>
            <a:endParaRPr lang="en-US" dirty="0"/>
          </a:p>
        </p:txBody>
      </p:sp>
      <p:sp>
        <p:nvSpPr>
          <p:cNvPr id="8" name="Content Placeholder 7"/>
          <p:cNvSpPr>
            <a:spLocks noGrp="1"/>
          </p:cNvSpPr>
          <p:nvPr>
            <p:ph type="body" sz="quarter" idx="11"/>
          </p:nvPr>
        </p:nvSpPr>
        <p:spPr/>
        <p:txBody>
          <a:bodyPr anchor="t">
            <a:normAutofit/>
          </a:bodyPr>
          <a:lstStyle/>
          <a:p>
            <a:r>
              <a:rPr lang="en-US" dirty="0">
                <a:solidFill>
                  <a:srgbClr val="FF0000"/>
                </a:solidFill>
              </a:rPr>
              <a:t>Cold storage</a:t>
            </a:r>
          </a:p>
          <a:p>
            <a:r>
              <a:rPr lang="en-US" dirty="0"/>
              <a:t>Offline storage</a:t>
            </a:r>
          </a:p>
          <a:p>
            <a:r>
              <a:rPr lang="en-US" dirty="0"/>
              <a:t>Not connected to the internet</a:t>
            </a:r>
          </a:p>
          <a:p>
            <a:r>
              <a:rPr lang="en-US" dirty="0"/>
              <a:t>Not easily available and not convenient</a:t>
            </a:r>
          </a:p>
          <a:p>
            <a:r>
              <a:rPr lang="en-US" dirty="0"/>
              <a:t>More secure, similar to a vault (unless someone breaks in physically)</a:t>
            </a:r>
          </a:p>
          <a:p>
            <a:r>
              <a:rPr lang="en-US" dirty="0"/>
              <a:t>Archival</a:t>
            </a:r>
          </a:p>
          <a:p>
            <a:endParaRPr lang="en-US" dirty="0"/>
          </a:p>
        </p:txBody>
      </p:sp>
    </p:spTree>
    <p:extLst>
      <p:ext uri="{BB962C8B-B14F-4D97-AF65-F5344CB8AC3E}">
        <p14:creationId xmlns:p14="http://schemas.microsoft.com/office/powerpoint/2010/main" val="48969770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tcoin experiment @ MIT</a:t>
            </a:r>
          </a:p>
        </p:txBody>
      </p:sp>
      <p:sp>
        <p:nvSpPr>
          <p:cNvPr id="3" name="Text Placeholder 2"/>
          <p:cNvSpPr>
            <a:spLocks noGrp="1"/>
          </p:cNvSpPr>
          <p:nvPr>
            <p:ph type="body" sz="quarter" idx="10"/>
          </p:nvPr>
        </p:nvSpPr>
        <p:spPr/>
        <p:txBody>
          <a:bodyPr/>
          <a:lstStyle/>
          <a:p>
            <a:r>
              <a:rPr lang="en-US" sz="1800" dirty="0"/>
              <a:t>Study of the role of early </a:t>
            </a:r>
            <a:r>
              <a:rPr lang="en-US" sz="1800" dirty="0">
                <a:solidFill>
                  <a:srgbClr val="FF0000"/>
                </a:solidFill>
              </a:rPr>
              <a:t>adopters</a:t>
            </a:r>
            <a:r>
              <a:rPr lang="en-US" sz="1800" dirty="0"/>
              <a:t> in diffusion of technology (bitcoin in this case)</a:t>
            </a:r>
          </a:p>
          <a:p>
            <a:r>
              <a:rPr lang="en-US" sz="1800" dirty="0">
                <a:solidFill>
                  <a:srgbClr val="FF0000"/>
                </a:solidFill>
              </a:rPr>
              <a:t>All</a:t>
            </a:r>
            <a:r>
              <a:rPr lang="en-US" sz="1800" dirty="0"/>
              <a:t> 4494 undergrads at MIT given access to $100 worth of bitcoin in 2014. (money raised by two CS students through alumni donations)</a:t>
            </a:r>
          </a:p>
          <a:p>
            <a:r>
              <a:rPr lang="en-US" sz="1800" dirty="0"/>
              <a:t>Access was staggered and randomized amongst type of adopter</a:t>
            </a:r>
          </a:p>
          <a:p>
            <a:r>
              <a:rPr lang="en-US" sz="1800" dirty="0"/>
              <a:t>The acceptance or rejection of the technology was studied in light of early adopters</a:t>
            </a:r>
          </a:p>
          <a:p>
            <a:r>
              <a:rPr lang="en-US" sz="1800" dirty="0"/>
              <a:t>69% actually signed up to claim their cryptocurrency</a:t>
            </a:r>
          </a:p>
          <a:p>
            <a:r>
              <a:rPr lang="en-US" sz="1800" dirty="0"/>
              <a:t>40% of those traded in their coins for cash</a:t>
            </a:r>
          </a:p>
          <a:p>
            <a:r>
              <a:rPr lang="en-US" sz="1800" dirty="0"/>
              <a:t>About 435 are still users</a:t>
            </a:r>
          </a:p>
          <a:p>
            <a:endParaRPr lang="en-US" sz="1800" dirty="0"/>
          </a:p>
        </p:txBody>
      </p:sp>
      <p:sp>
        <p:nvSpPr>
          <p:cNvPr id="4" name="Rectangle 3"/>
          <p:cNvSpPr/>
          <p:nvPr/>
        </p:nvSpPr>
        <p:spPr>
          <a:xfrm>
            <a:off x="238656" y="5821511"/>
            <a:ext cx="6096000" cy="261610"/>
          </a:xfrm>
          <a:prstGeom prst="rect">
            <a:avLst/>
          </a:prstGeom>
        </p:spPr>
        <p:txBody>
          <a:bodyPr>
            <a:spAutoFit/>
          </a:bodyPr>
          <a:lstStyle/>
          <a:p>
            <a:r>
              <a:rPr lang="en-US" sz="1050" dirty="0"/>
              <a:t>https://digital.hbs.edu/events/seeding-s-curve-role-early-adopters-diffusion/</a:t>
            </a:r>
          </a:p>
        </p:txBody>
      </p:sp>
    </p:spTree>
    <p:extLst>
      <p:ext uri="{BB962C8B-B14F-4D97-AF65-F5344CB8AC3E}">
        <p14:creationId xmlns:p14="http://schemas.microsoft.com/office/powerpoint/2010/main" val="242365022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2236304" y="1335887"/>
            <a:ext cx="6062870" cy="4408930"/>
          </a:xfrm>
          <a:prstGeom prst="rect">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a:t>Technology Adoption S-curve</a:t>
            </a:r>
          </a:p>
        </p:txBody>
      </p:sp>
      <p:sp>
        <p:nvSpPr>
          <p:cNvPr id="4" name="TextBox 3"/>
          <p:cNvSpPr txBox="1"/>
          <p:nvPr/>
        </p:nvSpPr>
        <p:spPr>
          <a:xfrm>
            <a:off x="3281302" y="5820624"/>
            <a:ext cx="2705869" cy="18466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Diffusion of Innovations, Everett Rogers</a:t>
            </a:r>
          </a:p>
        </p:txBody>
      </p:sp>
      <p:sp>
        <p:nvSpPr>
          <p:cNvPr id="5" name="Oval 4"/>
          <p:cNvSpPr/>
          <p:nvPr/>
        </p:nvSpPr>
        <p:spPr bwMode="gray">
          <a:xfrm>
            <a:off x="4181856" y="4035552"/>
            <a:ext cx="402336" cy="402336"/>
          </a:xfrm>
          <a:prstGeom prst="ellipse">
            <a:avLst/>
          </a:prstGeom>
          <a:noFill/>
          <a:ln w="571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3076" name="Picture 4" descr="https://upload.wikimedia.org/wikipedia/commons/thumb/1/11/Diffusion_of_ideas.svg/800px-Diffusion_of_ideas.svg.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565884" y="1335887"/>
            <a:ext cx="5633899" cy="4229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149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d reading assignment</a:t>
            </a:r>
          </a:p>
        </p:txBody>
      </p:sp>
      <p:sp>
        <p:nvSpPr>
          <p:cNvPr id="3" name="Text Placeholder 2"/>
          <p:cNvSpPr>
            <a:spLocks noGrp="1"/>
          </p:cNvSpPr>
          <p:nvPr>
            <p:ph type="body" sz="quarter" idx="10"/>
          </p:nvPr>
        </p:nvSpPr>
        <p:spPr>
          <a:xfrm>
            <a:off x="324000" y="1691078"/>
            <a:ext cx="7352804" cy="4392043"/>
          </a:xfrm>
        </p:spPr>
        <p:txBody>
          <a:bodyPr/>
          <a:lstStyle/>
          <a:p>
            <a:r>
              <a:rPr lang="en-US" dirty="0"/>
              <a:t>Read this paper first, before you explore blockchain technology </a:t>
            </a:r>
            <a:r>
              <a:rPr lang="en-US" dirty="0">
                <a:solidFill>
                  <a:srgbClr val="FFFF00"/>
                </a:solidFill>
                <a:hlinkClick r:id="rId2"/>
              </a:rPr>
              <a:t>https://bitcoin.org/bitcoin.pdf</a:t>
            </a:r>
            <a:r>
              <a:rPr lang="en-US" dirty="0">
                <a:solidFill>
                  <a:srgbClr val="FFFF00"/>
                </a:solidFill>
              </a:rPr>
              <a:t> </a:t>
            </a:r>
          </a:p>
          <a:p>
            <a:r>
              <a:rPr lang="en-US" dirty="0"/>
              <a:t>9 pages only (one page is for references)</a:t>
            </a:r>
          </a:p>
          <a:p>
            <a:r>
              <a:rPr lang="en-US" dirty="0"/>
              <a:t>A </a:t>
            </a:r>
            <a:r>
              <a:rPr lang="en-US" dirty="0">
                <a:solidFill>
                  <a:srgbClr val="FF0000"/>
                </a:solidFill>
              </a:rPr>
              <a:t>seminal</a:t>
            </a:r>
            <a:r>
              <a:rPr lang="en-US" dirty="0"/>
              <a:t> paper, also referred to as the </a:t>
            </a:r>
            <a:r>
              <a:rPr lang="en-US" i="1" dirty="0">
                <a:solidFill>
                  <a:srgbClr val="FFFF00"/>
                </a:solidFill>
              </a:rPr>
              <a:t>Holy Book of Satoshi</a:t>
            </a:r>
          </a:p>
          <a:p>
            <a:r>
              <a:rPr lang="en-US" dirty="0"/>
              <a:t>Quite technical, but this workshop will cover several of the topics in the paper</a:t>
            </a:r>
          </a:p>
          <a:p>
            <a:r>
              <a:rPr lang="en-US" dirty="0"/>
              <a:t>Has the potential to change the world (internet </a:t>
            </a:r>
            <a:r>
              <a:rPr lang="en-US" dirty="0">
                <a:sym typeface="Wingdings" panose="05000000000000000000" pitchFamily="2" charset="2"/>
              </a:rPr>
              <a:t> email  web  e-commerce  mobile  social  financial?  blockchain?)</a:t>
            </a:r>
          </a:p>
          <a:p>
            <a:r>
              <a:rPr lang="en-US" dirty="0">
                <a:sym typeface="Wingdings" panose="05000000000000000000" pitchFamily="2" charset="2"/>
              </a:rPr>
              <a:t>Then read the paper </a:t>
            </a:r>
            <a:r>
              <a:rPr lang="en-US" dirty="0">
                <a:solidFill>
                  <a:srgbClr val="FFFF00"/>
                </a:solidFill>
                <a:sym typeface="Wingdings" panose="05000000000000000000" pitchFamily="2" charset="2"/>
              </a:rPr>
              <a:t>again</a:t>
            </a:r>
            <a:r>
              <a:rPr lang="en-US" dirty="0">
                <a:sym typeface="Wingdings" panose="05000000000000000000" pitchFamily="2" charset="2"/>
              </a:rPr>
              <a:t>, and </a:t>
            </a:r>
            <a:r>
              <a:rPr lang="en-US" dirty="0">
                <a:solidFill>
                  <a:srgbClr val="FFFF00"/>
                </a:solidFill>
                <a:sym typeface="Wingdings" panose="05000000000000000000" pitchFamily="2" charset="2"/>
              </a:rPr>
              <a:t>again</a:t>
            </a:r>
            <a:r>
              <a:rPr lang="en-US" dirty="0">
                <a:sym typeface="Wingdings" panose="05000000000000000000" pitchFamily="2" charset="2"/>
              </a:rPr>
              <a:t>, and </a:t>
            </a:r>
            <a:r>
              <a:rPr lang="en-US" dirty="0">
                <a:solidFill>
                  <a:srgbClr val="FFFF00"/>
                </a:solidFill>
                <a:sym typeface="Wingdings" panose="05000000000000000000" pitchFamily="2" charset="2"/>
              </a:rPr>
              <a:t>again</a:t>
            </a:r>
            <a:r>
              <a:rPr lang="en-US" dirty="0">
                <a:sym typeface="Wingdings" panose="05000000000000000000" pitchFamily="2" charset="2"/>
              </a:rPr>
              <a:t>. You will discover additional nuances each time!</a:t>
            </a:r>
            <a:endParaRPr lang="en-US" dirty="0"/>
          </a:p>
          <a:p>
            <a:endParaRPr lang="en-US" dirty="0"/>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858604" y="2200326"/>
            <a:ext cx="3836631" cy="2576461"/>
          </a:xfrm>
          <a:prstGeom prst="rect">
            <a:avLst/>
          </a:prstGeom>
        </p:spPr>
      </p:pic>
      <p:sp>
        <p:nvSpPr>
          <p:cNvPr id="4" name="Notched Right Arrow 3"/>
          <p:cNvSpPr/>
          <p:nvPr/>
        </p:nvSpPr>
        <p:spPr bwMode="gray">
          <a:xfrm rot="1257697">
            <a:off x="5488649" y="2357769"/>
            <a:ext cx="2288910" cy="514350"/>
          </a:xfrm>
          <a:prstGeom prst="notchedRightArrow">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3620341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t>Bitcoin Challenges</a:t>
            </a:r>
            <a:endParaRPr lang="en-US" dirty="0"/>
          </a:p>
        </p:txBody>
      </p:sp>
      <p:sp>
        <p:nvSpPr>
          <p:cNvPr id="6" name="Text Placeholder 5"/>
          <p:cNvSpPr>
            <a:spLocks noGrp="1"/>
          </p:cNvSpPr>
          <p:nvPr>
            <p:ph type="body" sz="quarter" idx="10"/>
          </p:nvPr>
        </p:nvSpPr>
        <p:spPr/>
        <p:txBody>
          <a:bodyPr/>
          <a:lstStyle/>
          <a:p>
            <a:endParaRPr lang="en-US"/>
          </a:p>
        </p:txBody>
      </p:sp>
      <p:pic>
        <p:nvPicPr>
          <p:cNvPr id="5" name="Picture Placeholder 4" descr="Image result for bitcoin paper wallet"/>
          <p:cNvPicPr>
            <a:picLocks noGrp="1" noChangeAspect="1" noChangeArrowheads="1"/>
          </p:cNvPicPr>
          <p:nvPr>
            <p:ph type="pic" sz="quarter" idx="11"/>
          </p:nvPr>
        </p:nvPicPr>
        <p:blipFill>
          <a:blip r:embed="rId2">
            <a:extLst>
              <a:ext uri="{28A0092B-C50C-407E-A947-70E740481C1C}">
                <a14:useLocalDpi xmlns:a14="http://schemas.microsoft.com/office/drawing/2010/main"/>
              </a:ext>
            </a:extLst>
          </a:blip>
          <a:srcRect/>
          <a:stretch>
            <a:fillRect/>
          </a:stretch>
        </p:blipFill>
        <p:spPr bwMode="auto">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53882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Hype and hope</a:t>
            </a:r>
          </a:p>
        </p:txBody>
      </p:sp>
      <p:sp>
        <p:nvSpPr>
          <p:cNvPr id="6" name="Text Placeholder 5"/>
          <p:cNvSpPr>
            <a:spLocks noGrp="1"/>
          </p:cNvSpPr>
          <p:nvPr>
            <p:ph type="body" sz="quarter" idx="10"/>
          </p:nvPr>
        </p:nvSpPr>
        <p:spPr/>
        <p:txBody>
          <a:bodyPr/>
          <a:lstStyle/>
          <a:p>
            <a:r>
              <a:rPr lang="en-US" dirty="0"/>
              <a:t>Roy Amara’s Law – </a:t>
            </a:r>
          </a:p>
          <a:p>
            <a:pPr algn="ctr"/>
            <a:r>
              <a:rPr lang="en-US" sz="2800" b="0" i="1" dirty="0">
                <a:solidFill>
                  <a:srgbClr val="FFFF00"/>
                </a:solidFill>
              </a:rPr>
              <a:t>We tend to overestimate the effect of a technology in the short run and underestimate the effect in the long run.</a:t>
            </a:r>
          </a:p>
          <a:p>
            <a:r>
              <a:rPr lang="en-US" sz="1800" b="0" dirty="0"/>
              <a:t>A great example of the long term effect of technology is GPS. </a:t>
            </a:r>
          </a:p>
          <a:p>
            <a:pPr marL="285750" indent="-285750">
              <a:buFont typeface="Arial" panose="020B0604020202020204" pitchFamily="34" charset="0"/>
              <a:buChar char="•"/>
            </a:pPr>
            <a:r>
              <a:rPr lang="en-US" sz="1800" b="0" dirty="0"/>
              <a:t>First launched by the US Department of Defense in 1973</a:t>
            </a:r>
          </a:p>
          <a:p>
            <a:pPr marL="285750" indent="-285750">
              <a:buFont typeface="Arial" panose="020B0604020202020204" pitchFamily="34" charset="0"/>
              <a:buChar char="•"/>
            </a:pPr>
            <a:r>
              <a:rPr lang="en-US" sz="1800" b="0" dirty="0"/>
              <a:t>Allowed for civilian use in 1980s</a:t>
            </a:r>
          </a:p>
          <a:p>
            <a:pPr marL="285750" indent="-285750">
              <a:buFont typeface="Arial" panose="020B0604020202020204" pitchFamily="34" charset="0"/>
              <a:buChar char="•"/>
            </a:pPr>
            <a:r>
              <a:rPr lang="en-US" sz="1800" b="0" dirty="0"/>
              <a:t>Took decades for its long term impact to be felt. It was inconceivable how ubiquitous the use of this technology would become</a:t>
            </a:r>
          </a:p>
          <a:p>
            <a:r>
              <a:rPr lang="en-US" sz="1800" b="0" dirty="0"/>
              <a:t>Bitcoin’s long term impact is yet to be fully understood (whether or not the currency itself survives)</a:t>
            </a:r>
          </a:p>
        </p:txBody>
      </p:sp>
    </p:spTree>
    <p:extLst>
      <p:ext uri="{BB962C8B-B14F-4D97-AF65-F5344CB8AC3E}">
        <p14:creationId xmlns:p14="http://schemas.microsoft.com/office/powerpoint/2010/main" val="60130491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cceptance</a:t>
            </a:r>
          </a:p>
        </p:txBody>
      </p:sp>
      <p:sp>
        <p:nvSpPr>
          <p:cNvPr id="5" name="Text Placeholder 4"/>
          <p:cNvSpPr>
            <a:spLocks noGrp="1"/>
          </p:cNvSpPr>
          <p:nvPr>
            <p:ph type="body" sz="quarter" idx="10"/>
          </p:nvPr>
        </p:nvSpPr>
        <p:spPr>
          <a:xfrm>
            <a:off x="323999" y="1691078"/>
            <a:ext cx="6573757" cy="4392043"/>
          </a:xfrm>
        </p:spPr>
        <p:txBody>
          <a:bodyPr/>
          <a:lstStyle/>
          <a:p>
            <a:r>
              <a:rPr lang="en-US" dirty="0"/>
              <a:t>Hard to see</a:t>
            </a:r>
          </a:p>
          <a:p>
            <a:r>
              <a:rPr lang="en-US" dirty="0"/>
              <a:t>Hard to understand</a:t>
            </a:r>
          </a:p>
          <a:p>
            <a:r>
              <a:rPr lang="en-US" dirty="0"/>
              <a:t>Hard to use</a:t>
            </a:r>
          </a:p>
          <a:p>
            <a:r>
              <a:rPr lang="en-US" dirty="0"/>
              <a:t>Hard to ramp up</a:t>
            </a:r>
          </a:p>
          <a:p>
            <a:r>
              <a:rPr lang="en-US" dirty="0"/>
              <a:t>Perceived as risky (unsecure, volatile, no recourse, unregulated)</a:t>
            </a:r>
          </a:p>
          <a:p>
            <a:r>
              <a:rPr lang="en-US" dirty="0"/>
              <a:t>Perceived to be shady (dark web)</a:t>
            </a:r>
          </a:p>
        </p:txBody>
      </p:sp>
      <p:pic>
        <p:nvPicPr>
          <p:cNvPr id="2050" name="Picture 2" descr="Image result for bitcoin cartoon"/>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84881" y="2027582"/>
            <a:ext cx="4515353" cy="3508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75863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tx1">
                    <a:lumMod val="50000"/>
                    <a:lumOff val="50000"/>
                  </a:schemeClr>
                </a:solidFill>
                <a:ea typeface="Arial Unicode MS" pitchFamily="34" charset="-128"/>
                <a:cs typeface="Arial Unicode MS" pitchFamily="34" charset="-128"/>
              </a:rPr>
              <a:t>Scalability</a:t>
            </a:r>
            <a:endParaRPr lang="en-US" dirty="0">
              <a:solidFill>
                <a:schemeClr val="tx1">
                  <a:lumMod val="50000"/>
                  <a:lumOff val="50000"/>
                </a:schemeClr>
              </a:solidFill>
            </a:endParaRPr>
          </a:p>
        </p:txBody>
      </p:sp>
      <p:sp>
        <p:nvSpPr>
          <p:cNvPr id="3" name="Text Placeholder 2"/>
          <p:cNvSpPr>
            <a:spLocks noGrp="1"/>
          </p:cNvSpPr>
          <p:nvPr>
            <p:ph type="body" sz="quarter" idx="10"/>
          </p:nvPr>
        </p:nvSpPr>
        <p:spPr>
          <a:xfrm>
            <a:off x="324000" y="1336895"/>
            <a:ext cx="11545200" cy="1491033"/>
          </a:xfrm>
        </p:spPr>
        <p:txBody>
          <a:bodyPr/>
          <a:lstStyle/>
          <a:p>
            <a:r>
              <a:rPr lang="en-US" dirty="0"/>
              <a:t>The current version of bitcoin core software has a </a:t>
            </a:r>
            <a:r>
              <a:rPr lang="en-US" dirty="0" err="1"/>
              <a:t>blocksize</a:t>
            </a:r>
            <a:r>
              <a:rPr lang="en-US" dirty="0"/>
              <a:t> limit of 1MB. This can store about 2000 transactions (transaction size varies)</a:t>
            </a:r>
          </a:p>
          <a:p>
            <a:r>
              <a:rPr lang="en-US" dirty="0"/>
              <a:t>Considerable debate in the bitcoin community on how to scale. In a decentralized system, consensus on software changes is difficult</a:t>
            </a:r>
          </a:p>
        </p:txBody>
      </p:sp>
      <p:graphicFrame>
        <p:nvGraphicFramePr>
          <p:cNvPr id="4" name="Table 3"/>
          <p:cNvGraphicFramePr>
            <a:graphicFrameLocks noGrp="1"/>
          </p:cNvGraphicFramePr>
          <p:nvPr>
            <p:extLst/>
          </p:nvPr>
        </p:nvGraphicFramePr>
        <p:xfrm>
          <a:off x="853439" y="3010677"/>
          <a:ext cx="9863328" cy="2558460"/>
        </p:xfrm>
        <a:graphic>
          <a:graphicData uri="http://schemas.openxmlformats.org/drawingml/2006/table">
            <a:tbl>
              <a:tblPr firstRow="1" bandRow="1">
                <a:tableStyleId>{69012ECD-51FC-41F1-AA8D-1B2483CD663E}</a:tableStyleId>
              </a:tblPr>
              <a:tblGrid>
                <a:gridCol w="3287776">
                  <a:extLst>
                    <a:ext uri="{9D8B030D-6E8A-4147-A177-3AD203B41FA5}">
                      <a16:colId xmlns:a16="http://schemas.microsoft.com/office/drawing/2014/main" val="2234094099"/>
                    </a:ext>
                  </a:extLst>
                </a:gridCol>
                <a:gridCol w="3287776">
                  <a:extLst>
                    <a:ext uri="{9D8B030D-6E8A-4147-A177-3AD203B41FA5}">
                      <a16:colId xmlns:a16="http://schemas.microsoft.com/office/drawing/2014/main" val="137241000"/>
                    </a:ext>
                  </a:extLst>
                </a:gridCol>
                <a:gridCol w="3287776">
                  <a:extLst>
                    <a:ext uri="{9D8B030D-6E8A-4147-A177-3AD203B41FA5}">
                      <a16:colId xmlns:a16="http://schemas.microsoft.com/office/drawing/2014/main" val="3863861146"/>
                    </a:ext>
                  </a:extLst>
                </a:gridCol>
              </a:tblGrid>
              <a:tr h="912540">
                <a:tc>
                  <a:txBody>
                    <a:bodyPr/>
                    <a:lstStyle/>
                    <a:p>
                      <a:endParaRPr lang="en-US" dirty="0"/>
                    </a:p>
                  </a:txBody>
                  <a:tcPr/>
                </a:tc>
                <a:tc>
                  <a:txBody>
                    <a:bodyPr/>
                    <a:lstStyle/>
                    <a:p>
                      <a:r>
                        <a:rPr lang="en-US" dirty="0"/>
                        <a:t>Average transactions per second</a:t>
                      </a:r>
                    </a:p>
                  </a:txBody>
                  <a:tcPr/>
                </a:tc>
                <a:tc>
                  <a:txBody>
                    <a:bodyPr/>
                    <a:lstStyle/>
                    <a:p>
                      <a:r>
                        <a:rPr lang="en-US" dirty="0"/>
                        <a:t>Max</a:t>
                      </a:r>
                      <a:r>
                        <a:rPr lang="en-US" baseline="0" dirty="0"/>
                        <a:t> transactions per second</a:t>
                      </a:r>
                      <a:endParaRPr lang="en-US" dirty="0"/>
                    </a:p>
                  </a:txBody>
                  <a:tcPr/>
                </a:tc>
                <a:extLst>
                  <a:ext uri="{0D108BD9-81ED-4DB2-BD59-A6C34878D82A}">
                    <a16:rowId xmlns:a16="http://schemas.microsoft.com/office/drawing/2014/main" val="2777605371"/>
                  </a:ext>
                </a:extLst>
              </a:tr>
              <a:tr h="357081">
                <a:tc>
                  <a:txBody>
                    <a:bodyPr/>
                    <a:lstStyle/>
                    <a:p>
                      <a:r>
                        <a:rPr lang="en-US" dirty="0"/>
                        <a:t>Visa</a:t>
                      </a:r>
                    </a:p>
                  </a:txBody>
                  <a:tcPr/>
                </a:tc>
                <a:tc>
                  <a:txBody>
                    <a:bodyPr/>
                    <a:lstStyle/>
                    <a:p>
                      <a:r>
                        <a:rPr lang="en-US" dirty="0"/>
                        <a:t>2000</a:t>
                      </a:r>
                    </a:p>
                  </a:txBody>
                  <a:tcPr/>
                </a:tc>
                <a:tc>
                  <a:txBody>
                    <a:bodyPr/>
                    <a:lstStyle/>
                    <a:p>
                      <a:r>
                        <a:rPr lang="en-US" dirty="0"/>
                        <a:t>56000</a:t>
                      </a:r>
                    </a:p>
                  </a:txBody>
                  <a:tcPr/>
                </a:tc>
                <a:extLst>
                  <a:ext uri="{0D108BD9-81ED-4DB2-BD59-A6C34878D82A}">
                    <a16:rowId xmlns:a16="http://schemas.microsoft.com/office/drawing/2014/main" val="2607348847"/>
                  </a:ext>
                </a:extLst>
              </a:tr>
              <a:tr h="357081">
                <a:tc>
                  <a:txBody>
                    <a:bodyPr/>
                    <a:lstStyle/>
                    <a:p>
                      <a:r>
                        <a:rPr lang="en-US" dirty="0" err="1"/>
                        <a:t>Paypal</a:t>
                      </a:r>
                      <a:endParaRPr lang="en-US" dirty="0"/>
                    </a:p>
                  </a:txBody>
                  <a:tcPr/>
                </a:tc>
                <a:tc>
                  <a:txBody>
                    <a:bodyPr/>
                    <a:lstStyle/>
                    <a:p>
                      <a:r>
                        <a:rPr lang="en-US" dirty="0"/>
                        <a:t>200</a:t>
                      </a:r>
                    </a:p>
                  </a:txBody>
                  <a:tcPr/>
                </a:tc>
                <a:tc>
                  <a:txBody>
                    <a:bodyPr/>
                    <a:lstStyle/>
                    <a:p>
                      <a:r>
                        <a:rPr lang="en-US" dirty="0"/>
                        <a:t>450</a:t>
                      </a:r>
                    </a:p>
                  </a:txBody>
                  <a:tcPr/>
                </a:tc>
                <a:extLst>
                  <a:ext uri="{0D108BD9-81ED-4DB2-BD59-A6C34878D82A}">
                    <a16:rowId xmlns:a16="http://schemas.microsoft.com/office/drawing/2014/main" val="1932554901"/>
                  </a:ext>
                </a:extLst>
              </a:tr>
              <a:tr h="357081">
                <a:tc>
                  <a:txBody>
                    <a:bodyPr/>
                    <a:lstStyle/>
                    <a:p>
                      <a:r>
                        <a:rPr lang="en-US" dirty="0"/>
                        <a:t>Bitcoin</a:t>
                      </a:r>
                    </a:p>
                  </a:txBody>
                  <a:tcPr/>
                </a:tc>
                <a:tc>
                  <a:txBody>
                    <a:bodyPr/>
                    <a:lstStyle/>
                    <a:p>
                      <a:r>
                        <a:rPr lang="en-US" dirty="0"/>
                        <a:t>3</a:t>
                      </a:r>
                    </a:p>
                  </a:txBody>
                  <a:tcPr/>
                </a:tc>
                <a:tc>
                  <a:txBody>
                    <a:bodyPr/>
                    <a:lstStyle/>
                    <a:p>
                      <a:r>
                        <a:rPr lang="en-US" dirty="0"/>
                        <a:t>7</a:t>
                      </a:r>
                    </a:p>
                  </a:txBody>
                  <a:tcPr/>
                </a:tc>
                <a:extLst>
                  <a:ext uri="{0D108BD9-81ED-4DB2-BD59-A6C34878D82A}">
                    <a16:rowId xmlns:a16="http://schemas.microsoft.com/office/drawing/2014/main" val="3364067070"/>
                  </a:ext>
                </a:extLst>
              </a:tr>
              <a:tr h="357081">
                <a:tc>
                  <a:txBody>
                    <a:bodyPr/>
                    <a:lstStyle/>
                    <a:p>
                      <a:r>
                        <a:rPr lang="en-US" dirty="0"/>
                        <a:t>SWIFT</a:t>
                      </a:r>
                    </a:p>
                  </a:txBody>
                  <a:tcPr/>
                </a:tc>
                <a:tc>
                  <a:txBody>
                    <a:bodyPr/>
                    <a:lstStyle/>
                    <a:p>
                      <a:r>
                        <a:rPr lang="en-US" dirty="0"/>
                        <a:t>140</a:t>
                      </a:r>
                    </a:p>
                  </a:txBody>
                  <a:tcPr/>
                </a:tc>
                <a:tc>
                  <a:txBody>
                    <a:bodyPr/>
                    <a:lstStyle/>
                    <a:p>
                      <a:r>
                        <a:rPr lang="en-US" dirty="0"/>
                        <a:t>160</a:t>
                      </a:r>
                    </a:p>
                  </a:txBody>
                  <a:tcPr/>
                </a:tc>
                <a:extLst>
                  <a:ext uri="{0D108BD9-81ED-4DB2-BD59-A6C34878D82A}">
                    <a16:rowId xmlns:a16="http://schemas.microsoft.com/office/drawing/2014/main" val="4148233189"/>
                  </a:ext>
                </a:extLst>
              </a:tr>
            </a:tbl>
          </a:graphicData>
        </a:graphic>
      </p:graphicFrame>
      <p:sp>
        <p:nvSpPr>
          <p:cNvPr id="5" name="Rectangle 4"/>
          <p:cNvSpPr/>
          <p:nvPr/>
        </p:nvSpPr>
        <p:spPr>
          <a:xfrm>
            <a:off x="3381633" y="5544137"/>
            <a:ext cx="4100803" cy="415498"/>
          </a:xfrm>
          <a:prstGeom prst="rect">
            <a:avLst/>
          </a:prstGeom>
        </p:spPr>
        <p:txBody>
          <a:bodyPr wrap="none">
            <a:spAutoFit/>
          </a:bodyPr>
          <a:lstStyle/>
          <a:p>
            <a:r>
              <a:rPr lang="en-US" dirty="0"/>
              <a:t>Comparison of payment systems</a:t>
            </a:r>
          </a:p>
        </p:txBody>
      </p:sp>
    </p:spTree>
    <p:extLst>
      <p:ext uri="{BB962C8B-B14F-4D97-AF65-F5344CB8AC3E}">
        <p14:creationId xmlns:p14="http://schemas.microsoft.com/office/powerpoint/2010/main" val="290711392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a:t>
            </a:r>
          </a:p>
        </p:txBody>
      </p:sp>
      <p:sp>
        <p:nvSpPr>
          <p:cNvPr id="3" name="Text Placeholder 2"/>
          <p:cNvSpPr>
            <a:spLocks noGrp="1"/>
          </p:cNvSpPr>
          <p:nvPr>
            <p:ph type="body" sz="quarter" idx="10"/>
          </p:nvPr>
        </p:nvSpPr>
        <p:spPr/>
        <p:txBody>
          <a:bodyPr/>
          <a:lstStyle/>
          <a:p>
            <a:r>
              <a:rPr lang="en-US" dirty="0"/>
              <a:t>The bitcoin network is reaching the 1MB per block size limit. Which means transactions have to wait to be confirmed.</a:t>
            </a:r>
          </a:p>
          <a:p>
            <a:r>
              <a:rPr lang="en-US" dirty="0"/>
              <a:t>To prioritize your transaction, you can add more fee. This is increasing the average transaction fee.</a:t>
            </a:r>
          </a:p>
          <a:p>
            <a:r>
              <a:rPr lang="en-US" dirty="0"/>
              <a:t>Several ideas have been suggested to scale the network</a:t>
            </a:r>
          </a:p>
          <a:p>
            <a:pPr marL="666930" lvl="1" indent="-342866">
              <a:buFont typeface="Arial" panose="020B0604020202020204" pitchFamily="34" charset="0"/>
              <a:buChar char="•"/>
            </a:pPr>
            <a:r>
              <a:rPr lang="en-US" dirty="0">
                <a:solidFill>
                  <a:srgbClr val="FF0000"/>
                </a:solidFill>
              </a:rPr>
              <a:t>Remove</a:t>
            </a:r>
            <a:r>
              <a:rPr lang="en-US" dirty="0"/>
              <a:t> the block size limit</a:t>
            </a:r>
          </a:p>
          <a:p>
            <a:pPr marL="666930" lvl="1" indent="-342866">
              <a:buFont typeface="Arial" panose="020B0604020202020204" pitchFamily="34" charset="0"/>
              <a:buChar char="•"/>
            </a:pPr>
            <a:r>
              <a:rPr lang="en-US" dirty="0">
                <a:solidFill>
                  <a:srgbClr val="FF0000"/>
                </a:solidFill>
              </a:rPr>
              <a:t>Double</a:t>
            </a:r>
            <a:r>
              <a:rPr lang="en-US" dirty="0"/>
              <a:t> block size every few years</a:t>
            </a:r>
          </a:p>
          <a:p>
            <a:pPr marL="666930" lvl="1" indent="-342866">
              <a:buFont typeface="Arial" panose="020B0604020202020204" pitchFamily="34" charset="0"/>
              <a:buChar char="•"/>
            </a:pPr>
            <a:r>
              <a:rPr lang="en-US" dirty="0"/>
              <a:t>Make the transactions smaller by using </a:t>
            </a:r>
            <a:r>
              <a:rPr lang="en-US" dirty="0">
                <a:solidFill>
                  <a:srgbClr val="FF0000"/>
                </a:solidFill>
              </a:rPr>
              <a:t>Segregated Witness (</a:t>
            </a:r>
            <a:r>
              <a:rPr lang="en-US" dirty="0" err="1">
                <a:solidFill>
                  <a:srgbClr val="FF0000"/>
                </a:solidFill>
              </a:rPr>
              <a:t>SegWit</a:t>
            </a:r>
            <a:r>
              <a:rPr lang="en-US" dirty="0">
                <a:solidFill>
                  <a:srgbClr val="FF0000"/>
                </a:solidFill>
              </a:rPr>
              <a:t>)</a:t>
            </a:r>
          </a:p>
          <a:p>
            <a:pPr marL="666930" lvl="1" indent="-342866">
              <a:buFont typeface="Arial" panose="020B0604020202020204" pitchFamily="34" charset="0"/>
              <a:buChar char="•"/>
            </a:pPr>
            <a:r>
              <a:rPr lang="en-US" dirty="0">
                <a:solidFill>
                  <a:srgbClr val="FF0000"/>
                </a:solidFill>
              </a:rPr>
              <a:t>Lightning network </a:t>
            </a:r>
            <a:r>
              <a:rPr lang="en-US" dirty="0"/>
              <a:t>– move the transactions off the blockchain and record the ultimate settlement on the blockchain</a:t>
            </a:r>
          </a:p>
          <a:p>
            <a:pPr marL="342866" indent="-342866">
              <a:buFont typeface="Arial" panose="020B0604020202020204" pitchFamily="34" charset="0"/>
              <a:buChar char="•"/>
            </a:pPr>
            <a:endParaRPr lang="en-US" dirty="0"/>
          </a:p>
        </p:txBody>
      </p:sp>
    </p:spTree>
    <p:extLst>
      <p:ext uri="{BB962C8B-B14F-4D97-AF65-F5344CB8AC3E}">
        <p14:creationId xmlns:p14="http://schemas.microsoft.com/office/powerpoint/2010/main" val="258669715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6F066-5902-462C-A15D-78C40F7BFAE7}"/>
              </a:ext>
            </a:extLst>
          </p:cNvPr>
          <p:cNvSpPr>
            <a:spLocks noGrp="1"/>
          </p:cNvSpPr>
          <p:nvPr>
            <p:ph type="title"/>
          </p:nvPr>
        </p:nvSpPr>
        <p:spPr/>
        <p:txBody>
          <a:bodyPr/>
          <a:lstStyle/>
          <a:p>
            <a:r>
              <a:rPr lang="en-US" dirty="0"/>
              <a:t>Consensus about protocol rules</a:t>
            </a:r>
          </a:p>
        </p:txBody>
      </p:sp>
      <p:sp>
        <p:nvSpPr>
          <p:cNvPr id="3" name="Content Placeholder 2">
            <a:extLst>
              <a:ext uri="{FF2B5EF4-FFF2-40B4-BE49-F238E27FC236}">
                <a16:creationId xmlns:a16="http://schemas.microsoft.com/office/drawing/2014/main" id="{3F2BB6F3-0808-40B8-8922-539CEF7F3D38}"/>
              </a:ext>
            </a:extLst>
          </p:cNvPr>
          <p:cNvSpPr>
            <a:spLocks noGrp="1"/>
          </p:cNvSpPr>
          <p:nvPr>
            <p:ph type="body" sz="quarter" idx="10"/>
          </p:nvPr>
        </p:nvSpPr>
        <p:spPr/>
        <p:txBody>
          <a:bodyPr>
            <a:normAutofit fontScale="92500" lnSpcReduction="10000"/>
          </a:bodyPr>
          <a:lstStyle/>
          <a:p>
            <a:r>
              <a:rPr lang="en-US" dirty="0"/>
              <a:t>In a centralized system, software upgrades are decided by the central authority who engages developers to implement the upgrades.</a:t>
            </a:r>
          </a:p>
          <a:p>
            <a:r>
              <a:rPr lang="en-US" dirty="0"/>
              <a:t>These updates are released through versioning that is released to all nodes.</a:t>
            </a:r>
          </a:p>
          <a:p>
            <a:r>
              <a:rPr lang="en-US" dirty="0"/>
              <a:t>Users (nodes) are urged (forced?) to update.</a:t>
            </a:r>
          </a:p>
          <a:p>
            <a:r>
              <a:rPr lang="en-US" dirty="0"/>
              <a:t>Failure to update can lead to security risks, missing ‘cool’ new features, lack of support after some expiration date, unavailability of patches for old versions.</a:t>
            </a:r>
          </a:p>
          <a:p>
            <a:r>
              <a:rPr lang="en-US" dirty="0"/>
              <a:t>Over time nodes don’t want to be left behind. They will upgrade.</a:t>
            </a:r>
          </a:p>
        </p:txBody>
      </p:sp>
      <p:sp>
        <p:nvSpPr>
          <p:cNvPr id="7" name="Text Placeholder 6"/>
          <p:cNvSpPr>
            <a:spLocks noGrp="1"/>
          </p:cNvSpPr>
          <p:nvPr>
            <p:ph type="body" sz="quarter" idx="11"/>
          </p:nvPr>
        </p:nvSpPr>
        <p:spPr/>
        <p:txBody>
          <a:bodyPr/>
          <a:lstStyle/>
          <a:p>
            <a:endParaRPr lang="en-US"/>
          </a:p>
        </p:txBody>
      </p:sp>
      <p:pic>
        <p:nvPicPr>
          <p:cNvPr id="2050" name="Picture 2" descr="Image result for samsung galaxy system update">
            <a:extLst>
              <a:ext uri="{FF2B5EF4-FFF2-40B4-BE49-F238E27FC236}">
                <a16:creationId xmlns:a16="http://schemas.microsoft.com/office/drawing/2014/main" id="{1A1C5E8F-9868-4037-BF21-9279AAD624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397" r="14644" b="17736"/>
          <a:stretch/>
        </p:blipFill>
        <p:spPr bwMode="auto">
          <a:xfrm>
            <a:off x="6707328" y="2004145"/>
            <a:ext cx="4906343" cy="4054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06666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ECD3C-E726-4F5F-BDD4-E7A3D58559DE}"/>
              </a:ext>
            </a:extLst>
          </p:cNvPr>
          <p:cNvSpPr>
            <a:spLocks noGrp="1"/>
          </p:cNvSpPr>
          <p:nvPr>
            <p:ph type="title"/>
          </p:nvPr>
        </p:nvSpPr>
        <p:spPr/>
        <p:txBody>
          <a:bodyPr/>
          <a:lstStyle/>
          <a:p>
            <a:r>
              <a:rPr lang="en-US" dirty="0"/>
              <a:t>Decentralized consensus</a:t>
            </a:r>
          </a:p>
        </p:txBody>
      </p:sp>
      <p:sp>
        <p:nvSpPr>
          <p:cNvPr id="3" name="Content Placeholder 2">
            <a:extLst>
              <a:ext uri="{FF2B5EF4-FFF2-40B4-BE49-F238E27FC236}">
                <a16:creationId xmlns:a16="http://schemas.microsoft.com/office/drawing/2014/main" id="{09464DF3-9624-40DE-AD14-F546832E47E1}"/>
              </a:ext>
            </a:extLst>
          </p:cNvPr>
          <p:cNvSpPr>
            <a:spLocks noGrp="1"/>
          </p:cNvSpPr>
          <p:nvPr>
            <p:ph type="body" sz="quarter" idx="10"/>
          </p:nvPr>
        </p:nvSpPr>
        <p:spPr/>
        <p:txBody>
          <a:bodyPr/>
          <a:lstStyle/>
          <a:p>
            <a:r>
              <a:rPr lang="en-US" dirty="0"/>
              <a:t>In a decentralized system, how does the software upgrade? </a:t>
            </a:r>
          </a:p>
          <a:p>
            <a:r>
              <a:rPr lang="en-US" dirty="0"/>
              <a:t>Who decides what is good for the network? </a:t>
            </a:r>
          </a:p>
          <a:p>
            <a:r>
              <a:rPr lang="en-US" dirty="0"/>
              <a:t>How is voting done? </a:t>
            </a:r>
          </a:p>
          <a:p>
            <a:r>
              <a:rPr lang="en-US" dirty="0"/>
              <a:t>Who programs and tests the upgrades?</a:t>
            </a:r>
          </a:p>
          <a:p>
            <a:r>
              <a:rPr lang="en-US" dirty="0"/>
              <a:t>What happens when there is disagreement? </a:t>
            </a:r>
          </a:p>
          <a:p>
            <a:r>
              <a:rPr lang="en-US" dirty="0"/>
              <a:t>How can consensus about software changes be achieved?</a:t>
            </a:r>
          </a:p>
          <a:p>
            <a:endParaRPr lang="en-US" dirty="0"/>
          </a:p>
        </p:txBody>
      </p:sp>
      <p:sp>
        <p:nvSpPr>
          <p:cNvPr id="8" name="Text Placeholder 7"/>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0761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9D82B-2561-4905-A554-8555C86C2E26}"/>
              </a:ext>
            </a:extLst>
          </p:cNvPr>
          <p:cNvSpPr>
            <a:spLocks noGrp="1"/>
          </p:cNvSpPr>
          <p:nvPr>
            <p:ph type="title"/>
          </p:nvPr>
        </p:nvSpPr>
        <p:spPr/>
        <p:txBody>
          <a:bodyPr/>
          <a:lstStyle/>
          <a:p>
            <a:r>
              <a:rPr lang="en-US" dirty="0"/>
              <a:t>How to update software</a:t>
            </a:r>
          </a:p>
        </p:txBody>
      </p:sp>
      <p:sp>
        <p:nvSpPr>
          <p:cNvPr id="3" name="Content Placeholder 2">
            <a:extLst>
              <a:ext uri="{FF2B5EF4-FFF2-40B4-BE49-F238E27FC236}">
                <a16:creationId xmlns:a16="http://schemas.microsoft.com/office/drawing/2014/main" id="{C5851B70-E585-4835-BEDB-956C434D9C55}"/>
              </a:ext>
            </a:extLst>
          </p:cNvPr>
          <p:cNvSpPr>
            <a:spLocks noGrp="1"/>
          </p:cNvSpPr>
          <p:nvPr>
            <p:ph type="body" sz="quarter" idx="10"/>
          </p:nvPr>
        </p:nvSpPr>
        <p:spPr/>
        <p:txBody>
          <a:bodyPr/>
          <a:lstStyle/>
          <a:p>
            <a:r>
              <a:rPr lang="en-US" dirty="0"/>
              <a:t>In bitcoin, software updates are </a:t>
            </a:r>
          </a:p>
          <a:p>
            <a:pPr lvl="1"/>
            <a:r>
              <a:rPr lang="en-US" dirty="0"/>
              <a:t>sometimes </a:t>
            </a:r>
            <a:r>
              <a:rPr lang="en-US" i="1" dirty="0"/>
              <a:t>necessary</a:t>
            </a:r>
            <a:endParaRPr lang="en-US" dirty="0"/>
          </a:p>
          <a:p>
            <a:pPr lvl="1"/>
            <a:r>
              <a:rPr lang="en-US" dirty="0"/>
              <a:t>sometimes they </a:t>
            </a:r>
            <a:r>
              <a:rPr lang="en-US" i="1" dirty="0"/>
              <a:t>improve</a:t>
            </a:r>
            <a:r>
              <a:rPr lang="en-US" dirty="0"/>
              <a:t> the feature and functions. </a:t>
            </a:r>
          </a:p>
          <a:p>
            <a:pPr lvl="1"/>
            <a:r>
              <a:rPr lang="en-US" dirty="0"/>
              <a:t>sometimes they </a:t>
            </a:r>
            <a:r>
              <a:rPr lang="en-US" i="1" dirty="0"/>
              <a:t>benefit</a:t>
            </a:r>
            <a:r>
              <a:rPr lang="en-US" dirty="0"/>
              <a:t> one or the other constituents of the network – </a:t>
            </a:r>
            <a:r>
              <a:rPr lang="en-US" dirty="0">
                <a:solidFill>
                  <a:srgbClr val="FF0000"/>
                </a:solidFill>
              </a:rPr>
              <a:t>users, exchanges, merchants, miners, developers.</a:t>
            </a:r>
          </a:p>
          <a:p>
            <a:endParaRPr lang="en-US" dirty="0">
              <a:solidFill>
                <a:schemeClr val="tx1"/>
              </a:solidFill>
            </a:endParaRPr>
          </a:p>
        </p:txBody>
      </p:sp>
    </p:spTree>
    <p:extLst>
      <p:ext uri="{BB962C8B-B14F-4D97-AF65-F5344CB8AC3E}">
        <p14:creationId xmlns:p14="http://schemas.microsoft.com/office/powerpoint/2010/main" val="82447706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ftware changes/upgrade and consensus</a:t>
            </a:r>
          </a:p>
        </p:txBody>
      </p:sp>
      <p:sp>
        <p:nvSpPr>
          <p:cNvPr id="5" name="Text Placeholder 4"/>
          <p:cNvSpPr>
            <a:spLocks noGrp="1"/>
          </p:cNvSpPr>
          <p:nvPr>
            <p:ph type="body" sz="quarter" idx="10"/>
          </p:nvPr>
        </p:nvSpPr>
        <p:spPr/>
        <p:txBody>
          <a:bodyPr/>
          <a:lstStyle/>
          <a:p>
            <a:r>
              <a:rPr lang="en-US" dirty="0"/>
              <a:t>Forking: </a:t>
            </a:r>
            <a:r>
              <a:rPr lang="en-US" b="0" dirty="0"/>
              <a:t>In </a:t>
            </a:r>
            <a:r>
              <a:rPr lang="en-US" dirty="0"/>
              <a:t>software</a:t>
            </a:r>
            <a:r>
              <a:rPr lang="en-US" b="0" dirty="0"/>
              <a:t> engineering, a project </a:t>
            </a:r>
            <a:r>
              <a:rPr lang="en-US" dirty="0"/>
              <a:t>fork</a:t>
            </a:r>
            <a:r>
              <a:rPr lang="en-US" b="0" dirty="0"/>
              <a:t> happens when developers take a copy of source code from one software package and start independent development on it, creating a distinct and separate piece of software. (</a:t>
            </a:r>
            <a:r>
              <a:rPr lang="en-US" b="0" dirty="0">
                <a:hlinkClick r:id="rId2"/>
              </a:rPr>
              <a:t>https://en.wikipedia.org/wiki/Fork_(software_development))</a:t>
            </a:r>
            <a:endParaRPr lang="en-US" b="0" dirty="0"/>
          </a:p>
          <a:p>
            <a:r>
              <a:rPr lang="en-US" b="0" dirty="0"/>
              <a:t>Software changes in a decentralized system: Achieved through consensus</a:t>
            </a:r>
          </a:p>
          <a:p>
            <a:r>
              <a:rPr lang="en-US" dirty="0">
                <a:solidFill>
                  <a:srgbClr val="FF0000"/>
                </a:solidFill>
              </a:rPr>
              <a:t>Soft fork: </a:t>
            </a:r>
            <a:r>
              <a:rPr lang="en-US" b="0" dirty="0"/>
              <a:t>a change to the bitcoin protocol which is backwards compatible. "Soft" changes tighten up the rules-- old software will accept all the blocks and transactions created by new software, but the opposite may not be true. "Soft" changes do not require the entire network of miners and merchants and users to upgrade or be left behind. If 51% of the hashing power switches to the new version, the network heals itself.</a:t>
            </a:r>
          </a:p>
          <a:p>
            <a:r>
              <a:rPr lang="en-US" dirty="0">
                <a:solidFill>
                  <a:srgbClr val="FF0000"/>
                </a:solidFill>
              </a:rPr>
              <a:t>Hard fork: </a:t>
            </a:r>
            <a:r>
              <a:rPr lang="en-US" b="0" dirty="0"/>
              <a:t>a change to the bitcoin protocol which is not backwards compatible. It eases block acceptance rules making previously invalid blocks valid in the new version. The blockchain splits into two chains! This happened to bitcoin on Aug 1, 2017. Two bitcoin based currencies now exist.</a:t>
            </a:r>
          </a:p>
        </p:txBody>
      </p:sp>
    </p:spTree>
    <p:extLst>
      <p:ext uri="{BB962C8B-B14F-4D97-AF65-F5344CB8AC3E}">
        <p14:creationId xmlns:p14="http://schemas.microsoft.com/office/powerpoint/2010/main" val="174056006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ftware changes/upgrade and consensus</a:t>
            </a:r>
          </a:p>
        </p:txBody>
      </p:sp>
      <p:sp>
        <p:nvSpPr>
          <p:cNvPr id="5" name="Text Placeholder 4"/>
          <p:cNvSpPr>
            <a:spLocks noGrp="1"/>
          </p:cNvSpPr>
          <p:nvPr>
            <p:ph type="body" sz="quarter" idx="10"/>
          </p:nvPr>
        </p:nvSpPr>
        <p:spPr>
          <a:xfrm>
            <a:off x="324000" y="1692391"/>
            <a:ext cx="3721018" cy="4393017"/>
          </a:xfrm>
        </p:spPr>
        <p:txBody>
          <a:bodyPr>
            <a:normAutofit/>
          </a:bodyPr>
          <a:lstStyle/>
          <a:p>
            <a:r>
              <a:rPr lang="en-US" dirty="0">
                <a:solidFill>
                  <a:srgbClr val="FF0000"/>
                </a:solidFill>
              </a:rPr>
              <a:t>Forks: </a:t>
            </a:r>
            <a:r>
              <a:rPr lang="en-US" b="0" dirty="0"/>
              <a:t>In </a:t>
            </a:r>
            <a:r>
              <a:rPr lang="en-US" dirty="0"/>
              <a:t>software</a:t>
            </a:r>
            <a:r>
              <a:rPr lang="en-US" b="0" dirty="0"/>
              <a:t> engineering, a project </a:t>
            </a:r>
            <a:r>
              <a:rPr lang="en-US" dirty="0"/>
              <a:t>fork</a:t>
            </a:r>
            <a:r>
              <a:rPr lang="en-US" b="0" dirty="0"/>
              <a:t> happens when developers take a copy of source code from one software package and start independent development on it, creating a distinct and separate piece of software. (</a:t>
            </a:r>
            <a:r>
              <a:rPr lang="en-US" b="0" dirty="0">
                <a:hlinkClick r:id="rId2"/>
              </a:rPr>
              <a:t>https://en.wikipedia.org/wiki/Fork_(software_development))</a:t>
            </a:r>
            <a:endParaRPr lang="en-US" b="0" dirty="0"/>
          </a:p>
        </p:txBody>
      </p:sp>
      <p:sp>
        <p:nvSpPr>
          <p:cNvPr id="2" name="Text Placeholder 1"/>
          <p:cNvSpPr>
            <a:spLocks noGrp="1"/>
          </p:cNvSpPr>
          <p:nvPr>
            <p:ph type="body" sz="quarter" idx="11"/>
          </p:nvPr>
        </p:nvSpPr>
        <p:spPr/>
        <p:txBody>
          <a:bodyPr/>
          <a:lstStyle/>
          <a:p>
            <a:endParaRPr lang="en-US"/>
          </a:p>
        </p:txBody>
      </p:sp>
      <p:pic>
        <p:nvPicPr>
          <p:cNvPr id="1026" name="Picture 2" descr="Image result for fork">
            <a:extLst>
              <a:ext uri="{FF2B5EF4-FFF2-40B4-BE49-F238E27FC236}">
                <a16:creationId xmlns:a16="http://schemas.microsoft.com/office/drawing/2014/main" id="{76AEDF1D-5F25-4F9F-973D-B14E35E0EF6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000" r="29076"/>
          <a:stretch/>
        </p:blipFill>
        <p:spPr bwMode="auto">
          <a:xfrm>
            <a:off x="10076039" y="1967775"/>
            <a:ext cx="1669743" cy="4080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road fork">
            <a:extLst>
              <a:ext uri="{FF2B5EF4-FFF2-40B4-BE49-F238E27FC236}">
                <a16:creationId xmlns:a16="http://schemas.microsoft.com/office/drawing/2014/main" id="{7B9EFDE2-4A44-4ABA-8332-15934FFB10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0052" y="2388153"/>
            <a:ext cx="5905987" cy="3012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937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reading</a:t>
            </a:r>
          </a:p>
        </p:txBody>
      </p:sp>
      <p:sp>
        <p:nvSpPr>
          <p:cNvPr id="4" name="Text Placeholder 3"/>
          <p:cNvSpPr>
            <a:spLocks noGrp="1"/>
          </p:cNvSpPr>
          <p:nvPr>
            <p:ph type="body" sz="quarter" idx="10"/>
          </p:nvPr>
        </p:nvSpPr>
        <p:spPr>
          <a:xfrm>
            <a:off x="323999" y="1692391"/>
            <a:ext cx="7398705" cy="4393017"/>
          </a:xfrm>
        </p:spPr>
        <p:txBody>
          <a:bodyPr/>
          <a:lstStyle/>
          <a:p>
            <a:pPr marL="342900" indent="-342900">
              <a:buFont typeface="Arial" panose="020B0604020202020204" pitchFamily="34" charset="0"/>
              <a:buChar char="•"/>
            </a:pPr>
            <a:r>
              <a:rPr lang="en-US" dirty="0"/>
              <a:t>Nobel Laureate John Nash’s seminal two-page paper - </a:t>
            </a:r>
            <a:r>
              <a:rPr lang="en-US" dirty="0">
                <a:hlinkClick r:id="rId2"/>
              </a:rPr>
              <a:t>http://www.pnas.org/content/36/1/48.full.pdf</a:t>
            </a:r>
            <a:r>
              <a:rPr lang="en-US" dirty="0"/>
              <a:t> </a:t>
            </a:r>
          </a:p>
          <a:p>
            <a:pPr marL="342900" indent="-342900">
              <a:buFont typeface="Arial" panose="020B0604020202020204" pitchFamily="34" charset="0"/>
              <a:buChar char="•"/>
            </a:pPr>
            <a:r>
              <a:rPr lang="en-US" dirty="0"/>
              <a:t>Game Theory</a:t>
            </a:r>
          </a:p>
          <a:p>
            <a:pPr marL="342900" indent="-342900">
              <a:buFont typeface="Arial" panose="020B0604020202020204" pitchFamily="34" charset="0"/>
              <a:buChar char="•"/>
            </a:pPr>
            <a:r>
              <a:rPr lang="en-US" dirty="0"/>
              <a:t>Nash Equilibrium</a:t>
            </a:r>
          </a:p>
          <a:p>
            <a:pPr marL="342900" indent="-342900">
              <a:buFont typeface="Arial" panose="020B0604020202020204" pitchFamily="34" charset="0"/>
              <a:buChar char="•"/>
            </a:pPr>
            <a:r>
              <a:rPr lang="en-US" dirty="0"/>
              <a:t>Proposes the Ideal Money concept – “</a:t>
            </a:r>
            <a:r>
              <a:rPr lang="en-US" b="0" i="1" dirty="0"/>
              <a:t>Our observation, based on thinking in terms of “the long term” rather than in terms of “short range expediency”, was simply that there is no ideal rate of inflation that should be selected and chosen as the target but rather that the ideal concept would necessarily be that of a zero rate for what is called inflation.”</a:t>
            </a:r>
            <a:endParaRPr lang="en-US" i="1"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6146" name="Picture 2" descr="A Beautiful Mind Poster.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243333" y="1443019"/>
            <a:ext cx="3290820" cy="4891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84338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ABD19-9D6F-46B5-882D-F90ECD02D7AF}"/>
              </a:ext>
            </a:extLst>
          </p:cNvPr>
          <p:cNvSpPr>
            <a:spLocks noGrp="1"/>
          </p:cNvSpPr>
          <p:nvPr>
            <p:ph type="title"/>
          </p:nvPr>
        </p:nvSpPr>
        <p:spPr/>
        <p:txBody>
          <a:bodyPr/>
          <a:lstStyle/>
          <a:p>
            <a:r>
              <a:rPr lang="en-US" dirty="0"/>
              <a:t>FORKs</a:t>
            </a:r>
          </a:p>
        </p:txBody>
      </p:sp>
      <p:sp>
        <p:nvSpPr>
          <p:cNvPr id="7" name="Content Placeholder 6">
            <a:extLst>
              <a:ext uri="{FF2B5EF4-FFF2-40B4-BE49-F238E27FC236}">
                <a16:creationId xmlns:a16="http://schemas.microsoft.com/office/drawing/2014/main" id="{AD0A118D-846E-4486-8693-EDC617E7FE96}"/>
              </a:ext>
            </a:extLst>
          </p:cNvPr>
          <p:cNvSpPr>
            <a:spLocks noGrp="1"/>
          </p:cNvSpPr>
          <p:nvPr>
            <p:ph type="body" sz="quarter" idx="10"/>
          </p:nvPr>
        </p:nvSpPr>
        <p:spPr>
          <a:prstGeom prst="rect">
            <a:avLst/>
          </a:prstGeom>
        </p:spPr>
        <p:txBody>
          <a:bodyPr>
            <a:spAutoFit/>
          </a:bodyPr>
          <a:lstStyle/>
          <a:p>
            <a:r>
              <a:rPr lang="en-US" dirty="0">
                <a:solidFill>
                  <a:srgbClr val="FF0000"/>
                </a:solidFill>
              </a:rPr>
              <a:t>Soft fork: </a:t>
            </a:r>
            <a:r>
              <a:rPr lang="en-US" dirty="0"/>
              <a:t>a change to the bitcoin protocol which is backwards compatible. "Soft" changes tighten up the rules-- old software will accept all the blocks and transactions created by new software, but the opposite may not be true. "Soft" changes do not require the entire network of miners and merchants and users to upgrade or be left behind. If 51% of the hashing power switches to the new version, the network heals itself.</a:t>
            </a:r>
          </a:p>
        </p:txBody>
      </p:sp>
      <p:sp>
        <p:nvSpPr>
          <p:cNvPr id="8" name="Content Placeholder 7">
            <a:extLst>
              <a:ext uri="{FF2B5EF4-FFF2-40B4-BE49-F238E27FC236}">
                <a16:creationId xmlns:a16="http://schemas.microsoft.com/office/drawing/2014/main" id="{7A399DD6-E00E-4F9D-A9F5-319CB916694A}"/>
              </a:ext>
            </a:extLst>
          </p:cNvPr>
          <p:cNvSpPr>
            <a:spLocks noGrp="1"/>
          </p:cNvSpPr>
          <p:nvPr>
            <p:ph type="body" sz="quarter" idx="11"/>
          </p:nvPr>
        </p:nvSpPr>
        <p:spPr/>
        <p:txBody>
          <a:bodyPr anchor="t"/>
          <a:lstStyle/>
          <a:p>
            <a:r>
              <a:rPr lang="en-US" dirty="0">
                <a:solidFill>
                  <a:srgbClr val="FF0000"/>
                </a:solidFill>
              </a:rPr>
              <a:t>Hard fork: </a:t>
            </a:r>
            <a:r>
              <a:rPr lang="en-US" dirty="0"/>
              <a:t>a change to the bitcoin protocol which is not backwards compatible. It eases block acceptance rules making previously invalid blocks valid in the new version. The blockchain splits into two chains! This happened to bitcoin on Aug 1, 2017. Two bitcoin based currencies now exist. Recently another hard fork is in the making. A third hard fork is expected in mid November.</a:t>
            </a:r>
          </a:p>
          <a:p>
            <a:endParaRPr lang="en-US" dirty="0"/>
          </a:p>
        </p:txBody>
      </p:sp>
    </p:spTree>
    <p:extLst>
      <p:ext uri="{BB962C8B-B14F-4D97-AF65-F5344CB8AC3E}">
        <p14:creationId xmlns:p14="http://schemas.microsoft.com/office/powerpoint/2010/main" val="248228459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d vs non-upgraded nodes</a:t>
            </a:r>
          </a:p>
        </p:txBody>
      </p:sp>
      <p:sp>
        <p:nvSpPr>
          <p:cNvPr id="3" name="Content Placeholder 2"/>
          <p:cNvSpPr>
            <a:spLocks noGrp="1"/>
          </p:cNvSpPr>
          <p:nvPr>
            <p:ph type="body" sz="quarter" idx="10"/>
          </p:nvPr>
        </p:nvSpPr>
        <p:spPr/>
        <p:txBody>
          <a:bodyPr>
            <a:normAutofit/>
          </a:bodyPr>
          <a:lstStyle/>
          <a:p>
            <a:r>
              <a:rPr lang="en-US" dirty="0"/>
              <a:t>When the new rules are implemented, there will likely be a period of time when non-upgraded nodes follow the old rules and upgraded nodes follow the new rules</a:t>
            </a:r>
          </a:p>
          <a:p>
            <a:r>
              <a:rPr lang="en-US" dirty="0"/>
              <a:t>Two possible ways consensus can break</a:t>
            </a:r>
          </a:p>
        </p:txBody>
      </p:sp>
      <p:sp>
        <p:nvSpPr>
          <p:cNvPr id="4" name="Content Placeholder 3"/>
          <p:cNvSpPr>
            <a:spLocks noGrp="1"/>
          </p:cNvSpPr>
          <p:nvPr>
            <p:ph type="body" sz="quarter" idx="11"/>
          </p:nvPr>
        </p:nvSpPr>
        <p:spPr/>
        <p:txBody>
          <a:bodyPr>
            <a:normAutofit lnSpcReduction="10000"/>
          </a:bodyPr>
          <a:lstStyle/>
          <a:p>
            <a:r>
              <a:rPr lang="en-US" dirty="0"/>
              <a:t>A block violating the new consensus rules is rejected by upgraded nodes but accepted by non-upgraded nodes. For example, an abusive transaction feature is used within a block: upgraded nodes reject it because it violates the new rules, but non-upgraded nodes accept it because it follows the old rules.</a:t>
            </a:r>
          </a:p>
          <a:p>
            <a:r>
              <a:rPr lang="en-US" dirty="0"/>
              <a:t>A block following the new consensus rules is accepted by upgraded nodes but rejected by non-upgraded nodes. For example, a new transaction feature is used within a block: upgraded nodes understand the feature and accept it, but non-upgraded nodes reject it because it violates the old rules.</a:t>
            </a:r>
          </a:p>
        </p:txBody>
      </p:sp>
      <p:sp>
        <p:nvSpPr>
          <p:cNvPr id="8" name="Rectangle 7"/>
          <p:cNvSpPr/>
          <p:nvPr/>
        </p:nvSpPr>
        <p:spPr>
          <a:xfrm>
            <a:off x="2464507" y="5862407"/>
            <a:ext cx="3591879" cy="261671"/>
          </a:xfrm>
          <a:prstGeom prst="rect">
            <a:avLst/>
          </a:prstGeom>
        </p:spPr>
        <p:txBody>
          <a:bodyPr wrap="none">
            <a:spAutoFit/>
          </a:bodyPr>
          <a:lstStyle/>
          <a:p>
            <a:r>
              <a:rPr lang="en-US" sz="1100" dirty="0"/>
              <a:t>https://bitcoin.org/en/developer-guide#transaction-data</a:t>
            </a:r>
          </a:p>
        </p:txBody>
      </p:sp>
    </p:spTree>
    <p:extLst>
      <p:ext uri="{BB962C8B-B14F-4D97-AF65-F5344CB8AC3E}">
        <p14:creationId xmlns:p14="http://schemas.microsoft.com/office/powerpoint/2010/main" val="131520622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2FB50-9444-4268-A2BF-E0B730B459CE}"/>
              </a:ext>
            </a:extLst>
          </p:cNvPr>
          <p:cNvSpPr>
            <a:spLocks noGrp="1"/>
          </p:cNvSpPr>
          <p:nvPr>
            <p:ph type="title"/>
          </p:nvPr>
        </p:nvSpPr>
        <p:spPr/>
        <p:txBody>
          <a:bodyPr/>
          <a:lstStyle/>
          <a:p>
            <a:r>
              <a:rPr lang="en-US" dirty="0"/>
              <a:t>Soft fork</a:t>
            </a:r>
          </a:p>
        </p:txBody>
      </p:sp>
      <p:sp>
        <p:nvSpPr>
          <p:cNvPr id="8" name="Content Placeholder 7"/>
          <p:cNvSpPr>
            <a:spLocks noGrp="1"/>
          </p:cNvSpPr>
          <p:nvPr>
            <p:ph type="body" sz="quarter" idx="10"/>
          </p:nvPr>
        </p:nvSpPr>
        <p:spPr/>
        <p:txBody>
          <a:bodyPr/>
          <a:lstStyle/>
          <a:p>
            <a:r>
              <a:rPr lang="en-US" dirty="0"/>
              <a:t>Rejection by upgraded nodes: it’s possible to keep the block chain from permanently diverging if upgraded nodes control a majority of the hash rate. That’s because, in this case, non-upgraded nodes will accept as valid all the same blocks as upgraded nodes, so the upgraded nodes can build a stronger chain that the non-upgraded nodes will accept as the best valid block chain. This is called a </a:t>
            </a:r>
            <a:r>
              <a:rPr lang="en-US" b="1" dirty="0">
                <a:solidFill>
                  <a:srgbClr val="FF0000"/>
                </a:solidFill>
              </a:rPr>
              <a:t>soft fork.</a:t>
            </a:r>
          </a:p>
        </p:txBody>
      </p:sp>
      <p:pic>
        <p:nvPicPr>
          <p:cNvPr id="9" name="Picture 8"/>
          <p:cNvPicPr>
            <a:picLocks noChangeAspect="1"/>
          </p:cNvPicPr>
          <p:nvPr/>
        </p:nvPicPr>
        <p:blipFill>
          <a:blip r:embed="rId2"/>
          <a:stretch>
            <a:fillRect/>
          </a:stretch>
        </p:blipFill>
        <p:spPr>
          <a:xfrm>
            <a:off x="2197038" y="3491085"/>
            <a:ext cx="7878214" cy="2590908"/>
          </a:xfrm>
          <a:prstGeom prst="rect">
            <a:avLst/>
          </a:prstGeom>
        </p:spPr>
      </p:pic>
    </p:spTree>
    <p:extLst>
      <p:ext uri="{BB962C8B-B14F-4D97-AF65-F5344CB8AC3E}">
        <p14:creationId xmlns:p14="http://schemas.microsoft.com/office/powerpoint/2010/main" val="363888166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3078D-7BBB-4F2E-8AA4-0D2273497A2E}"/>
              </a:ext>
            </a:extLst>
          </p:cNvPr>
          <p:cNvSpPr>
            <a:spLocks noGrp="1"/>
          </p:cNvSpPr>
          <p:nvPr>
            <p:ph type="title"/>
          </p:nvPr>
        </p:nvSpPr>
        <p:spPr/>
        <p:txBody>
          <a:bodyPr/>
          <a:lstStyle/>
          <a:p>
            <a:r>
              <a:rPr lang="en-US" dirty="0"/>
              <a:t>Hard fork</a:t>
            </a:r>
          </a:p>
        </p:txBody>
      </p:sp>
      <p:sp>
        <p:nvSpPr>
          <p:cNvPr id="3" name="Content Placeholder 2">
            <a:extLst>
              <a:ext uri="{FF2B5EF4-FFF2-40B4-BE49-F238E27FC236}">
                <a16:creationId xmlns:a16="http://schemas.microsoft.com/office/drawing/2014/main" id="{3088392E-C695-4DC8-B4B4-BC63E21E5CB3}"/>
              </a:ext>
            </a:extLst>
          </p:cNvPr>
          <p:cNvSpPr>
            <a:spLocks noGrp="1"/>
          </p:cNvSpPr>
          <p:nvPr>
            <p:ph type="body" sz="quarter" idx="10"/>
          </p:nvPr>
        </p:nvSpPr>
        <p:spPr/>
        <p:txBody>
          <a:bodyPr/>
          <a:lstStyle/>
          <a:p>
            <a:r>
              <a:rPr lang="en-US" dirty="0"/>
              <a:t>Rejection by non-upgraded nodes: mining software which gets block chain data from those non-upgraded nodes refuses to build on the same chain as mining software getting data from upgraded nodes. This creates permanently divergent chains—one for non-upgraded nodes and one for upgraded nodes—called a </a:t>
            </a:r>
            <a:r>
              <a:rPr lang="en-US" b="1" dirty="0">
                <a:solidFill>
                  <a:srgbClr val="FF0000"/>
                </a:solidFill>
              </a:rPr>
              <a:t>hard fork</a:t>
            </a:r>
            <a:r>
              <a:rPr lang="en-US" dirty="0"/>
              <a:t>.</a:t>
            </a:r>
          </a:p>
        </p:txBody>
      </p:sp>
      <p:pic>
        <p:nvPicPr>
          <p:cNvPr id="8" name="Picture 7"/>
          <p:cNvPicPr>
            <a:picLocks noChangeAspect="1"/>
          </p:cNvPicPr>
          <p:nvPr/>
        </p:nvPicPr>
        <p:blipFill>
          <a:blip r:embed="rId2"/>
          <a:stretch>
            <a:fillRect/>
          </a:stretch>
        </p:blipFill>
        <p:spPr>
          <a:xfrm>
            <a:off x="1856299" y="3221122"/>
            <a:ext cx="8390851" cy="2851909"/>
          </a:xfrm>
          <a:prstGeom prst="rect">
            <a:avLst/>
          </a:prstGeom>
        </p:spPr>
      </p:pic>
    </p:spTree>
    <p:extLst>
      <p:ext uri="{BB962C8B-B14F-4D97-AF65-F5344CB8AC3E}">
        <p14:creationId xmlns:p14="http://schemas.microsoft.com/office/powerpoint/2010/main" val="35353481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ungibility</a:t>
            </a:r>
          </a:p>
        </p:txBody>
      </p:sp>
      <p:sp>
        <p:nvSpPr>
          <p:cNvPr id="5" name="Text Placeholder 4"/>
          <p:cNvSpPr>
            <a:spLocks noGrp="1"/>
          </p:cNvSpPr>
          <p:nvPr>
            <p:ph type="body" sz="quarter" idx="10"/>
          </p:nvPr>
        </p:nvSpPr>
        <p:spPr/>
        <p:txBody>
          <a:bodyPr>
            <a:normAutofit/>
          </a:bodyPr>
          <a:lstStyle/>
          <a:p>
            <a:r>
              <a:rPr lang="en-US" b="0" dirty="0"/>
              <a:t>Property of a good or a commodity whose individual units are capable of mutual substitution (i.e., interchangeability). That is, it is the property of essences or goods which are "capable of being </a:t>
            </a:r>
            <a:r>
              <a:rPr lang="en-US" b="0" dirty="0">
                <a:solidFill>
                  <a:srgbClr val="FF0000"/>
                </a:solidFill>
              </a:rPr>
              <a:t>substituted</a:t>
            </a:r>
            <a:r>
              <a:rPr lang="en-US" b="0" dirty="0"/>
              <a:t> in place of one another.“ (Wikipedia)</a:t>
            </a:r>
          </a:p>
          <a:p>
            <a:r>
              <a:rPr lang="en-US" b="0" dirty="0"/>
              <a:t>Because the blockchain is an immutable history of every transaction, it is possible to track the provenance of bitcoin</a:t>
            </a:r>
          </a:p>
          <a:p>
            <a:r>
              <a:rPr lang="en-US" b="0" dirty="0"/>
              <a:t>This can pose challenges to </a:t>
            </a:r>
            <a:r>
              <a:rPr lang="en-US" b="0" dirty="0" err="1"/>
              <a:t>fungibility</a:t>
            </a:r>
            <a:r>
              <a:rPr lang="en-US" b="0" dirty="0"/>
              <a:t>, even leading to censorship</a:t>
            </a:r>
          </a:p>
          <a:p>
            <a:pPr marL="342900" indent="-342900">
              <a:spcBef>
                <a:spcPts val="600"/>
              </a:spcBef>
              <a:buFont typeface="Arial" panose="020B0604020202020204" pitchFamily="34" charset="0"/>
              <a:buChar char="•"/>
            </a:pPr>
            <a:r>
              <a:rPr lang="en-US" b="0" dirty="0"/>
              <a:t>Exchanges can discriminate against ‘undesirable’ users</a:t>
            </a:r>
          </a:p>
          <a:p>
            <a:pPr marL="342900" indent="-342900">
              <a:spcBef>
                <a:spcPts val="600"/>
              </a:spcBef>
              <a:buFont typeface="Arial" panose="020B0604020202020204" pitchFamily="34" charset="0"/>
              <a:buChar char="•"/>
            </a:pPr>
            <a:r>
              <a:rPr lang="en-US" b="0" dirty="0"/>
              <a:t>‘</a:t>
            </a:r>
            <a:r>
              <a:rPr lang="en-US" b="0" dirty="0">
                <a:solidFill>
                  <a:srgbClr val="FF0000"/>
                </a:solidFill>
              </a:rPr>
              <a:t>Tainted</a:t>
            </a:r>
            <a:r>
              <a:rPr lang="en-US" b="0" dirty="0"/>
              <a:t>’ coins may be rejected</a:t>
            </a:r>
          </a:p>
          <a:p>
            <a:pPr marL="342900" indent="-342900">
              <a:spcBef>
                <a:spcPts val="600"/>
              </a:spcBef>
              <a:buFont typeface="Arial" panose="020B0604020202020204" pitchFamily="34" charset="0"/>
              <a:buChar char="•"/>
            </a:pPr>
            <a:r>
              <a:rPr lang="en-US" b="0" dirty="0"/>
              <a:t>Users will need to do background checks on the bitcoins they receive. Blacklist service?</a:t>
            </a:r>
          </a:p>
          <a:p>
            <a:pPr marL="342900" indent="-342900">
              <a:spcBef>
                <a:spcPts val="600"/>
              </a:spcBef>
              <a:buFont typeface="Arial" panose="020B0604020202020204" pitchFamily="34" charset="0"/>
              <a:buChar char="•"/>
            </a:pPr>
            <a:r>
              <a:rPr lang="en-US" b="0" dirty="0"/>
              <a:t>Different bitcoins may end up having different value depending on its history</a:t>
            </a:r>
          </a:p>
          <a:p>
            <a:pPr marL="342900" indent="-342900">
              <a:spcBef>
                <a:spcPts val="600"/>
              </a:spcBef>
              <a:buFont typeface="Arial" panose="020B0604020202020204" pitchFamily="34" charset="0"/>
              <a:buChar char="•"/>
            </a:pPr>
            <a:r>
              <a:rPr lang="en-US" b="0" dirty="0"/>
              <a:t>Several research efforts are in progress to achieve </a:t>
            </a:r>
            <a:r>
              <a:rPr lang="en-US" b="0" dirty="0" err="1"/>
              <a:t>fungibility</a:t>
            </a:r>
            <a:r>
              <a:rPr lang="en-US" b="0" dirty="0"/>
              <a:t> e.g. </a:t>
            </a:r>
            <a:r>
              <a:rPr lang="en-US" b="0" dirty="0">
                <a:solidFill>
                  <a:srgbClr val="FF0000"/>
                </a:solidFill>
              </a:rPr>
              <a:t>Mixing</a:t>
            </a:r>
            <a:r>
              <a:rPr lang="en-US" b="0" dirty="0"/>
              <a:t> (tumbling)</a:t>
            </a:r>
          </a:p>
        </p:txBody>
      </p:sp>
    </p:spTree>
    <p:extLst>
      <p:ext uri="{BB962C8B-B14F-4D97-AF65-F5344CB8AC3E}">
        <p14:creationId xmlns:p14="http://schemas.microsoft.com/office/powerpoint/2010/main" val="424468169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acks and hacks</a:t>
            </a:r>
          </a:p>
        </p:txBody>
      </p:sp>
      <p:sp>
        <p:nvSpPr>
          <p:cNvPr id="3" name="Text Placeholder 2"/>
          <p:cNvSpPr>
            <a:spLocks noGrp="1"/>
          </p:cNvSpPr>
          <p:nvPr>
            <p:ph type="body" sz="quarter" idx="10"/>
          </p:nvPr>
        </p:nvSpPr>
        <p:spPr/>
        <p:txBody>
          <a:bodyPr>
            <a:normAutofit fontScale="92500" lnSpcReduction="20000"/>
          </a:bodyPr>
          <a:lstStyle/>
          <a:p>
            <a:r>
              <a:rPr lang="en-US" dirty="0"/>
              <a:t>If miners aggregate their hashing power (e.g. creating mining pools) and achieve 51% hashing power, they can do a </a:t>
            </a:r>
            <a:r>
              <a:rPr lang="en-US" i="1" dirty="0">
                <a:solidFill>
                  <a:srgbClr val="FF0000"/>
                </a:solidFill>
              </a:rPr>
              <a:t>majority attack </a:t>
            </a:r>
            <a:r>
              <a:rPr lang="en-US" dirty="0"/>
              <a:t>on the network</a:t>
            </a:r>
          </a:p>
          <a:p>
            <a:pPr marL="342900" indent="-342900">
              <a:buFont typeface="Arial" panose="020B0604020202020204" pitchFamily="34" charset="0"/>
              <a:buChar char="•"/>
            </a:pPr>
            <a:r>
              <a:rPr lang="en-US" dirty="0"/>
              <a:t>Alice sends Bob bitcoin to buy a product</a:t>
            </a:r>
          </a:p>
          <a:p>
            <a:pPr marL="342900" indent="-342900">
              <a:buFont typeface="Arial" panose="020B0604020202020204" pitchFamily="34" charset="0"/>
              <a:buChar char="•"/>
            </a:pPr>
            <a:r>
              <a:rPr lang="en-US" dirty="0"/>
              <a:t>Bob waits for 6 confirmations (as recommended), then sends the product to Alice</a:t>
            </a:r>
          </a:p>
          <a:p>
            <a:pPr marL="342900" indent="-342900">
              <a:buFont typeface="Arial" panose="020B0604020202020204" pitchFamily="34" charset="0"/>
              <a:buChar char="•"/>
            </a:pPr>
            <a:r>
              <a:rPr lang="en-US" dirty="0"/>
              <a:t>Alice, meanwhile, has been mining blocks without broadcasting them (private chain)</a:t>
            </a:r>
          </a:p>
          <a:p>
            <a:pPr marL="342900" indent="-342900">
              <a:buFont typeface="Arial" panose="020B0604020202020204" pitchFamily="34" charset="0"/>
              <a:buChar char="•"/>
            </a:pPr>
            <a:r>
              <a:rPr lang="en-US" dirty="0"/>
              <a:t>She includes a transaction that sends the bitcoin to herself.</a:t>
            </a:r>
          </a:p>
          <a:p>
            <a:pPr marL="342900" indent="-342900">
              <a:buFont typeface="Arial" panose="020B0604020202020204" pitchFamily="34" charset="0"/>
              <a:buChar char="•"/>
            </a:pPr>
            <a:r>
              <a:rPr lang="en-US" dirty="0"/>
              <a:t>If she controls more than 50% </a:t>
            </a:r>
            <a:r>
              <a:rPr lang="en-US" dirty="0" err="1"/>
              <a:t>hashrate</a:t>
            </a:r>
            <a:r>
              <a:rPr lang="en-US" dirty="0"/>
              <a:t> of the network, she will broadcast her chain after receiving the products</a:t>
            </a:r>
          </a:p>
          <a:p>
            <a:pPr marL="342900" indent="-342900">
              <a:buFont typeface="Arial" panose="020B0604020202020204" pitchFamily="34" charset="0"/>
              <a:buChar char="•"/>
            </a:pPr>
            <a:r>
              <a:rPr lang="en-US" dirty="0"/>
              <a:t>The probability Alice’s chain will catch up is 100%! She has double spent!! This could destroy the cryptocurrency!</a:t>
            </a:r>
          </a:p>
          <a:p>
            <a:endParaRPr lang="en-US" dirty="0"/>
          </a:p>
          <a:p>
            <a:endParaRPr lang="en-US" dirty="0"/>
          </a:p>
        </p:txBody>
      </p:sp>
    </p:spTree>
    <p:extLst>
      <p:ext uri="{BB962C8B-B14F-4D97-AF65-F5344CB8AC3E}">
        <p14:creationId xmlns:p14="http://schemas.microsoft.com/office/powerpoint/2010/main" val="186164115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where are Satoshi’s bitcoin?</a:t>
            </a:r>
          </a:p>
        </p:txBody>
      </p:sp>
      <p:sp>
        <p:nvSpPr>
          <p:cNvPr id="3" name="Text Placeholder 2"/>
          <p:cNvSpPr>
            <a:spLocks noGrp="1"/>
          </p:cNvSpPr>
          <p:nvPr>
            <p:ph type="body" sz="quarter" idx="10"/>
          </p:nvPr>
        </p:nvSpPr>
        <p:spPr/>
        <p:txBody>
          <a:bodyPr/>
          <a:lstStyle/>
          <a:p>
            <a:r>
              <a:rPr lang="en-US" dirty="0"/>
              <a:t>How many bitcoin did Satoshi mine?</a:t>
            </a:r>
          </a:p>
          <a:p>
            <a:r>
              <a:rPr lang="en-US" dirty="0"/>
              <a:t>Where are they?</a:t>
            </a:r>
          </a:p>
          <a:p>
            <a:r>
              <a:rPr lang="en-US" dirty="0"/>
              <a:t>Where is he/she/they?</a:t>
            </a:r>
          </a:p>
          <a:p>
            <a:r>
              <a:rPr lang="en-US" dirty="0"/>
              <a:t>Can bitcoin age out? </a:t>
            </a:r>
          </a:p>
          <a:p>
            <a:r>
              <a:rPr lang="en-US" dirty="0"/>
              <a:t>Can/should they be demonetized/destroyed?</a:t>
            </a:r>
          </a:p>
          <a:p>
            <a:endParaRPr lang="en-US" dirty="0"/>
          </a:p>
        </p:txBody>
      </p:sp>
      <p:pic>
        <p:nvPicPr>
          <p:cNvPr id="4" name="Picture 3"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97404" y="162587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65219" y="2221899"/>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53850" y="2785080"/>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07892" y="3395184"/>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903663" y="4044112"/>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70404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C854BA-E00B-47E2-9569-AC109DA65FBB}"/>
              </a:ext>
            </a:extLst>
          </p:cNvPr>
          <p:cNvSpPr>
            <a:spLocks noGrp="1"/>
          </p:cNvSpPr>
          <p:nvPr>
            <p:ph type="ctrTitle"/>
          </p:nvPr>
        </p:nvSpPr>
        <p:spPr/>
        <p:txBody>
          <a:bodyPr/>
          <a:lstStyle/>
          <a:p>
            <a:r>
              <a:rPr lang="en-US" dirty="0"/>
              <a:t>Blockchains beyond bitcoin</a:t>
            </a:r>
          </a:p>
        </p:txBody>
      </p:sp>
      <p:sp>
        <p:nvSpPr>
          <p:cNvPr id="5" name="Text Placeholder 4">
            <a:extLst>
              <a:ext uri="{FF2B5EF4-FFF2-40B4-BE49-F238E27FC236}">
                <a16:creationId xmlns:a16="http://schemas.microsoft.com/office/drawing/2014/main" id="{FC5FC60E-09D3-4FBE-A59E-199413A6FB4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196232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9331898" y="3921953"/>
            <a:ext cx="2863102" cy="2901051"/>
          </a:xfrm>
          <a:prstGeom prst="rect">
            <a:avLst/>
          </a:prstGeom>
          <a:solidFill>
            <a:srgbClr val="92D050">
              <a:alpha val="80000"/>
            </a:srgbClr>
          </a:solidFill>
          <a:ln w="6350" algn="ctr">
            <a:noFill/>
            <a:miter lim="800000"/>
            <a:headEnd/>
            <a:tailEnd/>
          </a:ln>
        </p:spPr>
        <p:txBody>
          <a:bodyPr vert="vert270" lIns="89998" tIns="71998" rIns="89998" bIns="71998" rtlCol="0" anchor="b"/>
          <a:lstStyle/>
          <a:p>
            <a:pPr algn="ctr" defTabSz="914309" fontAlgn="base">
              <a:spcBef>
                <a:spcPct val="50000"/>
              </a:spcBef>
              <a:spcAft>
                <a:spcPct val="0"/>
              </a:spcAft>
              <a:buClr>
                <a:srgbClr val="F0AB00"/>
              </a:buClr>
              <a:buSzPct val="80000"/>
            </a:pPr>
            <a:r>
              <a:rPr lang="en-US" sz="1999" kern="0" dirty="0">
                <a:ea typeface="Arial Unicode MS" pitchFamily="34" charset="-128"/>
                <a:cs typeface="Arial Unicode MS" pitchFamily="34" charset="-128"/>
              </a:rPr>
              <a:t>INNOVATION</a:t>
            </a:r>
          </a:p>
        </p:txBody>
      </p:sp>
      <p:sp>
        <p:nvSpPr>
          <p:cNvPr id="62" name="Rectangle 61"/>
          <p:cNvSpPr/>
          <p:nvPr/>
        </p:nvSpPr>
        <p:spPr bwMode="gray">
          <a:xfrm>
            <a:off x="4870398" y="5652845"/>
            <a:ext cx="6840177" cy="1170160"/>
          </a:xfrm>
          <a:prstGeom prst="rect">
            <a:avLst/>
          </a:prstGeom>
          <a:solidFill>
            <a:srgbClr val="FF0000">
              <a:alpha val="80000"/>
            </a:srgbClr>
          </a:solidFill>
          <a:ln w="6350" algn="ctr">
            <a:noFill/>
            <a:miter lim="800000"/>
            <a:headEnd/>
            <a:tailEnd/>
          </a:ln>
        </p:spPr>
        <p:txBody>
          <a:bodyPr vert="horz" lIns="89998" tIns="71998" rIns="89998" bIns="71998" rtlCol="0" anchor="b"/>
          <a:lstStyle/>
          <a:p>
            <a:pPr algn="ctr" defTabSz="914309" fontAlgn="base">
              <a:spcBef>
                <a:spcPct val="50000"/>
              </a:spcBef>
              <a:spcAft>
                <a:spcPct val="0"/>
              </a:spcAft>
              <a:buClr>
                <a:srgbClr val="F0AB00"/>
              </a:buClr>
              <a:buSzPct val="80000"/>
            </a:pPr>
            <a:r>
              <a:rPr lang="en-US" sz="1999" kern="0" dirty="0">
                <a:ea typeface="Arial Unicode MS" pitchFamily="34" charset="-128"/>
                <a:cs typeface="Arial Unicode MS" pitchFamily="34" charset="-128"/>
              </a:rPr>
              <a:t>DISRUPTION</a:t>
            </a:r>
          </a:p>
        </p:txBody>
      </p:sp>
      <p:sp>
        <p:nvSpPr>
          <p:cNvPr id="5" name="Flowchart: Decision 4"/>
          <p:cNvSpPr/>
          <p:nvPr/>
        </p:nvSpPr>
        <p:spPr bwMode="gray">
          <a:xfrm>
            <a:off x="2803581" y="1366635"/>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7" name="Flowchart: Decision 6"/>
          <p:cNvSpPr/>
          <p:nvPr/>
        </p:nvSpPr>
        <p:spPr bwMode="gray">
          <a:xfrm>
            <a:off x="2803581" y="2164213"/>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8" name="Flowchart: Decision 7"/>
          <p:cNvSpPr/>
          <p:nvPr/>
        </p:nvSpPr>
        <p:spPr bwMode="gray">
          <a:xfrm>
            <a:off x="2803581" y="2961791"/>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9" name="Flowchart: Decision 8"/>
          <p:cNvSpPr/>
          <p:nvPr/>
        </p:nvSpPr>
        <p:spPr bwMode="gray">
          <a:xfrm>
            <a:off x="2803581" y="3774719"/>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0" name="Flowchart: Decision 9"/>
          <p:cNvSpPr/>
          <p:nvPr/>
        </p:nvSpPr>
        <p:spPr bwMode="gray">
          <a:xfrm>
            <a:off x="2803581" y="4645602"/>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1" name="Flowchart: Decision 10"/>
          <p:cNvSpPr/>
          <p:nvPr/>
        </p:nvSpPr>
        <p:spPr bwMode="gray">
          <a:xfrm>
            <a:off x="2803581" y="5516485"/>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2" name="Flowchart: Decision 11"/>
          <p:cNvSpPr/>
          <p:nvPr/>
        </p:nvSpPr>
        <p:spPr bwMode="gray">
          <a:xfrm>
            <a:off x="6826158" y="4585983"/>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3" name="Flowchart: Decision 12"/>
          <p:cNvSpPr/>
          <p:nvPr/>
        </p:nvSpPr>
        <p:spPr bwMode="gray">
          <a:xfrm>
            <a:off x="6826158" y="2961791"/>
            <a:ext cx="1306248" cy="673221"/>
          </a:xfrm>
          <a:prstGeom prst="flowChartDecision">
            <a:avLst/>
          </a:prstGeom>
          <a:solidFill>
            <a:srgbClr val="FFC000"/>
          </a:solidFill>
          <a:ln w="6350" algn="ctr">
            <a:noFill/>
            <a:miter lim="800000"/>
            <a:headEnd/>
            <a:tailEnd/>
          </a:ln>
        </p:spPr>
        <p:txBody>
          <a:bodyPr lIns="89998" tIns="71998" rIns="89998" bIns="71998" rtlCol="0" anchor="ctr"/>
          <a:lstStyle/>
          <a:p>
            <a:pPr algn="ctr" defTabSz="914309" fontAlgn="base">
              <a:spcBef>
                <a:spcPct val="50000"/>
              </a:spcBef>
              <a:spcAft>
                <a:spcPct val="0"/>
              </a:spcAft>
              <a:buClr>
                <a:srgbClr val="F0AB00"/>
              </a:buClr>
              <a:buSzPct val="80000"/>
            </a:pPr>
            <a:endParaRPr lang="en-US" sz="1999" kern="0" dirty="0" err="1">
              <a:ea typeface="Arial Unicode MS" pitchFamily="34" charset="-128"/>
              <a:cs typeface="Arial Unicode MS" pitchFamily="34" charset="-128"/>
            </a:endParaRPr>
          </a:p>
        </p:txBody>
      </p:sp>
      <p:sp>
        <p:nvSpPr>
          <p:cNvPr id="16" name="TextBox 15"/>
          <p:cNvSpPr txBox="1"/>
          <p:nvPr/>
        </p:nvSpPr>
        <p:spPr>
          <a:xfrm>
            <a:off x="404552" y="1426255"/>
            <a:ext cx="2268409" cy="49255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 you require a database?</a:t>
            </a:r>
          </a:p>
        </p:txBody>
      </p:sp>
      <p:sp>
        <p:nvSpPr>
          <p:cNvPr id="17" name="TextBox 16"/>
          <p:cNvSpPr txBox="1"/>
          <p:nvPr/>
        </p:nvSpPr>
        <p:spPr>
          <a:xfrm>
            <a:off x="404551" y="2150527"/>
            <a:ext cx="2268409" cy="49242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es it require shared write access?</a:t>
            </a:r>
          </a:p>
        </p:txBody>
      </p:sp>
      <p:sp>
        <p:nvSpPr>
          <p:cNvPr id="18" name="TextBox 17"/>
          <p:cNvSpPr txBox="1"/>
          <p:nvPr/>
        </p:nvSpPr>
        <p:spPr>
          <a:xfrm>
            <a:off x="404550" y="2961791"/>
            <a:ext cx="2268409" cy="49255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Are writers trusted actors?</a:t>
            </a:r>
          </a:p>
        </p:txBody>
      </p:sp>
      <p:sp>
        <p:nvSpPr>
          <p:cNvPr id="19" name="TextBox 18"/>
          <p:cNvSpPr txBox="1"/>
          <p:nvPr/>
        </p:nvSpPr>
        <p:spPr>
          <a:xfrm>
            <a:off x="404549" y="3721896"/>
            <a:ext cx="2268409" cy="7386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 you want/need to use a trusted 3</a:t>
            </a:r>
            <a:r>
              <a:rPr lang="en-US" sz="1600" kern="0" baseline="30000" dirty="0">
                <a:ea typeface="Arial Unicode MS" pitchFamily="34" charset="-128"/>
                <a:cs typeface="Arial Unicode MS" pitchFamily="34" charset="-128"/>
              </a:rPr>
              <a:t>rd</a:t>
            </a:r>
            <a:r>
              <a:rPr lang="en-US" sz="1600" kern="0" dirty="0">
                <a:ea typeface="Arial Unicode MS" pitchFamily="34" charset="-128"/>
                <a:cs typeface="Arial Unicode MS" pitchFamily="34" charset="-128"/>
              </a:rPr>
              <a:t> party intermediary?</a:t>
            </a:r>
          </a:p>
        </p:txBody>
      </p:sp>
      <p:sp>
        <p:nvSpPr>
          <p:cNvPr id="20" name="TextBox 19"/>
          <p:cNvSpPr txBox="1"/>
          <p:nvPr/>
        </p:nvSpPr>
        <p:spPr>
          <a:xfrm>
            <a:off x="404548" y="4705222"/>
            <a:ext cx="2268409" cy="49242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 you need to control functionality?</a:t>
            </a:r>
          </a:p>
        </p:txBody>
      </p:sp>
      <p:sp>
        <p:nvSpPr>
          <p:cNvPr id="21" name="TextBox 20"/>
          <p:cNvSpPr txBox="1"/>
          <p:nvPr/>
        </p:nvSpPr>
        <p:spPr>
          <a:xfrm>
            <a:off x="404547" y="5516485"/>
            <a:ext cx="2268409" cy="73883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 you want transactions to be private (or public)?</a:t>
            </a:r>
          </a:p>
        </p:txBody>
      </p:sp>
      <p:sp>
        <p:nvSpPr>
          <p:cNvPr id="22" name="TextBox 21"/>
          <p:cNvSpPr txBox="1"/>
          <p:nvPr/>
        </p:nvSpPr>
        <p:spPr>
          <a:xfrm>
            <a:off x="5016608" y="3039877"/>
            <a:ext cx="2268409" cy="49242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Are writers interests aligned?</a:t>
            </a:r>
          </a:p>
        </p:txBody>
      </p:sp>
      <p:sp>
        <p:nvSpPr>
          <p:cNvPr id="23" name="TextBox 22"/>
          <p:cNvSpPr txBox="1"/>
          <p:nvPr/>
        </p:nvSpPr>
        <p:spPr>
          <a:xfrm>
            <a:off x="4962395" y="4726486"/>
            <a:ext cx="2268409" cy="49242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How is consensus established?</a:t>
            </a:r>
          </a:p>
        </p:txBody>
      </p:sp>
      <p:graphicFrame>
        <p:nvGraphicFramePr>
          <p:cNvPr id="25" name="Diagram 24"/>
          <p:cNvGraphicFramePr/>
          <p:nvPr>
            <p:extLst/>
          </p:nvPr>
        </p:nvGraphicFramePr>
        <p:xfrm>
          <a:off x="9164009" y="1980237"/>
          <a:ext cx="2705025" cy="8309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6" name="Group 25"/>
          <p:cNvGrpSpPr/>
          <p:nvPr/>
        </p:nvGrpSpPr>
        <p:grpSpPr>
          <a:xfrm>
            <a:off x="9435309" y="4279075"/>
            <a:ext cx="2162423" cy="830967"/>
            <a:chOff x="271308" y="2"/>
            <a:chExt cx="2162486" cy="830991"/>
          </a:xfrm>
        </p:grpSpPr>
        <p:sp>
          <p:nvSpPr>
            <p:cNvPr id="27" name="Rectangle 26"/>
            <p:cNvSpPr/>
            <p:nvPr/>
          </p:nvSpPr>
          <p:spPr>
            <a:xfrm>
              <a:off x="271308" y="2"/>
              <a:ext cx="2162486" cy="830991"/>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8" name="TextBox 27"/>
            <p:cNvSpPr txBox="1"/>
            <p:nvPr/>
          </p:nvSpPr>
          <p:spPr>
            <a:xfrm>
              <a:off x="271308" y="2"/>
              <a:ext cx="2162486" cy="830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8" tIns="60958" rIns="60958" bIns="60958" numCol="1" spcCol="1270" anchor="ctr" anchorCtr="0">
              <a:noAutofit/>
            </a:bodyPr>
            <a:lstStyle/>
            <a:p>
              <a:pPr algn="ctr" defTabSz="711129">
                <a:lnSpc>
                  <a:spcPct val="90000"/>
                </a:lnSpc>
                <a:spcBef>
                  <a:spcPct val="0"/>
                </a:spcBef>
                <a:spcAft>
                  <a:spcPct val="35000"/>
                </a:spcAft>
              </a:pPr>
              <a:r>
                <a:rPr lang="en-US" sz="1600" dirty="0"/>
                <a:t>Use a </a:t>
              </a:r>
              <a:r>
                <a:rPr lang="en-US" sz="1600" i="1" dirty="0">
                  <a:solidFill>
                    <a:srgbClr val="FF0000"/>
                  </a:solidFill>
                </a:rPr>
                <a:t>private</a:t>
              </a:r>
              <a:r>
                <a:rPr lang="en-US" sz="1600" dirty="0"/>
                <a:t> blockchain</a:t>
              </a:r>
            </a:p>
          </p:txBody>
        </p:sp>
      </p:grpSp>
      <p:grpSp>
        <p:nvGrpSpPr>
          <p:cNvPr id="30" name="Group 29"/>
          <p:cNvGrpSpPr/>
          <p:nvPr/>
        </p:nvGrpSpPr>
        <p:grpSpPr>
          <a:xfrm>
            <a:off x="9435309" y="5805302"/>
            <a:ext cx="2162423" cy="830967"/>
            <a:chOff x="271308" y="2"/>
            <a:chExt cx="2162486" cy="830991"/>
          </a:xfrm>
        </p:grpSpPr>
        <p:sp>
          <p:nvSpPr>
            <p:cNvPr id="31" name="Rectangle 30"/>
            <p:cNvSpPr/>
            <p:nvPr/>
          </p:nvSpPr>
          <p:spPr>
            <a:xfrm>
              <a:off x="271308" y="2"/>
              <a:ext cx="2162486" cy="830991"/>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TextBox 31"/>
            <p:cNvSpPr txBox="1"/>
            <p:nvPr/>
          </p:nvSpPr>
          <p:spPr>
            <a:xfrm>
              <a:off x="271308" y="2"/>
              <a:ext cx="2162486" cy="830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8" tIns="60958" rIns="60958" bIns="60958" numCol="1" spcCol="1270" anchor="ctr" anchorCtr="0">
              <a:noAutofit/>
            </a:bodyPr>
            <a:lstStyle/>
            <a:p>
              <a:pPr algn="ctr" defTabSz="711129">
                <a:lnSpc>
                  <a:spcPct val="90000"/>
                </a:lnSpc>
                <a:spcBef>
                  <a:spcPct val="0"/>
                </a:spcBef>
                <a:spcAft>
                  <a:spcPct val="35000"/>
                </a:spcAft>
              </a:pPr>
              <a:r>
                <a:rPr lang="en-US" sz="1600" dirty="0"/>
                <a:t>Use a </a:t>
              </a:r>
              <a:r>
                <a:rPr lang="en-US" sz="1600" i="1" dirty="0">
                  <a:solidFill>
                    <a:srgbClr val="FF0000"/>
                  </a:solidFill>
                </a:rPr>
                <a:t>hybrid</a:t>
              </a:r>
              <a:r>
                <a:rPr lang="en-US" sz="1600" dirty="0"/>
                <a:t> blockchain</a:t>
              </a:r>
            </a:p>
          </p:txBody>
        </p:sp>
      </p:grpSp>
      <p:grpSp>
        <p:nvGrpSpPr>
          <p:cNvPr id="33" name="Group 32"/>
          <p:cNvGrpSpPr/>
          <p:nvPr/>
        </p:nvGrpSpPr>
        <p:grpSpPr>
          <a:xfrm>
            <a:off x="4984012" y="5839644"/>
            <a:ext cx="2162423" cy="830967"/>
            <a:chOff x="271308" y="2"/>
            <a:chExt cx="2162486" cy="830991"/>
          </a:xfrm>
        </p:grpSpPr>
        <p:sp>
          <p:nvSpPr>
            <p:cNvPr id="34" name="Rectangle 33"/>
            <p:cNvSpPr/>
            <p:nvPr/>
          </p:nvSpPr>
          <p:spPr>
            <a:xfrm>
              <a:off x="271308" y="2"/>
              <a:ext cx="2162486" cy="830991"/>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5" name="TextBox 34"/>
            <p:cNvSpPr txBox="1"/>
            <p:nvPr/>
          </p:nvSpPr>
          <p:spPr>
            <a:xfrm>
              <a:off x="271308" y="2"/>
              <a:ext cx="2162486" cy="830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58" tIns="60958" rIns="60958" bIns="60958" numCol="1" spcCol="1270" anchor="ctr" anchorCtr="0">
              <a:noAutofit/>
            </a:bodyPr>
            <a:lstStyle/>
            <a:p>
              <a:pPr algn="ctr" defTabSz="711129">
                <a:lnSpc>
                  <a:spcPct val="90000"/>
                </a:lnSpc>
                <a:spcBef>
                  <a:spcPct val="0"/>
                </a:spcBef>
                <a:spcAft>
                  <a:spcPct val="35000"/>
                </a:spcAft>
              </a:pPr>
              <a:r>
                <a:rPr lang="en-US" sz="1600" dirty="0"/>
                <a:t>Use a </a:t>
              </a:r>
              <a:r>
                <a:rPr lang="en-US" sz="1600" i="1" dirty="0">
                  <a:solidFill>
                    <a:srgbClr val="FF0000"/>
                  </a:solidFill>
                </a:rPr>
                <a:t>public</a:t>
              </a:r>
              <a:r>
                <a:rPr lang="en-US" sz="1600" dirty="0"/>
                <a:t> blockchain</a:t>
              </a:r>
            </a:p>
          </p:txBody>
        </p:sp>
      </p:grpSp>
      <p:cxnSp>
        <p:nvCxnSpPr>
          <p:cNvPr id="37" name="Straight Arrow Connector 36"/>
          <p:cNvCxnSpPr>
            <a:stCxn id="5" idx="2"/>
            <a:endCxn id="7" idx="0"/>
          </p:cNvCxnSpPr>
          <p:nvPr/>
        </p:nvCxnSpPr>
        <p:spPr>
          <a:xfrm>
            <a:off x="3456705" y="2039856"/>
            <a:ext cx="0" cy="124358"/>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456705" y="2837434"/>
            <a:ext cx="0" cy="124358"/>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3468432" y="3629119"/>
            <a:ext cx="0" cy="124358"/>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468429" y="4463109"/>
            <a:ext cx="0" cy="124358"/>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478478" y="5347343"/>
            <a:ext cx="0" cy="124358"/>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p:cNvCxnSpPr>
            <a:stCxn id="12" idx="2"/>
            <a:endCxn id="32" idx="1"/>
          </p:cNvCxnSpPr>
          <p:nvPr/>
        </p:nvCxnSpPr>
        <p:spPr>
          <a:xfrm rot="16200000" flipH="1">
            <a:off x="7976504" y="4761981"/>
            <a:ext cx="961583" cy="1956027"/>
          </a:xfrm>
          <a:prstGeom prst="bentConnector2">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p:cNvCxnSpPr>
            <a:stCxn id="12" idx="3"/>
          </p:cNvCxnSpPr>
          <p:nvPr/>
        </p:nvCxnSpPr>
        <p:spPr>
          <a:xfrm flipV="1">
            <a:off x="8132406" y="4297101"/>
            <a:ext cx="1302903" cy="625492"/>
          </a:xfrm>
          <a:prstGeom prst="bentConnector3">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p:cNvCxnSpPr>
            <a:stCxn id="13" idx="3"/>
          </p:cNvCxnSpPr>
          <p:nvPr/>
        </p:nvCxnSpPr>
        <p:spPr>
          <a:xfrm flipV="1">
            <a:off x="8132406" y="2191859"/>
            <a:ext cx="1302903" cy="1106543"/>
          </a:xfrm>
          <a:prstGeom prst="bentConnector3">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p:cNvCxnSpPr>
            <a:stCxn id="5" idx="3"/>
            <a:endCxn id="25" idx="0"/>
          </p:cNvCxnSpPr>
          <p:nvPr/>
        </p:nvCxnSpPr>
        <p:spPr>
          <a:xfrm>
            <a:off x="4109829" y="1703246"/>
            <a:ext cx="6406692" cy="276991"/>
          </a:xfrm>
          <a:prstGeom prst="bentConnector2">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p:cNvCxnSpPr>
            <a:stCxn id="7" idx="3"/>
          </p:cNvCxnSpPr>
          <p:nvPr/>
        </p:nvCxnSpPr>
        <p:spPr>
          <a:xfrm flipV="1">
            <a:off x="4109830" y="2177898"/>
            <a:ext cx="5325479" cy="322925"/>
          </a:xfrm>
          <a:prstGeom prst="bentConnector3">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p:cNvCxnSpPr>
            <a:stCxn id="8" idx="3"/>
            <a:endCxn id="13" idx="0"/>
          </p:cNvCxnSpPr>
          <p:nvPr/>
        </p:nvCxnSpPr>
        <p:spPr>
          <a:xfrm flipV="1">
            <a:off x="4109829" y="2961791"/>
            <a:ext cx="3369454" cy="336610"/>
          </a:xfrm>
          <a:prstGeom prst="bentConnector4">
            <a:avLst>
              <a:gd name="adj1" fmla="val 21819"/>
              <a:gd name="adj2" fmla="val 167910"/>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p:cNvCxnSpPr>
            <a:stCxn id="9" idx="3"/>
            <a:endCxn id="25" idx="2"/>
          </p:cNvCxnSpPr>
          <p:nvPr/>
        </p:nvCxnSpPr>
        <p:spPr>
          <a:xfrm flipV="1">
            <a:off x="4109829" y="2811209"/>
            <a:ext cx="6406692" cy="1300121"/>
          </a:xfrm>
          <a:prstGeom prst="bentConnector2">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p:cNvCxnSpPr>
            <a:stCxn id="10" idx="3"/>
            <a:endCxn id="12" idx="0"/>
          </p:cNvCxnSpPr>
          <p:nvPr/>
        </p:nvCxnSpPr>
        <p:spPr>
          <a:xfrm flipV="1">
            <a:off x="4109829" y="4585982"/>
            <a:ext cx="3369454" cy="396230"/>
          </a:xfrm>
          <a:prstGeom prst="bentConnector4">
            <a:avLst>
              <a:gd name="adj1" fmla="val 18240"/>
              <a:gd name="adj2" fmla="val 157692"/>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602934" y="2000586"/>
            <a:ext cx="120254" cy="21549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79" name="TextBox 78"/>
          <p:cNvSpPr txBox="1"/>
          <p:nvPr/>
        </p:nvSpPr>
        <p:spPr>
          <a:xfrm>
            <a:off x="3644803" y="2775957"/>
            <a:ext cx="120254" cy="21549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80" name="TextBox 79"/>
          <p:cNvSpPr txBox="1"/>
          <p:nvPr/>
        </p:nvSpPr>
        <p:spPr>
          <a:xfrm flipH="1">
            <a:off x="4135125" y="3067296"/>
            <a:ext cx="256050" cy="21543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81" name="TextBox 80"/>
          <p:cNvSpPr txBox="1"/>
          <p:nvPr/>
        </p:nvSpPr>
        <p:spPr>
          <a:xfrm>
            <a:off x="4199598" y="3848354"/>
            <a:ext cx="81700" cy="21543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82" name="TextBox 81"/>
          <p:cNvSpPr txBox="1"/>
          <p:nvPr/>
        </p:nvSpPr>
        <p:spPr>
          <a:xfrm>
            <a:off x="4128937" y="4661282"/>
            <a:ext cx="120254" cy="21549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83" name="TextBox 82"/>
          <p:cNvSpPr txBox="1"/>
          <p:nvPr/>
        </p:nvSpPr>
        <p:spPr>
          <a:xfrm>
            <a:off x="8168525" y="3022377"/>
            <a:ext cx="120254" cy="21549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solidFill>
                  <a:srgbClr val="92D050"/>
                </a:solidFill>
                <a:ea typeface="Arial Unicode MS" pitchFamily="34" charset="-128"/>
                <a:cs typeface="Arial Unicode MS" pitchFamily="34" charset="-128"/>
              </a:rPr>
              <a:t>Y</a:t>
            </a:r>
          </a:p>
        </p:txBody>
      </p:sp>
      <p:sp>
        <p:nvSpPr>
          <p:cNvPr id="86" name="Rectangle 85"/>
          <p:cNvSpPr/>
          <p:nvPr/>
        </p:nvSpPr>
        <p:spPr>
          <a:xfrm>
            <a:off x="4074382" y="1349351"/>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sp>
        <p:nvSpPr>
          <p:cNvPr id="87" name="Rectangle 86"/>
          <p:cNvSpPr/>
          <p:nvPr/>
        </p:nvSpPr>
        <p:spPr>
          <a:xfrm>
            <a:off x="4044148" y="2175964"/>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sp>
        <p:nvSpPr>
          <p:cNvPr id="88" name="Rectangle 87"/>
          <p:cNvSpPr/>
          <p:nvPr/>
        </p:nvSpPr>
        <p:spPr>
          <a:xfrm>
            <a:off x="7534719" y="3583410"/>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sp>
        <p:nvSpPr>
          <p:cNvPr id="89" name="Rectangle 88"/>
          <p:cNvSpPr/>
          <p:nvPr/>
        </p:nvSpPr>
        <p:spPr>
          <a:xfrm>
            <a:off x="3557089" y="4356015"/>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sp>
        <p:nvSpPr>
          <p:cNvPr id="90" name="Rectangle 89"/>
          <p:cNvSpPr/>
          <p:nvPr/>
        </p:nvSpPr>
        <p:spPr>
          <a:xfrm>
            <a:off x="3568987" y="3510524"/>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sp>
        <p:nvSpPr>
          <p:cNvPr id="91" name="Rectangle 90"/>
          <p:cNvSpPr/>
          <p:nvPr/>
        </p:nvSpPr>
        <p:spPr>
          <a:xfrm>
            <a:off x="3568987" y="5242301"/>
            <a:ext cx="332219" cy="338632"/>
          </a:xfrm>
          <a:prstGeom prst="rect">
            <a:avLst/>
          </a:prstGeom>
        </p:spPr>
        <p:txBody>
          <a:bodyPr wrap="none">
            <a:spAutoFit/>
          </a:bodyPr>
          <a:lstStyle/>
          <a:p>
            <a:r>
              <a:rPr lang="en-US" sz="1600" b="1" kern="0" dirty="0">
                <a:solidFill>
                  <a:srgbClr val="FF0000"/>
                </a:solidFill>
                <a:ea typeface="Arial Unicode MS" pitchFamily="34" charset="-128"/>
                <a:cs typeface="Arial Unicode MS" pitchFamily="34" charset="-128"/>
              </a:rPr>
              <a:t>N</a:t>
            </a:r>
            <a:endParaRPr lang="en-US" sz="1600" dirty="0"/>
          </a:p>
        </p:txBody>
      </p:sp>
      <p:cxnSp>
        <p:nvCxnSpPr>
          <p:cNvPr id="93" name="Connector: Elbow 92"/>
          <p:cNvCxnSpPr>
            <a:stCxn id="13" idx="2"/>
            <a:endCxn id="90" idx="1"/>
          </p:cNvCxnSpPr>
          <p:nvPr/>
        </p:nvCxnSpPr>
        <p:spPr>
          <a:xfrm rot="5400000">
            <a:off x="5501742" y="1702256"/>
            <a:ext cx="44784" cy="3910295"/>
          </a:xfrm>
          <a:prstGeom prst="bentConnector4">
            <a:avLst>
              <a:gd name="adj1" fmla="val 988396"/>
              <a:gd name="adj2" fmla="val 105846"/>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8116938" y="4982211"/>
            <a:ext cx="742170" cy="24621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accent4">
                    <a:lumMod val="60000"/>
                    <a:lumOff val="40000"/>
                  </a:schemeClr>
                </a:solidFill>
                <a:ea typeface="Arial Unicode MS" pitchFamily="34" charset="-128"/>
                <a:cs typeface="Arial Unicode MS" pitchFamily="34" charset="-128"/>
              </a:rPr>
              <a:t>intrafirm</a:t>
            </a:r>
          </a:p>
        </p:txBody>
      </p:sp>
      <p:sp>
        <p:nvSpPr>
          <p:cNvPr id="106" name="TextBox 105"/>
          <p:cNvSpPr txBox="1"/>
          <p:nvPr/>
        </p:nvSpPr>
        <p:spPr>
          <a:xfrm>
            <a:off x="6598265" y="5249349"/>
            <a:ext cx="742170" cy="24621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accent4">
                    <a:lumMod val="60000"/>
                    <a:lumOff val="40000"/>
                  </a:schemeClr>
                </a:solidFill>
                <a:ea typeface="Arial Unicode MS" pitchFamily="34" charset="-128"/>
                <a:cs typeface="Arial Unicode MS" pitchFamily="34" charset="-128"/>
              </a:rPr>
              <a:t>interfirm</a:t>
            </a:r>
          </a:p>
        </p:txBody>
      </p:sp>
      <p:cxnSp>
        <p:nvCxnSpPr>
          <p:cNvPr id="108" name="Connector: Elbow 107"/>
          <p:cNvCxnSpPr>
            <a:stCxn id="11" idx="2"/>
            <a:endCxn id="35" idx="1"/>
          </p:cNvCxnSpPr>
          <p:nvPr/>
        </p:nvCxnSpPr>
        <p:spPr>
          <a:xfrm rot="16200000" flipH="1">
            <a:off x="4187647" y="5458763"/>
            <a:ext cx="65422" cy="1527306"/>
          </a:xfrm>
          <a:prstGeom prst="bentConnector2">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p:cNvCxnSpPr>
            <a:stCxn id="11" idx="3"/>
          </p:cNvCxnSpPr>
          <p:nvPr/>
        </p:nvCxnSpPr>
        <p:spPr>
          <a:xfrm flipV="1">
            <a:off x="4109828" y="4885599"/>
            <a:ext cx="615236" cy="967497"/>
          </a:xfrm>
          <a:prstGeom prst="bentConnector2">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4046154" y="5528007"/>
            <a:ext cx="615695" cy="246278"/>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accent4">
                    <a:lumMod val="60000"/>
                    <a:lumOff val="40000"/>
                  </a:schemeClr>
                </a:solidFill>
                <a:ea typeface="Arial Unicode MS" pitchFamily="34" charset="-128"/>
                <a:cs typeface="Arial Unicode MS" pitchFamily="34" charset="-128"/>
              </a:rPr>
              <a:t>private</a:t>
            </a:r>
          </a:p>
        </p:txBody>
      </p:sp>
      <p:sp>
        <p:nvSpPr>
          <p:cNvPr id="119" name="TextBox 118"/>
          <p:cNvSpPr txBox="1"/>
          <p:nvPr/>
        </p:nvSpPr>
        <p:spPr>
          <a:xfrm>
            <a:off x="3438022" y="6303028"/>
            <a:ext cx="533924" cy="246278"/>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a:solidFill>
                  <a:schemeClr val="accent4">
                    <a:lumMod val="60000"/>
                    <a:lumOff val="40000"/>
                  </a:schemeClr>
                </a:solidFill>
                <a:ea typeface="Arial Unicode MS" pitchFamily="34" charset="-128"/>
                <a:cs typeface="Arial Unicode MS" pitchFamily="34" charset="-128"/>
              </a:rPr>
              <a:t>public</a:t>
            </a:r>
          </a:p>
        </p:txBody>
      </p:sp>
      <p:sp>
        <p:nvSpPr>
          <p:cNvPr id="63" name="TextBox 62"/>
          <p:cNvSpPr txBox="1"/>
          <p:nvPr/>
        </p:nvSpPr>
        <p:spPr>
          <a:xfrm>
            <a:off x="7023408" y="477219"/>
            <a:ext cx="3520897" cy="73883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Do the transactions that are generated by different actors depend on each other?</a:t>
            </a:r>
          </a:p>
        </p:txBody>
      </p:sp>
      <p:graphicFrame>
        <p:nvGraphicFramePr>
          <p:cNvPr id="6" name="Diagram 5">
            <a:extLst>
              <a:ext uri="{FF2B5EF4-FFF2-40B4-BE49-F238E27FC236}">
                <a16:creationId xmlns:a16="http://schemas.microsoft.com/office/drawing/2014/main" id="{6AD3DD3F-57E6-4E00-8346-C8F2316E246A}"/>
              </a:ext>
            </a:extLst>
          </p:cNvPr>
          <p:cNvGraphicFramePr/>
          <p:nvPr>
            <p:extLst>
              <p:ext uri="{D42A27DB-BD31-4B8C-83A1-F6EECF244321}">
                <p14:modId xmlns:p14="http://schemas.microsoft.com/office/powerpoint/2010/main" val="1440884729"/>
              </p:ext>
            </p:extLst>
          </p:nvPr>
        </p:nvGraphicFramePr>
        <p:xfrm>
          <a:off x="404548" y="226053"/>
          <a:ext cx="5362763" cy="7681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0124376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mart Contracts: </a:t>
            </a:r>
            <a:r>
              <a:rPr lang="en-US" dirty="0" err="1"/>
              <a:t>Ethereum</a:t>
            </a:r>
            <a:endParaRPr lang="en-US" dirty="0"/>
          </a:p>
        </p:txBody>
      </p:sp>
      <p:pic>
        <p:nvPicPr>
          <p:cNvPr id="7" name="Picture 2" descr="Image result for smart contrac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8203" y="3410418"/>
            <a:ext cx="6342690" cy="2725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7380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gray">
          <a:xfrm>
            <a:off x="8305015" y="1385740"/>
            <a:ext cx="3719346" cy="4609707"/>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Rectangle 5"/>
          <p:cNvSpPr/>
          <p:nvPr/>
        </p:nvSpPr>
        <p:spPr bwMode="gray">
          <a:xfrm>
            <a:off x="185738" y="1385740"/>
            <a:ext cx="7926027" cy="4609707"/>
          </a:xfrm>
          <a:prstGeom prst="rect">
            <a:avLst/>
          </a:prstGeom>
          <a:solidFill>
            <a:schemeClr val="accent1">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324000" y="282511"/>
            <a:ext cx="11545200" cy="756175"/>
          </a:xfrm>
        </p:spPr>
        <p:txBody>
          <a:bodyPr/>
          <a:lstStyle/>
          <a:p>
            <a:r>
              <a:rPr lang="en-US" dirty="0"/>
              <a:t>Our actors today (standard convention in cryptography)</a:t>
            </a:r>
          </a:p>
        </p:txBody>
      </p:sp>
      <p:sp>
        <p:nvSpPr>
          <p:cNvPr id="3" name="Text Placeholder 2"/>
          <p:cNvSpPr>
            <a:spLocks noGrp="1"/>
          </p:cNvSpPr>
          <p:nvPr>
            <p:ph type="body" sz="quarter" idx="10"/>
          </p:nvPr>
        </p:nvSpPr>
        <p:spPr>
          <a:xfrm>
            <a:off x="466085" y="907138"/>
            <a:ext cx="1611899" cy="957203"/>
          </a:xfrm>
        </p:spPr>
        <p:txBody>
          <a:bodyPr/>
          <a:lstStyle/>
          <a:p>
            <a:pPr algn="ctr"/>
            <a:endParaRPr lang="en-US" dirty="0"/>
          </a:p>
          <a:p>
            <a:pPr algn="ctr"/>
            <a:r>
              <a:rPr lang="en-US" dirty="0">
                <a:solidFill>
                  <a:schemeClr val="bg1"/>
                </a:solidFill>
              </a:rPr>
              <a:t>Alice</a:t>
            </a:r>
          </a:p>
          <a:p>
            <a:endParaRPr lang="en-US" dirty="0"/>
          </a:p>
        </p:txBody>
      </p:sp>
      <p:sp>
        <p:nvSpPr>
          <p:cNvPr id="4" name="Text Placeholder 3"/>
          <p:cNvSpPr>
            <a:spLocks noGrp="1"/>
          </p:cNvSpPr>
          <p:nvPr>
            <p:ph type="body" sz="quarter" idx="11"/>
          </p:nvPr>
        </p:nvSpPr>
        <p:spPr>
          <a:xfrm>
            <a:off x="4331503" y="1422751"/>
            <a:ext cx="3740400" cy="4393017"/>
          </a:xfrm>
        </p:spPr>
        <p:txBody>
          <a:bodyPr/>
          <a:lstStyle/>
          <a:p>
            <a:pPr algn="ctr"/>
            <a:endParaRPr lang="en-US" dirty="0"/>
          </a:p>
          <a:p>
            <a:pPr algn="ctr"/>
            <a:endParaRPr lang="en-US" dirty="0"/>
          </a:p>
          <a:p>
            <a:pPr algn="ctr"/>
            <a:endParaRPr lang="en-US" dirty="0"/>
          </a:p>
          <a:p>
            <a:endParaRPr lang="en-US" dirty="0"/>
          </a:p>
        </p:txBody>
      </p:sp>
      <p:pic>
        <p:nvPicPr>
          <p:cNvPr id="1028" name="Picture 4" descr="avatar,fac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31813" y="1893864"/>
            <a:ext cx="1646171" cy="16461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findicons.com/files/icons/1072/face_avatars/300/f04.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67396" y="1834895"/>
            <a:ext cx="1764107" cy="176410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findicons.com/files/icons/1072/face_avatars/300/m03.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50574" y="1903082"/>
            <a:ext cx="1340181" cy="134018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vatars free"/>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4581279" y="4268412"/>
            <a:ext cx="1854007" cy="18540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Related image"/>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449072" y="268796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sp>
        <p:nvSpPr>
          <p:cNvPr id="11" name="Text Placeholder 4"/>
          <p:cNvSpPr txBox="1">
            <a:spLocks/>
          </p:cNvSpPr>
          <p:nvPr/>
        </p:nvSpPr>
        <p:spPr bwMode="gray">
          <a:xfrm>
            <a:off x="8284366" y="1378722"/>
            <a:ext cx="3740400" cy="4393017"/>
          </a:xfrm>
          <a:prstGeom prst="rect">
            <a:avLst/>
          </a:prstGeom>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endParaRPr lang="en-US" dirty="0"/>
          </a:p>
          <a:p>
            <a:pPr algn="ctr"/>
            <a:r>
              <a:rPr lang="en-US" sz="3200" dirty="0">
                <a:solidFill>
                  <a:schemeClr val="bg1"/>
                </a:solidFill>
              </a:rPr>
              <a:t>YOU!</a:t>
            </a:r>
          </a:p>
          <a:p>
            <a:pPr algn="ctr"/>
            <a:endParaRPr lang="en-US" dirty="0"/>
          </a:p>
          <a:p>
            <a:pPr algn="ctr"/>
            <a:endParaRPr lang="en-US" dirty="0"/>
          </a:p>
          <a:p>
            <a:pPr algn="ctr"/>
            <a:endParaRPr lang="en-US" dirty="0"/>
          </a:p>
          <a:p>
            <a:pPr algn="ctr"/>
            <a:r>
              <a:rPr lang="en-US" dirty="0">
                <a:solidFill>
                  <a:schemeClr val="bg1"/>
                </a:solidFill>
              </a:rPr>
              <a:t>Let’s form teams of two.</a:t>
            </a:r>
          </a:p>
          <a:p>
            <a:pPr algn="ctr"/>
            <a:r>
              <a:rPr lang="en-US" dirty="0">
                <a:solidFill>
                  <a:schemeClr val="bg1"/>
                </a:solidFill>
              </a:rPr>
              <a:t>Whenever you see this icon, there is a team based activity!</a:t>
            </a:r>
          </a:p>
        </p:txBody>
      </p:sp>
      <p:pic>
        <p:nvPicPr>
          <p:cNvPr id="14" name="Picture 10" descr="Image result for avatars free"/>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215250" y="4249906"/>
            <a:ext cx="1854007" cy="185400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descr="Image result for avatars free"/>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880279" y="4268411"/>
            <a:ext cx="1854007" cy="18540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Image result for avatars free"/>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6525239" y="4244752"/>
            <a:ext cx="1854007" cy="18540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Related image">
            <a:extLst>
              <a:ext uri="{FF2B5EF4-FFF2-40B4-BE49-F238E27FC236}">
                <a16:creationId xmlns:a16="http://schemas.microsoft.com/office/drawing/2014/main" id="{690A55DF-AE99-4D56-B028-CF316F7BDFD4}"/>
              </a:ext>
            </a:extLst>
          </p:cNvPr>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ackgroundRemoval t="10000" b="90000" l="23875" r="76000"/>
                    </a14:imgEffect>
                  </a14:imgLayer>
                </a14:imgProps>
              </a:ext>
              <a:ext uri="{28A0092B-C50C-407E-A947-70E740481C1C}">
                <a14:useLocalDpi xmlns:a14="http://schemas.microsoft.com/office/drawing/2010/main"/>
              </a:ext>
            </a:extLst>
          </a:blip>
          <a:srcRect l="21751" r="23285"/>
          <a:stretch/>
        </p:blipFill>
        <p:spPr bwMode="auto">
          <a:xfrm>
            <a:off x="6575176" y="1588818"/>
            <a:ext cx="1347549" cy="183877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192811" y="1447631"/>
            <a:ext cx="1096775" cy="415498"/>
          </a:xfrm>
          <a:prstGeom prst="rect">
            <a:avLst/>
          </a:prstGeom>
        </p:spPr>
        <p:txBody>
          <a:bodyPr wrap="none">
            <a:spAutoFit/>
          </a:bodyPr>
          <a:lstStyle/>
          <a:p>
            <a:pPr algn="ctr"/>
            <a:r>
              <a:rPr lang="en-US" b="1" dirty="0">
                <a:solidFill>
                  <a:schemeClr val="bg1"/>
                </a:solidFill>
              </a:rPr>
              <a:t>Charlie</a:t>
            </a:r>
          </a:p>
        </p:txBody>
      </p:sp>
      <p:sp>
        <p:nvSpPr>
          <p:cNvPr id="9" name="Rectangle 8"/>
          <p:cNvSpPr/>
          <p:nvPr/>
        </p:nvSpPr>
        <p:spPr>
          <a:xfrm>
            <a:off x="6065342" y="3974827"/>
            <a:ext cx="829074" cy="415498"/>
          </a:xfrm>
          <a:prstGeom prst="rect">
            <a:avLst/>
          </a:prstGeom>
        </p:spPr>
        <p:txBody>
          <a:bodyPr wrap="none">
            <a:spAutoFit/>
          </a:bodyPr>
          <a:lstStyle/>
          <a:p>
            <a:pPr algn="ctr"/>
            <a:r>
              <a:rPr lang="en-US" b="1" dirty="0">
                <a:solidFill>
                  <a:schemeClr val="bg1"/>
                </a:solidFill>
              </a:rPr>
              <a:t>Sybil</a:t>
            </a:r>
          </a:p>
        </p:txBody>
      </p:sp>
      <p:sp>
        <p:nvSpPr>
          <p:cNvPr id="12" name="Rectangle 11"/>
          <p:cNvSpPr/>
          <p:nvPr/>
        </p:nvSpPr>
        <p:spPr>
          <a:xfrm>
            <a:off x="6903918" y="1456668"/>
            <a:ext cx="946093" cy="415498"/>
          </a:xfrm>
          <a:prstGeom prst="rect">
            <a:avLst/>
          </a:prstGeom>
        </p:spPr>
        <p:txBody>
          <a:bodyPr wrap="none">
            <a:spAutoFit/>
          </a:bodyPr>
          <a:lstStyle/>
          <a:p>
            <a:pPr algn="ctr"/>
            <a:r>
              <a:rPr lang="en-US" b="1" dirty="0">
                <a:solidFill>
                  <a:schemeClr val="bg1"/>
                </a:solidFill>
              </a:rPr>
              <a:t>Rover</a:t>
            </a:r>
          </a:p>
        </p:txBody>
      </p:sp>
      <p:sp>
        <p:nvSpPr>
          <p:cNvPr id="18" name="Rectangle 17"/>
          <p:cNvSpPr/>
          <p:nvPr/>
        </p:nvSpPr>
        <p:spPr>
          <a:xfrm>
            <a:off x="3106934" y="1434616"/>
            <a:ext cx="708848" cy="415498"/>
          </a:xfrm>
          <a:prstGeom prst="rect">
            <a:avLst/>
          </a:prstGeom>
        </p:spPr>
        <p:txBody>
          <a:bodyPr wrap="none">
            <a:spAutoFit/>
          </a:bodyPr>
          <a:lstStyle/>
          <a:p>
            <a:r>
              <a:rPr lang="en-US" b="1" dirty="0">
                <a:solidFill>
                  <a:schemeClr val="bg1"/>
                </a:solidFill>
              </a:rPr>
              <a:t>Bob</a:t>
            </a:r>
            <a:endParaRPr lang="en-US" b="1" dirty="0"/>
          </a:p>
        </p:txBody>
      </p:sp>
      <p:pic>
        <p:nvPicPr>
          <p:cNvPr id="20" name="Picture 19"/>
          <p:cNvPicPr>
            <a:picLocks noChangeAspect="1"/>
          </p:cNvPicPr>
          <p:nvPr/>
        </p:nvPicPr>
        <p:blipFill>
          <a:blip r:embed="rId10">
            <a:extLst>
              <a:ext uri="{BEBA8EAE-BF5A-486C-A8C5-ECC9F3942E4B}">
                <a14:imgProps xmlns:a14="http://schemas.microsoft.com/office/drawing/2010/main">
                  <a14:imgLayer r:embed="rId11">
                    <a14:imgEffect>
                      <a14:backgroundRemoval t="1000" b="100000" l="0" r="100000"/>
                    </a14:imgEffect>
                  </a14:imgLayer>
                </a14:imgProps>
              </a:ext>
              <a:ext uri="{28A0092B-C50C-407E-A947-70E740481C1C}">
                <a14:useLocalDpi xmlns:a14="http://schemas.microsoft.com/office/drawing/2010/main" val="0"/>
              </a:ext>
            </a:extLst>
          </a:blip>
          <a:stretch>
            <a:fillRect/>
          </a:stretch>
        </p:blipFill>
        <p:spPr>
          <a:xfrm>
            <a:off x="1594312" y="4199599"/>
            <a:ext cx="1696729" cy="1696729"/>
          </a:xfrm>
          <a:prstGeom prst="rect">
            <a:avLst/>
          </a:prstGeom>
        </p:spPr>
      </p:pic>
      <p:sp>
        <p:nvSpPr>
          <p:cNvPr id="25" name="Rectangle 24"/>
          <p:cNvSpPr/>
          <p:nvPr/>
        </p:nvSpPr>
        <p:spPr>
          <a:xfrm>
            <a:off x="1925008" y="3762021"/>
            <a:ext cx="1039067" cy="415498"/>
          </a:xfrm>
          <a:prstGeom prst="rect">
            <a:avLst/>
          </a:prstGeom>
        </p:spPr>
        <p:txBody>
          <a:bodyPr wrap="none">
            <a:spAutoFit/>
          </a:bodyPr>
          <a:lstStyle/>
          <a:p>
            <a:r>
              <a:rPr lang="en-US" b="1" dirty="0">
                <a:solidFill>
                  <a:schemeClr val="bg1"/>
                </a:solidFill>
              </a:rPr>
              <a:t>Minnie</a:t>
            </a:r>
            <a:endParaRPr lang="en-US" b="1" dirty="0"/>
          </a:p>
        </p:txBody>
      </p:sp>
    </p:spTree>
    <p:extLst>
      <p:ext uri="{BB962C8B-B14F-4D97-AF65-F5344CB8AC3E}">
        <p14:creationId xmlns:p14="http://schemas.microsoft.com/office/powerpoint/2010/main" val="316826312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 purpose/multi purpose</a:t>
            </a:r>
          </a:p>
        </p:txBody>
      </p:sp>
      <p:pic>
        <p:nvPicPr>
          <p:cNvPr id="1026" name="Picture 2" descr="Image result for flip phone nokia">
            <a:extLst>
              <a:ext uri="{FF2B5EF4-FFF2-40B4-BE49-F238E27FC236}">
                <a16:creationId xmlns:a16="http://schemas.microsoft.com/office/drawing/2014/main" id="{384B3F42-18F2-4B82-AF7A-BB39CA5D82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9518" y="1451445"/>
            <a:ext cx="2827674" cy="471279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android  phone">
            <a:extLst>
              <a:ext uri="{FF2B5EF4-FFF2-40B4-BE49-F238E27FC236}">
                <a16:creationId xmlns:a16="http://schemas.microsoft.com/office/drawing/2014/main" id="{62CEA166-D107-4715-86F4-FE826D5CBE5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415" r="27679"/>
          <a:stretch/>
        </p:blipFill>
        <p:spPr bwMode="auto">
          <a:xfrm>
            <a:off x="6317844" y="1446691"/>
            <a:ext cx="3046812" cy="4695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18698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1DF21-49B1-409D-9802-876C8A32CA90}"/>
              </a:ext>
            </a:extLst>
          </p:cNvPr>
          <p:cNvSpPr>
            <a:spLocks noGrp="1"/>
          </p:cNvSpPr>
          <p:nvPr>
            <p:ph type="title"/>
          </p:nvPr>
        </p:nvSpPr>
        <p:spPr>
          <a:xfrm>
            <a:off x="324000" y="328838"/>
            <a:ext cx="11545200" cy="756175"/>
          </a:xfrm>
        </p:spPr>
        <p:txBody>
          <a:bodyPr/>
          <a:lstStyle/>
          <a:p>
            <a:endParaRPr lang="en-US" dirty="0"/>
          </a:p>
        </p:txBody>
      </p:sp>
      <p:graphicFrame>
        <p:nvGraphicFramePr>
          <p:cNvPr id="8" name="Diagram 7">
            <a:extLst>
              <a:ext uri="{FF2B5EF4-FFF2-40B4-BE49-F238E27FC236}">
                <a16:creationId xmlns:a16="http://schemas.microsoft.com/office/drawing/2014/main" id="{5A3D0B4A-FBCE-41FD-ABA3-A4B151E121B2}"/>
              </a:ext>
            </a:extLst>
          </p:cNvPr>
          <p:cNvGraphicFramePr/>
          <p:nvPr>
            <p:extLst/>
          </p:nvPr>
        </p:nvGraphicFramePr>
        <p:xfrm>
          <a:off x="5447197" y="2353706"/>
          <a:ext cx="7174620" cy="40361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Related image">
            <a:extLst>
              <a:ext uri="{FF2B5EF4-FFF2-40B4-BE49-F238E27FC236}">
                <a16:creationId xmlns:a16="http://schemas.microsoft.com/office/drawing/2014/main" id="{690A55DF-AE99-4D56-B028-CF316F7BDFD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751" r="23285"/>
          <a:stretch/>
        </p:blipFill>
        <p:spPr bwMode="auto">
          <a:xfrm>
            <a:off x="1461430" y="2510797"/>
            <a:ext cx="2578698" cy="3518714"/>
          </a:xfrm>
          <a:prstGeom prst="rect">
            <a:avLst/>
          </a:prstGeom>
          <a:noFill/>
          <a:extLst>
            <a:ext uri="{909E8E84-426E-40DD-AFC4-6F175D3DCCD1}">
              <a14:hiddenFill xmlns:a14="http://schemas.microsoft.com/office/drawing/2010/main">
                <a:solidFill>
                  <a:srgbClr val="FFFFFF"/>
                </a:solidFill>
              </a14:hiddenFill>
            </a:ext>
          </a:extLst>
        </p:spPr>
      </p:pic>
      <p:sp>
        <p:nvSpPr>
          <p:cNvPr id="9" name="Speech Bubble: Oval 8">
            <a:extLst>
              <a:ext uri="{FF2B5EF4-FFF2-40B4-BE49-F238E27FC236}">
                <a16:creationId xmlns:a16="http://schemas.microsoft.com/office/drawing/2014/main" id="{3A64622C-7783-4A02-B8E0-B2A69B0515CB}"/>
              </a:ext>
            </a:extLst>
          </p:cNvPr>
          <p:cNvSpPr/>
          <p:nvPr/>
        </p:nvSpPr>
        <p:spPr>
          <a:xfrm>
            <a:off x="54362" y="1304926"/>
            <a:ext cx="2578698" cy="1774268"/>
          </a:xfrm>
          <a:prstGeom prst="wedgeEllipseCallout">
            <a:avLst>
              <a:gd name="adj1" fmla="val 38700"/>
              <a:gd name="adj2" fmla="val 80813"/>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No one is smarter than me. No one. Ever.</a:t>
            </a:r>
          </a:p>
        </p:txBody>
      </p:sp>
      <p:sp>
        <p:nvSpPr>
          <p:cNvPr id="10" name="TextBox 9">
            <a:extLst>
              <a:ext uri="{FF2B5EF4-FFF2-40B4-BE49-F238E27FC236}">
                <a16:creationId xmlns:a16="http://schemas.microsoft.com/office/drawing/2014/main" id="{A8E6F39B-011A-4147-A7C4-BC2403632ACC}"/>
              </a:ext>
            </a:extLst>
          </p:cNvPr>
          <p:cNvSpPr txBox="1"/>
          <p:nvPr/>
        </p:nvSpPr>
        <p:spPr>
          <a:xfrm>
            <a:off x="2487433" y="5695822"/>
            <a:ext cx="901209" cy="415498"/>
          </a:xfrm>
          <a:prstGeom prst="rect">
            <a:avLst/>
          </a:prstGeom>
          <a:noFill/>
        </p:spPr>
        <p:txBody>
          <a:bodyPr wrap="none" rtlCol="0">
            <a:spAutoFit/>
          </a:bodyPr>
          <a:lstStyle/>
          <a:p>
            <a:r>
              <a:rPr lang="en-US" dirty="0"/>
              <a:t>Rover</a:t>
            </a:r>
          </a:p>
        </p:txBody>
      </p:sp>
      <p:sp>
        <p:nvSpPr>
          <p:cNvPr id="11" name="AutoShape 8" descr="Image result for diamond ring">
            <a:extLst>
              <a:ext uri="{FF2B5EF4-FFF2-40B4-BE49-F238E27FC236}">
                <a16:creationId xmlns:a16="http://schemas.microsoft.com/office/drawing/2014/main" id="{58917AD6-8ADF-4282-A8F5-5F29DE114C04}"/>
              </a:ext>
            </a:extLst>
          </p:cNvPr>
          <p:cNvSpPr>
            <a:spLocks noChangeAspect="1" noChangeArrowheads="1"/>
          </p:cNvSpPr>
          <p:nvPr/>
        </p:nvSpPr>
        <p:spPr bwMode="auto">
          <a:xfrm>
            <a:off x="5945152" y="3277359"/>
            <a:ext cx="304871" cy="3048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61" tIns="45731" rIns="91461" bIns="45731" numCol="1" anchor="t" anchorCtr="0" compatLnSpc="1">
            <a:prstTxWarp prst="textNoShape">
              <a:avLst/>
            </a:prstTxWarp>
          </a:bodyPr>
          <a:lstStyle/>
          <a:p>
            <a:endParaRPr lang="en-US"/>
          </a:p>
        </p:txBody>
      </p:sp>
      <p:pic>
        <p:nvPicPr>
          <p:cNvPr id="2066" name="Picture 18" descr="Related image">
            <a:extLst>
              <a:ext uri="{FF2B5EF4-FFF2-40B4-BE49-F238E27FC236}">
                <a16:creationId xmlns:a16="http://schemas.microsoft.com/office/drawing/2014/main" id="{32B2AB47-9C32-4187-9828-8011D40A3ECC}"/>
              </a:ext>
            </a:extLst>
          </p:cNvPr>
          <p:cNvPicPr>
            <a:picLocks noChangeAspect="1" noChangeArrowheads="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9472804">
            <a:off x="3998125" y="-197671"/>
            <a:ext cx="4118282" cy="6645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32428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643CE-D6B8-45BA-AD39-46DBC815CD35}"/>
              </a:ext>
            </a:extLst>
          </p:cNvPr>
          <p:cNvSpPr>
            <a:spLocks noGrp="1"/>
          </p:cNvSpPr>
          <p:nvPr>
            <p:ph type="title"/>
          </p:nvPr>
        </p:nvSpPr>
        <p:spPr/>
        <p:txBody>
          <a:bodyPr/>
          <a:lstStyle/>
          <a:p>
            <a:r>
              <a:rPr lang="en-US" dirty="0"/>
              <a:t>Limitations of bitcoin blockchain</a:t>
            </a:r>
          </a:p>
        </p:txBody>
      </p:sp>
      <p:sp>
        <p:nvSpPr>
          <p:cNvPr id="3" name="Content Placeholder 2">
            <a:extLst>
              <a:ext uri="{FF2B5EF4-FFF2-40B4-BE49-F238E27FC236}">
                <a16:creationId xmlns:a16="http://schemas.microsoft.com/office/drawing/2014/main" id="{DFE111F0-2246-4FFA-A839-194B124DFA5B}"/>
              </a:ext>
            </a:extLst>
          </p:cNvPr>
          <p:cNvSpPr>
            <a:spLocks noGrp="1"/>
          </p:cNvSpPr>
          <p:nvPr>
            <p:ph type="body" sz="quarter" idx="10"/>
          </p:nvPr>
        </p:nvSpPr>
        <p:spPr/>
        <p:txBody>
          <a:bodyPr/>
          <a:lstStyle/>
          <a:p>
            <a:r>
              <a:rPr lang="en-US" dirty="0"/>
              <a:t>Essentially a cryptocurrency.  A network to transaction payments.</a:t>
            </a:r>
          </a:p>
          <a:p>
            <a:r>
              <a:rPr lang="en-US" dirty="0"/>
              <a:t>Simple transactions – Alice sends Bob 1 BTC.</a:t>
            </a:r>
          </a:p>
          <a:p>
            <a:pPr lvl="1"/>
            <a:r>
              <a:rPr lang="en-US" dirty="0"/>
              <a:t>A few more complex transaction types such as </a:t>
            </a:r>
            <a:r>
              <a:rPr lang="en-US" dirty="0" err="1"/>
              <a:t>multisig</a:t>
            </a:r>
            <a:endParaRPr lang="en-US" dirty="0"/>
          </a:p>
          <a:p>
            <a:pPr lvl="1"/>
            <a:r>
              <a:rPr lang="en-US" dirty="0"/>
              <a:t>The design principle is for simple transactions that use a stack-based language called Script.</a:t>
            </a:r>
          </a:p>
          <a:p>
            <a:pPr lvl="1"/>
            <a:r>
              <a:rPr lang="en-US" dirty="0"/>
              <a:t>Script is not Turing complete </a:t>
            </a:r>
            <a:r>
              <a:rPr lang="en-US" i="1" dirty="0"/>
              <a:t>…any real-world general-purpose computer or computer language can approximately simulate the computational aspects of any other real-world general-purpose computer or computer language… </a:t>
            </a:r>
            <a:r>
              <a:rPr lang="en-US" dirty="0"/>
              <a:t>Wikipedia</a:t>
            </a:r>
          </a:p>
          <a:p>
            <a:pPr lvl="1"/>
            <a:r>
              <a:rPr lang="en-US" dirty="0"/>
              <a:t>This makes transactions deterministic in the sense you know exactly how many steps (computational power) is needed to execute transactions.</a:t>
            </a:r>
          </a:p>
          <a:p>
            <a:r>
              <a:rPr lang="en-US" dirty="0"/>
              <a:t>For real world business transactions beyond simple payments, a more feature-rich programming language was needed. To be able to build apps that use the blockchain.</a:t>
            </a:r>
          </a:p>
        </p:txBody>
      </p:sp>
    </p:spTree>
    <p:extLst>
      <p:ext uri="{BB962C8B-B14F-4D97-AF65-F5344CB8AC3E}">
        <p14:creationId xmlns:p14="http://schemas.microsoft.com/office/powerpoint/2010/main" val="89891233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D0B3F-6476-4407-98FB-F9DD41241319}"/>
              </a:ext>
            </a:extLst>
          </p:cNvPr>
          <p:cNvSpPr>
            <a:spLocks noGrp="1"/>
          </p:cNvSpPr>
          <p:nvPr>
            <p:ph type="title"/>
          </p:nvPr>
        </p:nvSpPr>
        <p:spPr/>
        <p:txBody>
          <a:bodyPr/>
          <a:lstStyle/>
          <a:p>
            <a:r>
              <a:rPr lang="en-US" dirty="0"/>
              <a:t>Ethereum</a:t>
            </a:r>
          </a:p>
        </p:txBody>
      </p:sp>
      <p:sp>
        <p:nvSpPr>
          <p:cNvPr id="3" name="Content Placeholder 2">
            <a:extLst>
              <a:ext uri="{FF2B5EF4-FFF2-40B4-BE49-F238E27FC236}">
                <a16:creationId xmlns:a16="http://schemas.microsoft.com/office/drawing/2014/main" id="{DDFDCE10-17EC-4DF9-AFAB-DC358F766192}"/>
              </a:ext>
            </a:extLst>
          </p:cNvPr>
          <p:cNvSpPr>
            <a:spLocks noGrp="1"/>
          </p:cNvSpPr>
          <p:nvPr>
            <p:ph type="body" sz="quarter" idx="10"/>
          </p:nvPr>
        </p:nvSpPr>
        <p:spPr>
          <a:xfrm>
            <a:off x="324000" y="1691078"/>
            <a:ext cx="6438750" cy="4392043"/>
          </a:xfrm>
        </p:spPr>
        <p:txBody>
          <a:bodyPr>
            <a:normAutofit lnSpcReduction="10000"/>
          </a:bodyPr>
          <a:lstStyle/>
          <a:p>
            <a:r>
              <a:rPr lang="en-US" dirty="0"/>
              <a:t>Proposed by </a:t>
            </a:r>
            <a:r>
              <a:rPr lang="en-US" dirty="0" err="1"/>
              <a:t>Vitalik</a:t>
            </a:r>
            <a:r>
              <a:rPr lang="en-US" dirty="0"/>
              <a:t> </a:t>
            </a:r>
            <a:r>
              <a:rPr lang="en-US" dirty="0" err="1"/>
              <a:t>Buterin</a:t>
            </a:r>
            <a:r>
              <a:rPr lang="en-US" dirty="0"/>
              <a:t> in 2013 (when he was 19 years old)</a:t>
            </a:r>
          </a:p>
          <a:p>
            <a:r>
              <a:rPr lang="en-US" dirty="0"/>
              <a:t>A decentralized network to run smart contracts (software)</a:t>
            </a:r>
          </a:p>
          <a:p>
            <a:r>
              <a:rPr lang="en-US" dirty="0"/>
              <a:t>A more technical definition – Ethereum is a distributed state machine (a global computer) with no single point of control.</a:t>
            </a:r>
          </a:p>
          <a:p>
            <a:r>
              <a:rPr lang="en-US" dirty="0"/>
              <a:t>Compare this definition to the standard  client/server architecture.</a:t>
            </a:r>
          </a:p>
          <a:p>
            <a:r>
              <a:rPr lang="en-US" dirty="0"/>
              <a:t>So computers in this decentralized network run your program instead of a central (trusted) server.</a:t>
            </a:r>
          </a:p>
        </p:txBody>
      </p:sp>
      <p:pic>
        <p:nvPicPr>
          <p:cNvPr id="8" name="Picture 2" descr="Image result for Vitalik Buterin">
            <a:extLst>
              <a:ext uri="{FF2B5EF4-FFF2-40B4-BE49-F238E27FC236}">
                <a16:creationId xmlns:a16="http://schemas.microsoft.com/office/drawing/2014/main" id="{D1815C9B-424C-4780-B192-1BC9A28EF420}"/>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rcRect/>
          <a:stretch>
            <a:fillRect/>
          </a:stretch>
        </p:blipFill>
        <p:spPr bwMode="auto">
          <a:xfrm>
            <a:off x="7348538" y="2227263"/>
            <a:ext cx="4846637" cy="3635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720834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63288-42F6-4D05-9F42-0707A6DBD8A5}"/>
              </a:ext>
            </a:extLst>
          </p:cNvPr>
          <p:cNvSpPr>
            <a:spLocks noGrp="1"/>
          </p:cNvSpPr>
          <p:nvPr>
            <p:ph type="title"/>
          </p:nvPr>
        </p:nvSpPr>
        <p:spPr/>
        <p:txBody>
          <a:bodyPr/>
          <a:lstStyle/>
          <a:p>
            <a:r>
              <a:rPr lang="en-US" dirty="0"/>
              <a:t>Ethereum blockchain</a:t>
            </a:r>
          </a:p>
        </p:txBody>
      </p:sp>
      <p:sp>
        <p:nvSpPr>
          <p:cNvPr id="7" name="Content Placeholder 6">
            <a:extLst>
              <a:ext uri="{FF2B5EF4-FFF2-40B4-BE49-F238E27FC236}">
                <a16:creationId xmlns:a16="http://schemas.microsoft.com/office/drawing/2014/main" id="{C7CD26DC-7DDD-4342-B6CC-B50DA21288C5}"/>
              </a:ext>
            </a:extLst>
          </p:cNvPr>
          <p:cNvSpPr>
            <a:spLocks noGrp="1"/>
          </p:cNvSpPr>
          <p:nvPr>
            <p:ph type="body" sz="quarter" idx="10"/>
          </p:nvPr>
        </p:nvSpPr>
        <p:spPr/>
        <p:txBody>
          <a:bodyPr>
            <a:normAutofit/>
          </a:bodyPr>
          <a:lstStyle/>
          <a:p>
            <a:r>
              <a:rPr lang="en-US" dirty="0"/>
              <a:t>Ethereum - </a:t>
            </a:r>
            <a:r>
              <a:rPr lang="en-US" dirty="0">
                <a:hlinkClick r:id="rId2"/>
              </a:rPr>
              <a:t>https://ethereum.org/</a:t>
            </a:r>
            <a:endParaRPr lang="en-US" dirty="0"/>
          </a:p>
          <a:p>
            <a:r>
              <a:rPr lang="en-US" dirty="0"/>
              <a:t>Block explorer </a:t>
            </a:r>
            <a:r>
              <a:rPr lang="en-US" dirty="0">
                <a:hlinkClick r:id="rId3"/>
              </a:rPr>
              <a:t>https://etherchain.org/</a:t>
            </a:r>
            <a:endParaRPr lang="en-US" dirty="0"/>
          </a:p>
          <a:p>
            <a:r>
              <a:rPr lang="en-US" dirty="0"/>
              <a:t>Reward is the token (native asset) called Ether – ETH</a:t>
            </a:r>
          </a:p>
          <a:p>
            <a:r>
              <a:rPr lang="en-US" dirty="0"/>
              <a:t>Turing complete language is one of the main advances in Ethereum.</a:t>
            </a:r>
          </a:p>
          <a:p>
            <a:r>
              <a:rPr lang="en-US" dirty="0"/>
              <a:t>Any app (that you can write in the client/server way) can be written in Ethereum.</a:t>
            </a:r>
          </a:p>
          <a:p>
            <a:endParaRPr lang="en-US" dirty="0"/>
          </a:p>
          <a:p>
            <a:endParaRPr lang="en-US" dirty="0"/>
          </a:p>
        </p:txBody>
      </p:sp>
    </p:spTree>
    <p:extLst>
      <p:ext uri="{BB962C8B-B14F-4D97-AF65-F5344CB8AC3E}">
        <p14:creationId xmlns:p14="http://schemas.microsoft.com/office/powerpoint/2010/main" val="134378971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08F87-24A0-403F-97C3-A461BF05886D}"/>
              </a:ext>
            </a:extLst>
          </p:cNvPr>
          <p:cNvSpPr>
            <a:spLocks noGrp="1"/>
          </p:cNvSpPr>
          <p:nvPr>
            <p:ph type="title"/>
          </p:nvPr>
        </p:nvSpPr>
        <p:spPr/>
        <p:txBody>
          <a:bodyPr/>
          <a:lstStyle/>
          <a:p>
            <a:r>
              <a:rPr lang="en-US" dirty="0"/>
              <a:t>Bitcoin vs Ethereum</a:t>
            </a:r>
          </a:p>
        </p:txBody>
      </p:sp>
      <p:sp>
        <p:nvSpPr>
          <p:cNvPr id="3" name="Content Placeholder 2">
            <a:extLst>
              <a:ext uri="{FF2B5EF4-FFF2-40B4-BE49-F238E27FC236}">
                <a16:creationId xmlns:a16="http://schemas.microsoft.com/office/drawing/2014/main" id="{033459B8-59D9-4BB8-92F2-BD3CDC9ADA92}"/>
              </a:ext>
            </a:extLst>
          </p:cNvPr>
          <p:cNvSpPr>
            <a:spLocks noGrp="1"/>
          </p:cNvSpPr>
          <p:nvPr>
            <p:ph type="body" sz="quarter" idx="10"/>
          </p:nvPr>
        </p:nvSpPr>
        <p:spPr/>
        <p:txBody>
          <a:bodyPr anchor="t">
            <a:normAutofit/>
          </a:bodyPr>
          <a:lstStyle/>
          <a:p>
            <a:r>
              <a:rPr lang="en-US" dirty="0"/>
              <a:t>Bitcoin</a:t>
            </a:r>
          </a:p>
          <a:p>
            <a:r>
              <a:rPr lang="en-US" dirty="0"/>
              <a:t>UTXO. No concept of accounts. Balances are maintained by a wallet, not in the blockchain.</a:t>
            </a:r>
          </a:p>
          <a:p>
            <a:r>
              <a:rPr lang="en-US" dirty="0"/>
              <a:t>Simple transactions</a:t>
            </a:r>
          </a:p>
          <a:p>
            <a:r>
              <a:rPr lang="en-US" dirty="0"/>
              <a:t>SHA256 Proof of Work</a:t>
            </a:r>
          </a:p>
          <a:p>
            <a:r>
              <a:rPr lang="en-US" dirty="0"/>
              <a:t>10-minute blocks</a:t>
            </a:r>
          </a:p>
          <a:p>
            <a:r>
              <a:rPr lang="en-US" dirty="0"/>
              <a:t>Block reward – 12.5BTC</a:t>
            </a:r>
          </a:p>
          <a:p>
            <a:r>
              <a:rPr lang="en-US" dirty="0"/>
              <a:t>10^8 </a:t>
            </a:r>
            <a:r>
              <a:rPr lang="en-US" dirty="0" err="1"/>
              <a:t>Satoshis</a:t>
            </a:r>
            <a:r>
              <a:rPr lang="en-US" dirty="0"/>
              <a:t> = 1 BTC</a:t>
            </a:r>
          </a:p>
        </p:txBody>
      </p:sp>
      <p:sp>
        <p:nvSpPr>
          <p:cNvPr id="4" name="Content Placeholder 3">
            <a:extLst>
              <a:ext uri="{FF2B5EF4-FFF2-40B4-BE49-F238E27FC236}">
                <a16:creationId xmlns:a16="http://schemas.microsoft.com/office/drawing/2014/main" id="{CB77AD95-B0D8-4117-8DF0-64D54A6EE96B}"/>
              </a:ext>
            </a:extLst>
          </p:cNvPr>
          <p:cNvSpPr>
            <a:spLocks noGrp="1"/>
          </p:cNvSpPr>
          <p:nvPr>
            <p:ph type="body" sz="quarter" idx="11"/>
          </p:nvPr>
        </p:nvSpPr>
        <p:spPr/>
        <p:txBody>
          <a:bodyPr anchor="t">
            <a:normAutofit fontScale="85000" lnSpcReduction="20000"/>
          </a:bodyPr>
          <a:lstStyle/>
          <a:p>
            <a:r>
              <a:rPr lang="en-US" dirty="0"/>
              <a:t>Ethereum</a:t>
            </a:r>
          </a:p>
          <a:p>
            <a:r>
              <a:rPr lang="en-US" dirty="0"/>
              <a:t>Concept of </a:t>
            </a:r>
            <a:r>
              <a:rPr lang="en-US" i="1" dirty="0"/>
              <a:t>accounts</a:t>
            </a:r>
          </a:p>
          <a:p>
            <a:r>
              <a:rPr lang="en-US" dirty="0"/>
              <a:t>Complex transactions using Turing complete language</a:t>
            </a:r>
          </a:p>
          <a:p>
            <a:r>
              <a:rPr lang="en-US" dirty="0"/>
              <a:t>Smart contracts</a:t>
            </a:r>
          </a:p>
          <a:p>
            <a:r>
              <a:rPr lang="en-US" dirty="0" err="1"/>
              <a:t>Ethash</a:t>
            </a:r>
            <a:r>
              <a:rPr lang="en-US" dirty="0"/>
              <a:t> Proof of Work</a:t>
            </a:r>
          </a:p>
          <a:p>
            <a:r>
              <a:rPr lang="en-US" dirty="0"/>
              <a:t>Shift towards Proof of Stake consensus</a:t>
            </a:r>
          </a:p>
          <a:p>
            <a:r>
              <a:rPr lang="en-US" dirty="0"/>
              <a:t>12-second blocks</a:t>
            </a:r>
          </a:p>
          <a:p>
            <a:r>
              <a:rPr lang="en-US" dirty="0"/>
              <a:t>Block reward – 5 ETH</a:t>
            </a:r>
          </a:p>
          <a:p>
            <a:r>
              <a:rPr lang="en-US" dirty="0"/>
              <a:t>10 ^18 Wei = 1 ETH</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02654038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6800F-3857-4905-AD36-0A621F46001C}"/>
              </a:ext>
            </a:extLst>
          </p:cNvPr>
          <p:cNvSpPr>
            <a:spLocks noGrp="1"/>
          </p:cNvSpPr>
          <p:nvPr>
            <p:ph type="title"/>
          </p:nvPr>
        </p:nvSpPr>
        <p:spPr/>
        <p:txBody>
          <a:bodyPr/>
          <a:lstStyle/>
          <a:p>
            <a:r>
              <a:rPr lang="en-US" dirty="0"/>
              <a:t>Ethereum money supply</a:t>
            </a:r>
          </a:p>
        </p:txBody>
      </p:sp>
      <p:sp>
        <p:nvSpPr>
          <p:cNvPr id="3" name="Content Placeholder 2">
            <a:extLst>
              <a:ext uri="{FF2B5EF4-FFF2-40B4-BE49-F238E27FC236}">
                <a16:creationId xmlns:a16="http://schemas.microsoft.com/office/drawing/2014/main" id="{AA90BD21-91AA-4198-99E1-E1B7C6AFD439}"/>
              </a:ext>
            </a:extLst>
          </p:cNvPr>
          <p:cNvSpPr>
            <a:spLocks noGrp="1"/>
          </p:cNvSpPr>
          <p:nvPr>
            <p:ph type="body" sz="quarter" idx="10"/>
          </p:nvPr>
        </p:nvSpPr>
        <p:spPr/>
        <p:txBody>
          <a:bodyPr anchor="t">
            <a:normAutofit lnSpcReduction="10000"/>
          </a:bodyPr>
          <a:lstStyle/>
          <a:p>
            <a:r>
              <a:rPr lang="en-US" dirty="0"/>
              <a:t>60 million ether created to contributors of the presale</a:t>
            </a:r>
          </a:p>
          <a:p>
            <a:r>
              <a:rPr lang="en-US" dirty="0"/>
              <a:t>12 Million (20% of the above) were created to the development fund, most of it going to early contributors and developers and the remaining to the Ethereum Foundation</a:t>
            </a:r>
          </a:p>
          <a:p>
            <a:r>
              <a:rPr lang="en-US" dirty="0"/>
              <a:t>5 ethers are created every block (roughly 15 seconds) to the miner of the block</a:t>
            </a:r>
          </a:p>
          <a:p>
            <a:r>
              <a:rPr lang="en-US" dirty="0"/>
              <a:t>2-3 ethers are sometimes sent to another miner if they were also able to find a solution but his block wasn't included (called uncle/aunt reward)</a:t>
            </a:r>
          </a:p>
        </p:txBody>
      </p:sp>
      <p:sp>
        <p:nvSpPr>
          <p:cNvPr id="4" name="Content Placeholder 3">
            <a:extLst>
              <a:ext uri="{FF2B5EF4-FFF2-40B4-BE49-F238E27FC236}">
                <a16:creationId xmlns:a16="http://schemas.microsoft.com/office/drawing/2014/main" id="{72757E51-8D53-4B39-977D-569A63E59B71}"/>
              </a:ext>
            </a:extLst>
          </p:cNvPr>
          <p:cNvSpPr>
            <a:spLocks noGrp="1"/>
          </p:cNvSpPr>
          <p:nvPr>
            <p:ph type="body" sz="quarter" idx="11"/>
          </p:nvPr>
        </p:nvSpPr>
        <p:spPr/>
        <p:txBody>
          <a:bodyPr anchor="t">
            <a:normAutofit/>
          </a:bodyPr>
          <a:lstStyle/>
          <a:p>
            <a:r>
              <a:rPr lang="en-US" dirty="0"/>
              <a:t>Issuance of ether is capped at 18 million ether per year</a:t>
            </a:r>
          </a:p>
          <a:p>
            <a:r>
              <a:rPr lang="en-US" dirty="0"/>
              <a:t>Current Ether supply – 96million ETH</a:t>
            </a:r>
          </a:p>
          <a:p>
            <a:r>
              <a:rPr lang="en-US" dirty="0"/>
              <a:t>There is no limit to ETH supply. However, with the move to Proof of Stake, this may change where the growth of money supply will be reduced over time.</a:t>
            </a:r>
          </a:p>
          <a:p>
            <a:endParaRPr lang="en-US" dirty="0"/>
          </a:p>
        </p:txBody>
      </p:sp>
    </p:spTree>
    <p:extLst>
      <p:ext uri="{BB962C8B-B14F-4D97-AF65-F5344CB8AC3E}">
        <p14:creationId xmlns:p14="http://schemas.microsoft.com/office/powerpoint/2010/main" val="285744777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092DE-1600-4EE0-905A-6AC0166496B3}"/>
              </a:ext>
            </a:extLst>
          </p:cNvPr>
          <p:cNvSpPr>
            <a:spLocks noGrp="1"/>
          </p:cNvSpPr>
          <p:nvPr>
            <p:ph type="title"/>
          </p:nvPr>
        </p:nvSpPr>
        <p:spPr/>
        <p:txBody>
          <a:bodyPr/>
          <a:lstStyle/>
          <a:p>
            <a:r>
              <a:rPr lang="en-US" dirty="0"/>
              <a:t>Accounts</a:t>
            </a:r>
          </a:p>
        </p:txBody>
      </p:sp>
      <p:sp>
        <p:nvSpPr>
          <p:cNvPr id="3" name="Content Placeholder 2">
            <a:extLst>
              <a:ext uri="{FF2B5EF4-FFF2-40B4-BE49-F238E27FC236}">
                <a16:creationId xmlns:a16="http://schemas.microsoft.com/office/drawing/2014/main" id="{4EDD0369-0A5B-4A74-9108-2D7BE0F8E4B6}"/>
              </a:ext>
            </a:extLst>
          </p:cNvPr>
          <p:cNvSpPr>
            <a:spLocks noGrp="1"/>
          </p:cNvSpPr>
          <p:nvPr>
            <p:ph type="body" sz="quarter" idx="10"/>
          </p:nvPr>
        </p:nvSpPr>
        <p:spPr/>
        <p:txBody>
          <a:bodyPr>
            <a:normAutofit/>
          </a:bodyPr>
          <a:lstStyle/>
          <a:p>
            <a:r>
              <a:rPr lang="en-US" dirty="0"/>
              <a:t>External accounts. </a:t>
            </a:r>
          </a:p>
          <a:p>
            <a:r>
              <a:rPr lang="en-US" dirty="0"/>
              <a:t>Owned by entities.</a:t>
            </a:r>
          </a:p>
          <a:p>
            <a:r>
              <a:rPr lang="en-US" dirty="0"/>
              <a:t>Has an address</a:t>
            </a:r>
          </a:p>
          <a:p>
            <a:r>
              <a:rPr lang="en-US" dirty="0"/>
              <a:t>Has a balance</a:t>
            </a:r>
          </a:p>
          <a:p>
            <a:r>
              <a:rPr lang="en-US" dirty="0"/>
              <a:t>Can do transactions like Alice sends 1 ETH to Bob</a:t>
            </a:r>
          </a:p>
          <a:p>
            <a:endParaRPr lang="en-US" dirty="0"/>
          </a:p>
        </p:txBody>
      </p:sp>
      <p:sp>
        <p:nvSpPr>
          <p:cNvPr id="4" name="Content Placeholder 3">
            <a:extLst>
              <a:ext uri="{FF2B5EF4-FFF2-40B4-BE49-F238E27FC236}">
                <a16:creationId xmlns:a16="http://schemas.microsoft.com/office/drawing/2014/main" id="{70AA72B8-A66B-49C3-9B8D-67F5CCC62DBA}"/>
              </a:ext>
            </a:extLst>
          </p:cNvPr>
          <p:cNvSpPr>
            <a:spLocks noGrp="1"/>
          </p:cNvSpPr>
          <p:nvPr>
            <p:ph type="body" sz="quarter" idx="11"/>
          </p:nvPr>
        </p:nvSpPr>
        <p:spPr/>
        <p:txBody>
          <a:bodyPr>
            <a:normAutofit/>
          </a:bodyPr>
          <a:lstStyle/>
          <a:p>
            <a:r>
              <a:rPr lang="en-US" dirty="0"/>
              <a:t>Internal accounts</a:t>
            </a:r>
          </a:p>
          <a:p>
            <a:r>
              <a:rPr lang="en-US" dirty="0"/>
              <a:t>Are connected to Contracts</a:t>
            </a:r>
          </a:p>
          <a:p>
            <a:r>
              <a:rPr lang="en-US" dirty="0"/>
              <a:t>Has a balance</a:t>
            </a:r>
          </a:p>
          <a:p>
            <a:r>
              <a:rPr lang="en-US" dirty="0"/>
              <a:t>Can interact with other contracts</a:t>
            </a:r>
          </a:p>
          <a:p>
            <a:r>
              <a:rPr lang="en-US" dirty="0"/>
              <a:t>The contract execution is triggered by transactions</a:t>
            </a:r>
          </a:p>
          <a:p>
            <a:r>
              <a:rPr lang="en-US" dirty="0"/>
              <a:t>Contracts can store values persistently</a:t>
            </a:r>
          </a:p>
        </p:txBody>
      </p:sp>
    </p:spTree>
    <p:extLst>
      <p:ext uri="{BB962C8B-B14F-4D97-AF65-F5344CB8AC3E}">
        <p14:creationId xmlns:p14="http://schemas.microsoft.com/office/powerpoint/2010/main" val="152895312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DE8B-1E75-4FA4-8B3C-86CC781B03E7}"/>
              </a:ext>
            </a:extLst>
          </p:cNvPr>
          <p:cNvSpPr>
            <a:spLocks noGrp="1"/>
          </p:cNvSpPr>
          <p:nvPr>
            <p:ph type="title"/>
          </p:nvPr>
        </p:nvSpPr>
        <p:spPr/>
        <p:txBody>
          <a:bodyPr/>
          <a:lstStyle/>
          <a:p>
            <a:r>
              <a:rPr lang="en-US" dirty="0"/>
              <a:t>State machine</a:t>
            </a:r>
          </a:p>
        </p:txBody>
      </p:sp>
      <p:sp>
        <p:nvSpPr>
          <p:cNvPr id="3" name="Content Placeholder 2">
            <a:extLst>
              <a:ext uri="{FF2B5EF4-FFF2-40B4-BE49-F238E27FC236}">
                <a16:creationId xmlns:a16="http://schemas.microsoft.com/office/drawing/2014/main" id="{3880559D-CA10-4C69-951B-E1E6C3449468}"/>
              </a:ext>
            </a:extLst>
          </p:cNvPr>
          <p:cNvSpPr>
            <a:spLocks noGrp="1"/>
          </p:cNvSpPr>
          <p:nvPr>
            <p:ph type="body" sz="quarter" idx="10"/>
          </p:nvPr>
        </p:nvSpPr>
        <p:spPr/>
        <p:txBody>
          <a:bodyPr/>
          <a:lstStyle/>
          <a:p>
            <a:r>
              <a:rPr lang="en-US" dirty="0"/>
              <a:t>The Ethereum network stores the state of all internal and external accounts</a:t>
            </a:r>
          </a:p>
          <a:p>
            <a:r>
              <a:rPr lang="en-US" dirty="0"/>
              <a:t>New blocks change the state of the network from the previous state to a new state</a:t>
            </a:r>
          </a:p>
          <a:p>
            <a:r>
              <a:rPr lang="en-US" dirty="0"/>
              <a:t>All nodes agree on the new state of the network (balances)</a:t>
            </a:r>
          </a:p>
          <a:p>
            <a:r>
              <a:rPr lang="en-US" dirty="0"/>
              <a:t>Transactions alter the account balances.</a:t>
            </a:r>
          </a:p>
        </p:txBody>
      </p:sp>
    </p:spTree>
    <p:extLst>
      <p:ext uri="{BB962C8B-B14F-4D97-AF65-F5344CB8AC3E}">
        <p14:creationId xmlns:p14="http://schemas.microsoft.com/office/powerpoint/2010/main" val="76589750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682DF-AEF3-41AA-B9E3-1C72C9C6BC5B}"/>
              </a:ext>
            </a:extLst>
          </p:cNvPr>
          <p:cNvSpPr>
            <a:spLocks noGrp="1"/>
          </p:cNvSpPr>
          <p:nvPr>
            <p:ph type="title"/>
          </p:nvPr>
        </p:nvSpPr>
        <p:spPr/>
        <p:txBody>
          <a:bodyPr/>
          <a:lstStyle/>
          <a:p>
            <a:r>
              <a:rPr lang="en-US" dirty="0"/>
              <a:t>Language</a:t>
            </a:r>
          </a:p>
        </p:txBody>
      </p:sp>
      <p:sp>
        <p:nvSpPr>
          <p:cNvPr id="3" name="Content Placeholder 2">
            <a:extLst>
              <a:ext uri="{FF2B5EF4-FFF2-40B4-BE49-F238E27FC236}">
                <a16:creationId xmlns:a16="http://schemas.microsoft.com/office/drawing/2014/main" id="{7864A269-84B3-4310-8A0C-F5B5CC13A6F4}"/>
              </a:ext>
            </a:extLst>
          </p:cNvPr>
          <p:cNvSpPr>
            <a:spLocks noGrp="1"/>
          </p:cNvSpPr>
          <p:nvPr>
            <p:ph type="body" sz="quarter" idx="10"/>
          </p:nvPr>
        </p:nvSpPr>
        <p:spPr/>
        <p:txBody>
          <a:bodyPr/>
          <a:lstStyle/>
          <a:p>
            <a:r>
              <a:rPr lang="en-US" dirty="0"/>
              <a:t>Ethereum uses the Ethereum Virtual </a:t>
            </a:r>
            <a:r>
              <a:rPr lang="en-US" dirty="0" err="1"/>
              <a:t>Machice</a:t>
            </a:r>
            <a:r>
              <a:rPr lang="en-US" dirty="0"/>
              <a:t> EVM to execute the smart contract.</a:t>
            </a:r>
          </a:p>
          <a:p>
            <a:r>
              <a:rPr lang="en-US" dirty="0"/>
              <a:t>This is done by every node in the network as part of block verification.</a:t>
            </a:r>
          </a:p>
          <a:p>
            <a:r>
              <a:rPr lang="en-US" dirty="0"/>
              <a:t>To power the smart contract, we use gas</a:t>
            </a:r>
          </a:p>
        </p:txBody>
      </p:sp>
    </p:spTree>
    <p:extLst>
      <p:ext uri="{BB962C8B-B14F-4D97-AF65-F5344CB8AC3E}">
        <p14:creationId xmlns:p14="http://schemas.microsoft.com/office/powerpoint/2010/main" val="3811178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rewards and prize</a:t>
            </a:r>
          </a:p>
        </p:txBody>
      </p:sp>
      <p:sp>
        <p:nvSpPr>
          <p:cNvPr id="3" name="Text Placeholder 2"/>
          <p:cNvSpPr>
            <a:spLocks noGrp="1"/>
          </p:cNvSpPr>
          <p:nvPr>
            <p:ph type="body" sz="quarter" idx="10"/>
          </p:nvPr>
        </p:nvSpPr>
        <p:spPr>
          <a:xfrm>
            <a:off x="324000" y="1691078"/>
            <a:ext cx="5652938" cy="4392043"/>
          </a:xfrm>
        </p:spPr>
        <p:txBody>
          <a:bodyPr/>
          <a:lstStyle/>
          <a:p>
            <a:r>
              <a:rPr lang="en-US" dirty="0"/>
              <a:t>We will run this workshop as a friendly competition.</a:t>
            </a:r>
          </a:p>
          <a:p>
            <a:r>
              <a:rPr lang="en-US" dirty="0"/>
              <a:t>Whenever you see this icon, there is a </a:t>
            </a:r>
            <a:r>
              <a:rPr lang="en-US" dirty="0">
                <a:solidFill>
                  <a:srgbClr val="FF0000"/>
                </a:solidFill>
              </a:rPr>
              <a:t>reward</a:t>
            </a:r>
            <a:r>
              <a:rPr lang="en-US" dirty="0"/>
              <a:t> for the team with the first correct response.</a:t>
            </a:r>
          </a:p>
          <a:p>
            <a:r>
              <a:rPr lang="en-US" dirty="0"/>
              <a:t>At the end of the workshop, the team with most rewards will receive, as prize, real </a:t>
            </a:r>
            <a:r>
              <a:rPr lang="en-US" dirty="0">
                <a:solidFill>
                  <a:srgbClr val="FF0000"/>
                </a:solidFill>
              </a:rPr>
              <a:t>bitcoin </a:t>
            </a:r>
            <a:r>
              <a:rPr lang="en-US" dirty="0"/>
              <a:t>from me!! </a:t>
            </a:r>
            <a:r>
              <a:rPr lang="en-US" sz="1400" b="0" i="1" dirty="0"/>
              <a:t>(no, not a whole bitcoin </a:t>
            </a:r>
            <a:r>
              <a:rPr lang="en-US" sz="1400" b="0" dirty="0">
                <a:sym typeface="Wingdings" panose="05000000000000000000" pitchFamily="2" charset="2"/>
              </a:rPr>
              <a:t>)</a:t>
            </a:r>
            <a:endParaRPr lang="en-US" sz="1400" b="0" dirty="0"/>
          </a:p>
        </p:txBody>
      </p:sp>
      <p:pic>
        <p:nvPicPr>
          <p:cNvPr id="4" name="Picture 3"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00975" y="1691078"/>
            <a:ext cx="3681263" cy="3681265"/>
          </a:xfrm>
          <a:prstGeom prst="rect">
            <a:avLst/>
          </a:prstGeom>
          <a:noFill/>
          <a:effectLst>
            <a:reflection blurRad="6350" stA="50000" endA="300" endPos="38500" dist="50800" dir="5400000" sy="-100000" algn="bl" rotWithShape="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7429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CCF5E-F738-43C3-A6A4-DFAC25FE71F7}"/>
              </a:ext>
            </a:extLst>
          </p:cNvPr>
          <p:cNvSpPr>
            <a:spLocks noGrp="1"/>
          </p:cNvSpPr>
          <p:nvPr>
            <p:ph type="title"/>
          </p:nvPr>
        </p:nvSpPr>
        <p:spPr/>
        <p:txBody>
          <a:bodyPr/>
          <a:lstStyle/>
          <a:p>
            <a:r>
              <a:rPr lang="en-US" dirty="0"/>
              <a:t>High level language</a:t>
            </a:r>
          </a:p>
        </p:txBody>
      </p:sp>
      <p:sp>
        <p:nvSpPr>
          <p:cNvPr id="4" name="Content Placeholder 3">
            <a:extLst>
              <a:ext uri="{FF2B5EF4-FFF2-40B4-BE49-F238E27FC236}">
                <a16:creationId xmlns:a16="http://schemas.microsoft.com/office/drawing/2014/main" id="{DA06DADE-87A8-4FCB-B40D-FA3C9FD01BEF}"/>
              </a:ext>
            </a:extLst>
          </p:cNvPr>
          <p:cNvSpPr>
            <a:spLocks noGrp="1"/>
          </p:cNvSpPr>
          <p:nvPr>
            <p:ph type="body" sz="quarter" idx="10"/>
          </p:nvPr>
        </p:nvSpPr>
        <p:spPr/>
        <p:txBody>
          <a:bodyPr/>
          <a:lstStyle/>
          <a:p>
            <a:r>
              <a:rPr lang="en-US" dirty="0"/>
              <a:t>For developers, Ethereum has high level languages.</a:t>
            </a:r>
          </a:p>
          <a:p>
            <a:r>
              <a:rPr lang="en-US" dirty="0"/>
              <a:t>You have experienced Solidity in HW9.</a:t>
            </a:r>
          </a:p>
          <a:p>
            <a:r>
              <a:rPr lang="en-US" dirty="0"/>
              <a:t>This language is compiled into EVM to run on each node.</a:t>
            </a:r>
          </a:p>
        </p:txBody>
      </p:sp>
    </p:spTree>
    <p:extLst>
      <p:ext uri="{BB962C8B-B14F-4D97-AF65-F5344CB8AC3E}">
        <p14:creationId xmlns:p14="http://schemas.microsoft.com/office/powerpoint/2010/main" val="246451351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7A070-0F48-4204-8345-529BFF41CDD5}"/>
              </a:ext>
            </a:extLst>
          </p:cNvPr>
          <p:cNvSpPr>
            <a:spLocks noGrp="1"/>
          </p:cNvSpPr>
          <p:nvPr>
            <p:ph type="title"/>
          </p:nvPr>
        </p:nvSpPr>
        <p:spPr/>
        <p:txBody>
          <a:bodyPr/>
          <a:lstStyle/>
          <a:p>
            <a:r>
              <a:rPr lang="en-US" dirty="0"/>
              <a:t>Gas</a:t>
            </a:r>
          </a:p>
        </p:txBody>
      </p:sp>
      <p:sp>
        <p:nvSpPr>
          <p:cNvPr id="3" name="Content Placeholder 2">
            <a:extLst>
              <a:ext uri="{FF2B5EF4-FFF2-40B4-BE49-F238E27FC236}">
                <a16:creationId xmlns:a16="http://schemas.microsoft.com/office/drawing/2014/main" id="{4C1D6CDA-F53A-461C-9AAE-9175EE2C8FC0}"/>
              </a:ext>
            </a:extLst>
          </p:cNvPr>
          <p:cNvSpPr>
            <a:spLocks noGrp="1"/>
          </p:cNvSpPr>
          <p:nvPr>
            <p:ph type="body" sz="quarter" idx="10"/>
          </p:nvPr>
        </p:nvSpPr>
        <p:spPr/>
        <p:txBody>
          <a:bodyPr anchor="t">
            <a:normAutofit fontScale="92500" lnSpcReduction="10000"/>
          </a:bodyPr>
          <a:lstStyle/>
          <a:p>
            <a:r>
              <a:rPr lang="en-US" dirty="0"/>
              <a:t>Gas is the cost of running your smart contract on the network</a:t>
            </a:r>
          </a:p>
          <a:p>
            <a:r>
              <a:rPr lang="en-US" dirty="0"/>
              <a:t>Similar to powering your car to go from Point A to Point B</a:t>
            </a:r>
          </a:p>
          <a:p>
            <a:r>
              <a:rPr lang="en-US" dirty="0"/>
              <a:t>Each operation has a gas cost associated with it.</a:t>
            </a:r>
          </a:p>
          <a:p>
            <a:r>
              <a:rPr lang="en-US" dirty="0"/>
              <a:t>So transactions pay gas to get the global computer to compute their transaction</a:t>
            </a:r>
          </a:p>
          <a:p>
            <a:r>
              <a:rPr lang="en-US" dirty="0"/>
              <a:t>Unlike Bitcoin, Ethereum transactions can be complex and take up a lot of resources. Gas is the cost of that complexity.</a:t>
            </a:r>
          </a:p>
          <a:p>
            <a:r>
              <a:rPr lang="en-US" dirty="0"/>
              <a:t>No other transaction fee (as in bitcoin)</a:t>
            </a:r>
          </a:p>
        </p:txBody>
      </p:sp>
      <p:sp>
        <p:nvSpPr>
          <p:cNvPr id="4" name="Content Placeholder 3">
            <a:extLst>
              <a:ext uri="{FF2B5EF4-FFF2-40B4-BE49-F238E27FC236}">
                <a16:creationId xmlns:a16="http://schemas.microsoft.com/office/drawing/2014/main" id="{C1C546A3-0C26-4CCC-A03B-6D6411B8C874}"/>
              </a:ext>
            </a:extLst>
          </p:cNvPr>
          <p:cNvSpPr>
            <a:spLocks noGrp="1"/>
          </p:cNvSpPr>
          <p:nvPr>
            <p:ph type="body" sz="quarter" idx="11"/>
          </p:nvPr>
        </p:nvSpPr>
        <p:spPr/>
        <p:txBody>
          <a:bodyPr anchor="t">
            <a:normAutofit fontScale="85000" lnSpcReduction="10000"/>
          </a:bodyPr>
          <a:lstStyle/>
          <a:p>
            <a:r>
              <a:rPr lang="en-US" dirty="0"/>
              <a:t>Transactions provide two numbers</a:t>
            </a:r>
          </a:p>
          <a:p>
            <a:pPr lvl="1"/>
            <a:r>
              <a:rPr lang="en-US" dirty="0"/>
              <a:t>Gas Limit: the maximum gas the transaction is willing to spend</a:t>
            </a:r>
          </a:p>
          <a:p>
            <a:pPr lvl="1"/>
            <a:r>
              <a:rPr lang="en-US" dirty="0"/>
              <a:t>Gas price: the price of gas (in ether) they are willing to pay. </a:t>
            </a:r>
          </a:p>
          <a:p>
            <a:r>
              <a:rPr lang="en-US" dirty="0"/>
              <a:t>The total amount of gas used (for that transaction, depending on the number of operations) is multiplied by the price of gas. This is effectively the transaction fee.</a:t>
            </a:r>
          </a:p>
          <a:p>
            <a:r>
              <a:rPr lang="en-US" dirty="0"/>
              <a:t>If the transaction executes successfully – the remaining gas is refunded to the sender (from the gas limit).</a:t>
            </a:r>
          </a:p>
          <a:p>
            <a:r>
              <a:rPr lang="en-US" dirty="0"/>
              <a:t>If the transaction runs out of gas – the transaction is reverted but the gas is not refunded to the sender!</a:t>
            </a:r>
          </a:p>
          <a:p>
            <a:endParaRPr lang="en-US" dirty="0"/>
          </a:p>
        </p:txBody>
      </p:sp>
    </p:spTree>
    <p:extLst>
      <p:ext uri="{BB962C8B-B14F-4D97-AF65-F5344CB8AC3E}">
        <p14:creationId xmlns:p14="http://schemas.microsoft.com/office/powerpoint/2010/main" val="2670883067"/>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9E641-A3A7-4FAA-958D-8B84AAFE1894}"/>
              </a:ext>
            </a:extLst>
          </p:cNvPr>
          <p:cNvSpPr>
            <a:spLocks noGrp="1"/>
          </p:cNvSpPr>
          <p:nvPr>
            <p:ph type="title"/>
          </p:nvPr>
        </p:nvSpPr>
        <p:spPr/>
        <p:txBody>
          <a:bodyPr/>
          <a:lstStyle/>
          <a:p>
            <a:r>
              <a:rPr lang="en-US" dirty="0"/>
              <a:t>Smart contract</a:t>
            </a:r>
          </a:p>
        </p:txBody>
      </p:sp>
      <p:sp>
        <p:nvSpPr>
          <p:cNvPr id="3" name="Content Placeholder 2">
            <a:extLst>
              <a:ext uri="{FF2B5EF4-FFF2-40B4-BE49-F238E27FC236}">
                <a16:creationId xmlns:a16="http://schemas.microsoft.com/office/drawing/2014/main" id="{98FF2BDD-6364-4184-BA67-6BA5AE3E086C}"/>
              </a:ext>
            </a:extLst>
          </p:cNvPr>
          <p:cNvSpPr>
            <a:spLocks noGrp="1"/>
          </p:cNvSpPr>
          <p:nvPr>
            <p:ph type="body" sz="quarter" idx="10"/>
          </p:nvPr>
        </p:nvSpPr>
        <p:spPr/>
        <p:txBody>
          <a:bodyPr anchor="t">
            <a:normAutofit fontScale="92500" lnSpcReduction="10000"/>
          </a:bodyPr>
          <a:lstStyle/>
          <a:p>
            <a:r>
              <a:rPr lang="en-US" dirty="0"/>
              <a:t>A program that enforces the terms of an agreement between entities without the need for a trusted third party.</a:t>
            </a:r>
          </a:p>
          <a:p>
            <a:r>
              <a:rPr lang="en-US" dirty="0"/>
              <a:t>The contracts executes automatically on the Ethereum network.</a:t>
            </a:r>
          </a:p>
          <a:p>
            <a:r>
              <a:rPr lang="en-US" dirty="0"/>
              <a:t>Peer-to-peer contracts executed and enforced by software.</a:t>
            </a:r>
          </a:p>
          <a:p>
            <a:r>
              <a:rPr lang="en-US" dirty="0"/>
              <a:t>The smart contract is invoked when a transaction calls it (through function calls).</a:t>
            </a:r>
          </a:p>
          <a:p>
            <a:r>
              <a:rPr lang="en-US" dirty="0"/>
              <a:t>As it executes, its balance and variable values can change.</a:t>
            </a:r>
          </a:p>
        </p:txBody>
      </p:sp>
      <p:sp>
        <p:nvSpPr>
          <p:cNvPr id="4" name="Content Placeholder 3">
            <a:extLst>
              <a:ext uri="{FF2B5EF4-FFF2-40B4-BE49-F238E27FC236}">
                <a16:creationId xmlns:a16="http://schemas.microsoft.com/office/drawing/2014/main" id="{A2550510-1F78-4337-8186-B078B00C067C}"/>
              </a:ext>
            </a:extLst>
          </p:cNvPr>
          <p:cNvSpPr>
            <a:spLocks noGrp="1"/>
          </p:cNvSpPr>
          <p:nvPr>
            <p:ph type="body" sz="quarter" idx="11"/>
          </p:nvPr>
        </p:nvSpPr>
        <p:spPr/>
        <p:txBody>
          <a:bodyPr anchor="t">
            <a:normAutofit/>
          </a:bodyPr>
          <a:lstStyle/>
          <a:p>
            <a:r>
              <a:rPr lang="en-US" dirty="0"/>
              <a:t>What can you do with a smart contract?</a:t>
            </a:r>
          </a:p>
          <a:p>
            <a:r>
              <a:rPr lang="en-US" dirty="0"/>
              <a:t>Contracts between entities (e.g. loan, escrow, buying, selling)</a:t>
            </a:r>
          </a:p>
          <a:p>
            <a:r>
              <a:rPr lang="en-US" dirty="0"/>
              <a:t>Store data (e.g. user information, other currencies, registry)</a:t>
            </a:r>
          </a:p>
          <a:p>
            <a:r>
              <a:rPr lang="en-US" dirty="0"/>
              <a:t>Software to help other contracts</a:t>
            </a:r>
          </a:p>
          <a:p>
            <a:r>
              <a:rPr lang="en-US" dirty="0"/>
              <a:t>Authentication such as </a:t>
            </a:r>
            <a:r>
              <a:rPr lang="en-US" dirty="0" err="1"/>
              <a:t>multisig</a:t>
            </a:r>
            <a:endParaRPr lang="en-US" dirty="0"/>
          </a:p>
          <a:p>
            <a:endParaRPr lang="en-US" dirty="0"/>
          </a:p>
        </p:txBody>
      </p:sp>
    </p:spTree>
    <p:extLst>
      <p:ext uri="{BB962C8B-B14F-4D97-AF65-F5344CB8AC3E}">
        <p14:creationId xmlns:p14="http://schemas.microsoft.com/office/powerpoint/2010/main" val="97302232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Use Cases of Blockchain</a:t>
            </a:r>
          </a:p>
        </p:txBody>
      </p:sp>
      <p:sp>
        <p:nvSpPr>
          <p:cNvPr id="2" name="Text Placeholder 1"/>
          <p:cNvSpPr>
            <a:spLocks noGrp="1"/>
          </p:cNvSpPr>
          <p:nvPr>
            <p:ph type="body" sz="quarter" idx="10"/>
          </p:nvPr>
        </p:nvSpPr>
        <p:spPr/>
        <p:txBody>
          <a:bodyPr/>
          <a:lstStyle/>
          <a:p>
            <a:endParaRPr lang="en-US"/>
          </a:p>
        </p:txBody>
      </p:sp>
      <p:pic>
        <p:nvPicPr>
          <p:cNvPr id="2050" name="Picture 2" descr="https://www.americangemsociety.org/Content/uploads/193881429559475.jpg"/>
          <p:cNvPicPr>
            <a:picLocks noGrp="1" noChangeAspect="1" noChangeArrowheads="1"/>
          </p:cNvPicPr>
          <p:nvPr>
            <p:ph type="pic" sz="quarter" idx="11"/>
          </p:nvPr>
        </p:nvPicPr>
        <p:blipFill>
          <a:blip r:embed="rId2">
            <a:extLst>
              <a:ext uri="{28A0092B-C50C-407E-A947-70E740481C1C}">
                <a14:useLocalDpi xmlns:a14="http://schemas.microsoft.com/office/drawing/2010/main"/>
              </a:ext>
            </a:extLst>
          </a:blip>
          <a:srcRect/>
          <a:stretch>
            <a:fillRect/>
          </a:stretch>
        </p:blipFill>
        <p:spPr bwMode="auto">
          <a:xfrm>
            <a:off x="323850" y="176213"/>
            <a:ext cx="11545888" cy="2135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3915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ltcoins</a:t>
            </a:r>
          </a:p>
        </p:txBody>
      </p:sp>
      <p:sp>
        <p:nvSpPr>
          <p:cNvPr id="3" name="Text Placeholder 2"/>
          <p:cNvSpPr>
            <a:spLocks noGrp="1"/>
          </p:cNvSpPr>
          <p:nvPr>
            <p:ph type="body" sz="quarter" idx="10"/>
          </p:nvPr>
        </p:nvSpPr>
        <p:spPr/>
        <p:txBody>
          <a:bodyPr/>
          <a:lstStyle/>
          <a:p>
            <a:r>
              <a:rPr lang="en-US" dirty="0"/>
              <a:t>Altcoins are cryptocurrencies other then bitcoin</a:t>
            </a:r>
          </a:p>
          <a:p>
            <a:r>
              <a:rPr lang="en-US" dirty="0"/>
              <a:t>Chart shows total trading volume</a:t>
            </a:r>
          </a:p>
          <a:p>
            <a:r>
              <a:rPr lang="en-US" dirty="0"/>
              <a:t>More than 4000 currently</a:t>
            </a:r>
          </a:p>
          <a:p>
            <a:r>
              <a:rPr lang="en-US" dirty="0">
                <a:hlinkClick r:id="rId2"/>
              </a:rPr>
              <a:t>https://www.cryptocoincharts.info/coins/info</a:t>
            </a:r>
            <a:endParaRPr lang="en-US" dirty="0"/>
          </a:p>
          <a:p>
            <a:endParaRPr lang="en-US" dirty="0"/>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9885" y="1409725"/>
            <a:ext cx="5032001" cy="5168510"/>
          </a:xfrm>
          <a:prstGeom prst="rect">
            <a:avLst/>
          </a:prstGeom>
        </p:spPr>
      </p:pic>
    </p:spTree>
    <p:extLst>
      <p:ext uri="{BB962C8B-B14F-4D97-AF65-F5344CB8AC3E}">
        <p14:creationId xmlns:p14="http://schemas.microsoft.com/office/powerpoint/2010/main" val="290258681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in Financial Institutions</a:t>
            </a:r>
          </a:p>
        </p:txBody>
      </p:sp>
      <p:sp>
        <p:nvSpPr>
          <p:cNvPr id="3" name="Text Placeholder 2"/>
          <p:cNvSpPr>
            <a:spLocks noGrp="1"/>
          </p:cNvSpPr>
          <p:nvPr>
            <p:ph type="body" sz="quarter" idx="10"/>
          </p:nvPr>
        </p:nvSpPr>
        <p:spPr/>
        <p:txBody>
          <a:bodyPr/>
          <a:lstStyle/>
          <a:p>
            <a:r>
              <a:rPr lang="en-US" dirty="0"/>
              <a:t>Payments</a:t>
            </a:r>
          </a:p>
          <a:p>
            <a:r>
              <a:rPr lang="en-US" dirty="0"/>
              <a:t>Loans</a:t>
            </a:r>
          </a:p>
          <a:p>
            <a:r>
              <a:rPr lang="en-US" dirty="0"/>
              <a:t>Trade</a:t>
            </a:r>
          </a:p>
          <a:p>
            <a:r>
              <a:rPr lang="en-US" dirty="0"/>
              <a:t>Audit</a:t>
            </a:r>
          </a:p>
          <a:p>
            <a:r>
              <a:rPr lang="en-US" dirty="0"/>
              <a:t>Insurance</a:t>
            </a:r>
          </a:p>
          <a:p>
            <a:r>
              <a:rPr lang="en-US" dirty="0"/>
              <a:t>Remittances</a:t>
            </a:r>
          </a:p>
        </p:txBody>
      </p:sp>
      <p:sp>
        <p:nvSpPr>
          <p:cNvPr id="4" name="Text Placeholder 3"/>
          <p:cNvSpPr>
            <a:spLocks noGrp="1"/>
          </p:cNvSpPr>
          <p:nvPr>
            <p:ph type="body" sz="quarter" idx="11"/>
          </p:nvPr>
        </p:nvSpPr>
        <p:spPr/>
        <p:txBody>
          <a:bodyPr/>
          <a:lstStyle/>
          <a:p>
            <a:r>
              <a:rPr lang="en-US" dirty="0"/>
              <a:t>Clearing and settlements</a:t>
            </a:r>
          </a:p>
          <a:p>
            <a:endParaRPr lang="en-US" dirty="0"/>
          </a:p>
          <a:p>
            <a:endParaRPr lang="en-US" dirty="0"/>
          </a:p>
        </p:txBody>
      </p:sp>
    </p:spTree>
    <p:extLst>
      <p:ext uri="{BB962C8B-B14F-4D97-AF65-F5344CB8AC3E}">
        <p14:creationId xmlns:p14="http://schemas.microsoft.com/office/powerpoint/2010/main" val="106014676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as a permanent record of assets</a:t>
            </a:r>
          </a:p>
        </p:txBody>
      </p:sp>
      <p:sp>
        <p:nvSpPr>
          <p:cNvPr id="3" name="Text Placeholder 2"/>
          <p:cNvSpPr>
            <a:spLocks noGrp="1"/>
          </p:cNvSpPr>
          <p:nvPr>
            <p:ph type="body" sz="quarter" idx="10"/>
          </p:nvPr>
        </p:nvSpPr>
        <p:spPr/>
        <p:txBody>
          <a:bodyPr/>
          <a:lstStyle/>
          <a:p>
            <a:r>
              <a:rPr lang="en-US" dirty="0"/>
              <a:t>Recording ownership:</a:t>
            </a:r>
          </a:p>
          <a:p>
            <a:r>
              <a:rPr lang="en-US" dirty="0"/>
              <a:t>Property</a:t>
            </a:r>
          </a:p>
          <a:p>
            <a:r>
              <a:rPr lang="en-US" dirty="0"/>
              <a:t>Title</a:t>
            </a:r>
          </a:p>
          <a:p>
            <a:r>
              <a:rPr lang="en-US" dirty="0"/>
              <a:t>Intellectual property</a:t>
            </a:r>
          </a:p>
          <a:p>
            <a:r>
              <a:rPr lang="en-US" dirty="0"/>
              <a:t>Patents, inventions, copyright</a:t>
            </a:r>
          </a:p>
          <a:p>
            <a:r>
              <a:rPr lang="en-US" dirty="0"/>
              <a:t>Notary service</a:t>
            </a:r>
          </a:p>
          <a:p>
            <a:r>
              <a:rPr lang="en-US" dirty="0"/>
              <a:t>Insurance underwriting</a:t>
            </a:r>
          </a:p>
          <a:p>
            <a:endParaRPr lang="en-US" dirty="0"/>
          </a:p>
        </p:txBody>
      </p:sp>
      <p:pic>
        <p:nvPicPr>
          <p:cNvPr id="1026" name="Picture 2" descr="Image result for bitcoin cartoon"/>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210601" y="1692391"/>
            <a:ext cx="5308851" cy="4015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87592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verledger</a:t>
            </a:r>
            <a:r>
              <a:rPr lang="en-US" dirty="0"/>
              <a:t> (diamond (on a </a:t>
            </a:r>
            <a:r>
              <a:rPr lang="en-US" dirty="0" err="1"/>
              <a:t>blockchain</a:t>
            </a:r>
            <a:r>
              <a:rPr lang="en-US" dirty="0"/>
              <a:t>) is forever)</a:t>
            </a:r>
          </a:p>
        </p:txBody>
      </p:sp>
      <p:sp>
        <p:nvSpPr>
          <p:cNvPr id="3" name="Text Placeholder 2"/>
          <p:cNvSpPr>
            <a:spLocks noGrp="1"/>
          </p:cNvSpPr>
          <p:nvPr>
            <p:ph type="body" sz="quarter" idx="10"/>
          </p:nvPr>
        </p:nvSpPr>
        <p:spPr>
          <a:xfrm>
            <a:off x="324000" y="1692391"/>
            <a:ext cx="4452279" cy="4393017"/>
          </a:xfrm>
        </p:spPr>
        <p:txBody>
          <a:bodyPr/>
          <a:lstStyle/>
          <a:p>
            <a:r>
              <a:rPr lang="en-US" b="0" dirty="0"/>
              <a:t>Global digital registry for </a:t>
            </a:r>
            <a:r>
              <a:rPr lang="en-US" b="0" dirty="0" err="1"/>
              <a:t>diamond,using</a:t>
            </a:r>
            <a:r>
              <a:rPr lang="en-US" b="0" dirty="0"/>
              <a:t> a </a:t>
            </a:r>
            <a:r>
              <a:rPr lang="en-US" b="0" dirty="0" err="1"/>
              <a:t>blockchain</a:t>
            </a:r>
            <a:endParaRPr lang="en-US" b="0" dirty="0"/>
          </a:p>
          <a:p>
            <a:r>
              <a:rPr lang="en-US" b="0" dirty="0" err="1"/>
              <a:t>Everledger</a:t>
            </a:r>
            <a:r>
              <a:rPr lang="en-US" b="0" dirty="0"/>
              <a:t> uses more than 40 features, including color and clarity, to create a diamond's ID.</a:t>
            </a:r>
          </a:p>
          <a:p>
            <a:r>
              <a:rPr lang="en-US" b="0" dirty="0"/>
              <a:t>This information becomes a certificate chronicling the jewel's ownership, from mine to ring.</a:t>
            </a:r>
          </a:p>
          <a:p>
            <a:r>
              <a:rPr lang="en-US" b="0" dirty="0" err="1"/>
              <a:t>Everledger</a:t>
            </a:r>
            <a:r>
              <a:rPr lang="en-US" b="0" dirty="0"/>
              <a:t> has digitized more than a million diamonds</a:t>
            </a:r>
            <a:endParaRPr lang="en-US" dirty="0"/>
          </a:p>
        </p:txBody>
      </p:sp>
      <p:sp>
        <p:nvSpPr>
          <p:cNvPr id="4" name="Text Placeholder 3"/>
          <p:cNvSpPr>
            <a:spLocks noGrp="1"/>
          </p:cNvSpPr>
          <p:nvPr>
            <p:ph type="body" sz="quarter" idx="11"/>
          </p:nvPr>
        </p:nvSpPr>
        <p:spPr/>
        <p:txBody>
          <a:bodyPr/>
          <a:lstStyle/>
          <a:p>
            <a:endParaRPr lang="en-US"/>
          </a:p>
        </p:txBody>
      </p:sp>
      <p:pic>
        <p:nvPicPr>
          <p:cNvPr id="3074" name="Picture 2" descr="https://www.altoros.com/blog/wp-content/uploads/2017/04/Everledger-Blockchain-Diamond-metadata-thumbprin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00638" y="2033885"/>
            <a:ext cx="7094537" cy="399067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204715" y="6085408"/>
            <a:ext cx="2975495" cy="253916"/>
          </a:xfrm>
          <a:prstGeom prst="rect">
            <a:avLst/>
          </a:prstGeom>
        </p:spPr>
        <p:txBody>
          <a:bodyPr wrap="none">
            <a:spAutoFit/>
          </a:bodyPr>
          <a:lstStyle/>
          <a:p>
            <a:r>
              <a:rPr lang="en-US" sz="1050" dirty="0"/>
              <a:t>https://www.youtube.com/watch?v=GAdjL-nultI</a:t>
            </a:r>
          </a:p>
        </p:txBody>
      </p:sp>
    </p:spTree>
    <p:extLst>
      <p:ext uri="{BB962C8B-B14F-4D97-AF65-F5344CB8AC3E}">
        <p14:creationId xmlns:p14="http://schemas.microsoft.com/office/powerpoint/2010/main" val="57704741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intermediation</a:t>
            </a:r>
          </a:p>
        </p:txBody>
      </p:sp>
      <p:sp>
        <p:nvSpPr>
          <p:cNvPr id="3" name="Text Placeholder 2"/>
          <p:cNvSpPr>
            <a:spLocks noGrp="1"/>
          </p:cNvSpPr>
          <p:nvPr>
            <p:ph type="body" sz="quarter" idx="10"/>
          </p:nvPr>
        </p:nvSpPr>
        <p:spPr/>
        <p:txBody>
          <a:bodyPr/>
          <a:lstStyle/>
          <a:p>
            <a:r>
              <a:rPr lang="en-US" dirty="0"/>
              <a:t>Disrupt the disrupters!</a:t>
            </a:r>
          </a:p>
          <a:p>
            <a:r>
              <a:rPr lang="en-US" dirty="0"/>
              <a:t>New distributed apps – DAPPs</a:t>
            </a:r>
          </a:p>
          <a:p>
            <a:r>
              <a:rPr lang="en-US" dirty="0"/>
              <a:t>Peer to peer transactions without an intermediary such as</a:t>
            </a:r>
          </a:p>
          <a:p>
            <a:pPr marL="342900" indent="-342900">
              <a:buFont typeface="Arial" panose="020B0604020202020204" pitchFamily="34" charset="0"/>
              <a:buChar char="•"/>
            </a:pPr>
            <a:r>
              <a:rPr lang="en-US" dirty="0"/>
              <a:t>Airbnb</a:t>
            </a:r>
          </a:p>
          <a:p>
            <a:pPr marL="342900" indent="-342900">
              <a:buFont typeface="Arial" panose="020B0604020202020204" pitchFamily="34" charset="0"/>
              <a:buChar char="•"/>
            </a:pPr>
            <a:r>
              <a:rPr lang="en-US" dirty="0"/>
              <a:t>Uber</a:t>
            </a:r>
          </a:p>
          <a:p>
            <a:pPr marL="342900" indent="-342900">
              <a:buFont typeface="Arial" panose="020B0604020202020204" pitchFamily="34" charset="0"/>
              <a:buChar char="•"/>
            </a:pPr>
            <a:r>
              <a:rPr lang="en-US" dirty="0"/>
              <a:t>Amazon</a:t>
            </a:r>
          </a:p>
          <a:p>
            <a:pPr marL="342900" indent="-342900">
              <a:buFont typeface="Arial" panose="020B0604020202020204" pitchFamily="34" charset="0"/>
              <a:buChar char="•"/>
            </a:pPr>
            <a:r>
              <a:rPr lang="en-US" dirty="0"/>
              <a:t>Western Union</a:t>
            </a:r>
          </a:p>
          <a:p>
            <a:endParaRPr lang="en-US" dirty="0"/>
          </a:p>
        </p:txBody>
      </p:sp>
      <p:sp>
        <p:nvSpPr>
          <p:cNvPr id="4" name="Text Placeholder 3"/>
          <p:cNvSpPr>
            <a:spLocks noGrp="1"/>
          </p:cNvSpPr>
          <p:nvPr>
            <p:ph type="body" sz="quarter" idx="11"/>
          </p:nvPr>
        </p:nvSpPr>
        <p:spPr/>
        <p:txBody>
          <a:bodyPr/>
          <a:lstStyle/>
          <a:p>
            <a:r>
              <a:rPr lang="en-US" dirty="0">
                <a:solidFill>
                  <a:srgbClr val="FF0000"/>
                </a:solidFill>
              </a:rPr>
              <a:t>Smart grid</a:t>
            </a:r>
            <a:r>
              <a:rPr lang="en-US" dirty="0"/>
              <a:t>: Power generation by individuals, traded on the blockchain</a:t>
            </a:r>
          </a:p>
          <a:p>
            <a:endParaRPr lang="en-US" dirty="0"/>
          </a:p>
        </p:txBody>
      </p:sp>
    </p:spTree>
    <p:extLst>
      <p:ext uri="{BB962C8B-B14F-4D97-AF65-F5344CB8AC3E}">
        <p14:creationId xmlns:p14="http://schemas.microsoft.com/office/powerpoint/2010/main" val="10875060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for people</a:t>
            </a:r>
          </a:p>
        </p:txBody>
      </p:sp>
      <p:sp>
        <p:nvSpPr>
          <p:cNvPr id="3" name="Text Placeholder 2"/>
          <p:cNvSpPr>
            <a:spLocks noGrp="1"/>
          </p:cNvSpPr>
          <p:nvPr>
            <p:ph type="body" sz="quarter" idx="10"/>
          </p:nvPr>
        </p:nvSpPr>
        <p:spPr/>
        <p:txBody>
          <a:bodyPr/>
          <a:lstStyle/>
          <a:p>
            <a:r>
              <a:rPr lang="en-US" dirty="0"/>
              <a:t>Banking</a:t>
            </a:r>
          </a:p>
          <a:p>
            <a:r>
              <a:rPr lang="en-US" dirty="0"/>
              <a:t>Payments</a:t>
            </a:r>
          </a:p>
          <a:p>
            <a:r>
              <a:rPr lang="en-US" dirty="0"/>
              <a:t>Remittances</a:t>
            </a:r>
          </a:p>
          <a:p>
            <a:r>
              <a:rPr lang="en-US" dirty="0"/>
              <a:t>Loans</a:t>
            </a:r>
          </a:p>
          <a:p>
            <a:r>
              <a:rPr lang="en-US" dirty="0"/>
              <a:t>User reputation</a:t>
            </a:r>
          </a:p>
          <a:p>
            <a:r>
              <a:rPr lang="en-US" dirty="0"/>
              <a:t>Reward points</a:t>
            </a:r>
          </a:p>
          <a:p>
            <a:r>
              <a:rPr lang="en-US" dirty="0"/>
              <a:t>Frequent flyer points</a:t>
            </a:r>
          </a:p>
          <a:p>
            <a:endParaRPr lang="en-US" dirty="0"/>
          </a:p>
          <a:p>
            <a:endParaRPr lang="en-US" dirty="0"/>
          </a:p>
        </p:txBody>
      </p:sp>
      <p:sp>
        <p:nvSpPr>
          <p:cNvPr id="4" name="Text Placeholder 3"/>
          <p:cNvSpPr>
            <a:spLocks noGrp="1"/>
          </p:cNvSpPr>
          <p:nvPr>
            <p:ph type="body" sz="quarter" idx="11"/>
          </p:nvPr>
        </p:nvSpPr>
        <p:spPr/>
        <p:txBody>
          <a:bodyPr/>
          <a:lstStyle/>
          <a:p>
            <a:r>
              <a:rPr lang="en-US" dirty="0"/>
              <a:t>Identity management</a:t>
            </a:r>
          </a:p>
          <a:p>
            <a:r>
              <a:rPr lang="en-US" dirty="0"/>
              <a:t>Travel/visa/passport/identification</a:t>
            </a:r>
          </a:p>
          <a:p>
            <a:r>
              <a:rPr lang="en-US" dirty="0"/>
              <a:t>Medical records</a:t>
            </a:r>
          </a:p>
          <a:p>
            <a:r>
              <a:rPr lang="en-US" dirty="0"/>
              <a:t>Certificates – Birth, marriage, death</a:t>
            </a:r>
          </a:p>
          <a:p>
            <a:r>
              <a:rPr lang="en-US" dirty="0"/>
              <a:t>Transcripts</a:t>
            </a:r>
          </a:p>
          <a:p>
            <a:r>
              <a:rPr lang="en-US" dirty="0"/>
              <a:t>Voting</a:t>
            </a:r>
          </a:p>
          <a:p>
            <a:r>
              <a:rPr lang="en-US" dirty="0"/>
              <a:t>Diamonds!</a:t>
            </a:r>
          </a:p>
          <a:p>
            <a:endParaRPr lang="en-US" dirty="0"/>
          </a:p>
          <a:p>
            <a:endParaRPr lang="en-US" dirty="0"/>
          </a:p>
        </p:txBody>
      </p:sp>
    </p:spTree>
    <p:extLst>
      <p:ext uri="{BB962C8B-B14F-4D97-AF65-F5344CB8AC3E}">
        <p14:creationId xmlns:p14="http://schemas.microsoft.com/office/powerpoint/2010/main" val="1100130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bout me</a:t>
            </a:r>
          </a:p>
        </p:txBody>
      </p:sp>
      <p:sp>
        <p:nvSpPr>
          <p:cNvPr id="7" name="Subtitle 6"/>
          <p:cNvSpPr>
            <a:spLocks noGrp="1"/>
          </p:cNvSpPr>
          <p:nvPr>
            <p:ph type="body" sz="quarter" idx="11"/>
          </p:nvPr>
        </p:nvSpPr>
        <p:spPr/>
        <p:txBody>
          <a:bodyPr/>
          <a:lstStyle/>
          <a:p>
            <a:r>
              <a:rPr lang="en-US" dirty="0"/>
              <a:t>Nitin Kalé</a:t>
            </a:r>
          </a:p>
          <a:p>
            <a:pPr>
              <a:spcBef>
                <a:spcPts val="0"/>
              </a:spcBef>
            </a:pPr>
            <a:r>
              <a:rPr lang="en-US" sz="1400" b="0" dirty="0"/>
              <a:t>Associate Professor of Engineering Practice</a:t>
            </a:r>
          </a:p>
          <a:p>
            <a:pPr>
              <a:spcBef>
                <a:spcPts val="0"/>
              </a:spcBef>
            </a:pPr>
            <a:r>
              <a:rPr lang="en-US" sz="1400" b="0" dirty="0"/>
              <a:t>Information Technology Program and</a:t>
            </a:r>
          </a:p>
          <a:p>
            <a:pPr>
              <a:spcBef>
                <a:spcPts val="0"/>
              </a:spcBef>
            </a:pPr>
            <a:r>
              <a:rPr lang="en-US" sz="1400" b="0" dirty="0"/>
              <a:t>Epstein Department of Industrial and Systems Engineering</a:t>
            </a:r>
          </a:p>
          <a:p>
            <a:pPr>
              <a:spcBef>
                <a:spcPts val="0"/>
              </a:spcBef>
            </a:pPr>
            <a:r>
              <a:rPr lang="en-US" sz="1400" b="0" dirty="0"/>
              <a:t>Viterbi School of Engineering</a:t>
            </a:r>
          </a:p>
          <a:p>
            <a:pPr>
              <a:spcBef>
                <a:spcPts val="0"/>
              </a:spcBef>
            </a:pPr>
            <a:r>
              <a:rPr lang="en-US" sz="1400" dirty="0">
                <a:solidFill>
                  <a:srgbClr val="0070C0"/>
                </a:solidFill>
              </a:rPr>
              <a:t>University of Southern California</a:t>
            </a:r>
          </a:p>
          <a:p>
            <a:pPr>
              <a:spcBef>
                <a:spcPts val="0"/>
              </a:spcBef>
            </a:pPr>
            <a:r>
              <a:rPr lang="en-US" sz="1400" b="0" dirty="0"/>
              <a:t>Los Angeles</a:t>
            </a:r>
          </a:p>
          <a:p>
            <a:pPr marL="285750" indent="-285750">
              <a:buClr>
                <a:schemeClr val="tx1"/>
              </a:buClr>
              <a:buFont typeface="Wingdings" panose="05000000000000000000" pitchFamily="2" charset="2"/>
              <a:buChar char="§"/>
            </a:pPr>
            <a:r>
              <a:rPr lang="en-US" sz="1600" b="0" dirty="0"/>
              <a:t>A mechanical and aerospace engineer by training</a:t>
            </a:r>
          </a:p>
          <a:p>
            <a:pPr marL="285750" indent="-285750">
              <a:buClr>
                <a:schemeClr val="tx1"/>
              </a:buClr>
              <a:buFont typeface="Wingdings" panose="05000000000000000000" pitchFamily="2" charset="2"/>
              <a:buChar char="§"/>
            </a:pPr>
            <a:r>
              <a:rPr lang="en-US" sz="1600" b="0" dirty="0"/>
              <a:t>22 years of teaching experience</a:t>
            </a:r>
          </a:p>
          <a:p>
            <a:pPr marL="285750" indent="-285750">
              <a:buClr>
                <a:schemeClr val="tx1"/>
              </a:buClr>
              <a:buFont typeface="Wingdings" panose="05000000000000000000" pitchFamily="2" charset="2"/>
              <a:buChar char="§"/>
            </a:pPr>
            <a:r>
              <a:rPr lang="en-US" sz="1600" b="0" dirty="0"/>
              <a:t>Taught a new </a:t>
            </a:r>
            <a:r>
              <a:rPr lang="en-US" sz="1600" b="0" i="1" dirty="0"/>
              <a:t>Blockchain</a:t>
            </a:r>
            <a:r>
              <a:rPr lang="en-US" sz="1600" b="0" dirty="0"/>
              <a:t> course in Fall 2017</a:t>
            </a:r>
          </a:p>
          <a:p>
            <a:pPr marL="285750" indent="-285750">
              <a:buClr>
                <a:schemeClr val="tx1"/>
              </a:buClr>
              <a:buFont typeface="Wingdings" panose="05000000000000000000" pitchFamily="2" charset="2"/>
              <a:buChar char="§"/>
            </a:pPr>
            <a:r>
              <a:rPr lang="en-US" sz="1600" b="0" dirty="0"/>
              <a:t>Teaching same course in Spring 2018</a:t>
            </a:r>
            <a:endParaRPr lang="en-US" sz="1800" dirty="0"/>
          </a:p>
        </p:txBody>
      </p:sp>
    </p:spTree>
    <p:extLst>
      <p:ext uri="{BB962C8B-B14F-4D97-AF65-F5344CB8AC3E}">
        <p14:creationId xmlns:p14="http://schemas.microsoft.com/office/powerpoint/2010/main" val="947300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A Story About Money</a:t>
            </a:r>
          </a:p>
        </p:txBody>
      </p:sp>
      <p:sp>
        <p:nvSpPr>
          <p:cNvPr id="7" name="Text Placeholder 6"/>
          <p:cNvSpPr>
            <a:spLocks noGrp="1"/>
          </p:cNvSpPr>
          <p:nvPr>
            <p:ph type="body" sz="quarter" idx="10"/>
          </p:nvPr>
        </p:nvSpPr>
        <p:spPr/>
        <p:txBody>
          <a:bodyPr/>
          <a:lstStyle/>
          <a:p>
            <a:r>
              <a:rPr lang="en-US" dirty="0"/>
              <a:t>From </a:t>
            </a:r>
            <a:r>
              <a:rPr lang="en-US" i="1" dirty="0"/>
              <a:t>bullae</a:t>
            </a:r>
            <a:r>
              <a:rPr lang="en-US" dirty="0"/>
              <a:t> to </a:t>
            </a:r>
            <a:r>
              <a:rPr lang="en-US" i="1" dirty="0"/>
              <a:t>bitcoin</a:t>
            </a:r>
          </a:p>
        </p:txBody>
      </p:sp>
    </p:spTree>
    <p:extLst>
      <p:ext uri="{BB962C8B-B14F-4D97-AF65-F5344CB8AC3E}">
        <p14:creationId xmlns:p14="http://schemas.microsoft.com/office/powerpoint/2010/main" val="350591662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for government</a:t>
            </a:r>
          </a:p>
        </p:txBody>
      </p:sp>
      <p:sp>
        <p:nvSpPr>
          <p:cNvPr id="3" name="Text Placeholder 2"/>
          <p:cNvSpPr>
            <a:spLocks noGrp="1"/>
          </p:cNvSpPr>
          <p:nvPr>
            <p:ph type="body" sz="quarter" idx="10"/>
          </p:nvPr>
        </p:nvSpPr>
        <p:spPr/>
        <p:txBody>
          <a:bodyPr/>
          <a:lstStyle/>
          <a:p>
            <a:r>
              <a:rPr lang="en-US" dirty="0"/>
              <a:t>Dubai Blockchain, part of the Smart Dubai initiative. Three goals:</a:t>
            </a:r>
          </a:p>
          <a:p>
            <a:pPr marL="342900" indent="-342900">
              <a:buFont typeface="Arial" panose="020B0604020202020204" pitchFamily="34" charset="0"/>
              <a:buChar char="•"/>
            </a:pPr>
            <a:r>
              <a:rPr lang="en-US" dirty="0"/>
              <a:t>Increase government </a:t>
            </a:r>
            <a:r>
              <a:rPr lang="en-US" dirty="0">
                <a:solidFill>
                  <a:srgbClr val="FF0000"/>
                </a:solidFill>
              </a:rPr>
              <a:t>efficiency</a:t>
            </a:r>
            <a:r>
              <a:rPr lang="en-US" dirty="0"/>
              <a:t>. Blockchain will underpin the paperless digital layer for all city transactions</a:t>
            </a:r>
          </a:p>
          <a:p>
            <a:pPr marL="342900" indent="-342900">
              <a:buFont typeface="Arial" panose="020B0604020202020204" pitchFamily="34" charset="0"/>
              <a:buChar char="•"/>
            </a:pPr>
            <a:r>
              <a:rPr lang="en-US" dirty="0"/>
              <a:t>Create </a:t>
            </a:r>
            <a:r>
              <a:rPr lang="en-US" dirty="0">
                <a:solidFill>
                  <a:srgbClr val="FF0000"/>
                </a:solidFill>
              </a:rPr>
              <a:t>industry</a:t>
            </a:r>
            <a:r>
              <a:rPr lang="en-US" dirty="0"/>
              <a:t> – real estate, fintech, banking etc.</a:t>
            </a:r>
          </a:p>
          <a:p>
            <a:pPr marL="342900" indent="-342900">
              <a:buFont typeface="Arial" panose="020B0604020202020204" pitchFamily="34" charset="0"/>
              <a:buChar char="•"/>
            </a:pPr>
            <a:r>
              <a:rPr lang="en-US" dirty="0"/>
              <a:t>International </a:t>
            </a:r>
            <a:r>
              <a:rPr lang="en-US" dirty="0">
                <a:solidFill>
                  <a:srgbClr val="FF0000"/>
                </a:solidFill>
              </a:rPr>
              <a:t>leadership</a:t>
            </a:r>
            <a:r>
              <a:rPr lang="en-US" dirty="0"/>
              <a:t> – Open its blockchain platform to global counterparts</a:t>
            </a:r>
          </a:p>
        </p:txBody>
      </p:sp>
      <p:pic>
        <p:nvPicPr>
          <p:cNvPr id="1026" name="Picture 2" descr="http://www.khaleejtimes.com/storyimage/KT/20161006/ARTICLE/310069786/AR/0/AR-310069786.jpg&amp;MaxW=780&amp;imageVersion=16by9&amp;NCS_modified=2016100607552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346687" y="2334038"/>
            <a:ext cx="5619785" cy="3172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71557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sp>
        <p:nvSpPr>
          <p:cNvPr id="3" name="Title 2"/>
          <p:cNvSpPr>
            <a:spLocks noGrp="1"/>
          </p:cNvSpPr>
          <p:nvPr>
            <p:ph type="ctrTitle"/>
          </p:nvPr>
        </p:nvSpPr>
        <p:spPr/>
        <p:txBody>
          <a:bodyPr/>
          <a:lstStyle/>
          <a:p>
            <a:r>
              <a:rPr lang="en-US" sz="5400" kern="0" dirty="0">
                <a:ea typeface="Arial Unicode MS" pitchFamily="34" charset="-128"/>
                <a:cs typeface="Arial Unicode MS" pitchFamily="34" charset="-128"/>
              </a:rPr>
              <a:t>Enterprise Blockchain</a:t>
            </a:r>
            <a:br>
              <a:rPr lang="en-US" b="0" kern="0" dirty="0">
                <a:ea typeface="Arial Unicode MS" pitchFamily="34" charset="-128"/>
                <a:cs typeface="Arial Unicode MS" pitchFamily="34" charset="-128"/>
              </a:rPr>
            </a:br>
            <a:endParaRPr lang="en-US" dirty="0"/>
          </a:p>
        </p:txBody>
      </p:sp>
    </p:spTree>
    <p:extLst>
      <p:ext uri="{BB962C8B-B14F-4D97-AF65-F5344CB8AC3E}">
        <p14:creationId xmlns:p14="http://schemas.microsoft.com/office/powerpoint/2010/main" val="2408689931"/>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3"/>
          <p:cNvPicPr>
            <a:picLocks noGrp="1" noChangeAspect="1"/>
          </p:cNvPicPr>
          <p:nvPr isPhoto="1"/>
        </p:nvPicPr>
        <p:blipFill>
          <a:blip r:embed="rId2" cstate="screen">
            <a:lum/>
            <a:extLst>
              <a:ext uri="{28A0092B-C50C-407E-A947-70E740481C1C}">
                <a14:useLocalDpi xmlns:a14="http://schemas.microsoft.com/office/drawing/2010/main"/>
              </a:ext>
            </a:extLst>
          </a:blip>
          <a:stretch>
            <a:fillRect/>
          </a:stretch>
        </p:blipFill>
        <p:spPr>
          <a:xfrm>
            <a:off x="-1" y="0"/>
            <a:ext cx="12195175" cy="6859588"/>
          </a:xfrm>
          <a:prstGeom prst="rect">
            <a:avLst/>
          </a:prstGeom>
        </p:spPr>
      </p:pic>
    </p:spTree>
    <p:extLst>
      <p:ext uri="{BB962C8B-B14F-4D97-AF65-F5344CB8AC3E}">
        <p14:creationId xmlns:p14="http://schemas.microsoft.com/office/powerpoint/2010/main" val="340694107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6"/>
          <p:cNvPicPr>
            <a:picLocks noGrp="1" noChangeAspect="1"/>
          </p:cNvPicPr>
          <p:nvPr isPhoto="1"/>
        </p:nvPicPr>
        <p:blipFill>
          <a:blip r:embed="rId2" cstate="screen">
            <a:lum/>
            <a:extLst>
              <a:ext uri="{28A0092B-C50C-407E-A947-70E740481C1C}">
                <a14:useLocalDpi xmlns:a14="http://schemas.microsoft.com/office/drawing/2010/main"/>
              </a:ext>
            </a:extLst>
          </a:blip>
          <a:stretch>
            <a:fillRect/>
          </a:stretch>
        </p:blipFill>
        <p:spPr>
          <a:xfrm>
            <a:off x="-1" y="0"/>
            <a:ext cx="12195176" cy="6859588"/>
          </a:xfrm>
          <a:prstGeom prst="rect">
            <a:avLst/>
          </a:prstGeom>
        </p:spPr>
      </p:pic>
    </p:spTree>
    <p:extLst>
      <p:ext uri="{BB962C8B-B14F-4D97-AF65-F5344CB8AC3E}">
        <p14:creationId xmlns:p14="http://schemas.microsoft.com/office/powerpoint/2010/main" val="2337276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rueRec</a:t>
            </a:r>
            <a:endParaRPr lang="en-US" dirty="0"/>
          </a:p>
        </p:txBody>
      </p:sp>
      <p:pic>
        <p:nvPicPr>
          <p:cNvPr id="4" name="Picture 3"/>
          <p:cNvPicPr>
            <a:picLocks noChangeAspect="1"/>
          </p:cNvPicPr>
          <p:nvPr/>
        </p:nvPicPr>
        <p:blipFill>
          <a:blip r:embed="rId2">
            <a:alphaModFix/>
            <a:extLst>
              <a:ext uri="{28A0092B-C50C-407E-A947-70E740481C1C}">
                <a14:useLocalDpi xmlns:a14="http://schemas.microsoft.com/office/drawing/2010/main"/>
              </a:ext>
            </a:extLst>
          </a:blip>
          <a:stretch>
            <a:fillRect/>
          </a:stretch>
        </p:blipFill>
        <p:spPr>
          <a:xfrm>
            <a:off x="4267179" y="2353858"/>
            <a:ext cx="4060857" cy="2735496"/>
          </a:xfrm>
          <a:prstGeom prst="rect">
            <a:avLst/>
          </a:prstGeom>
        </p:spPr>
      </p:pic>
      <p:sp>
        <p:nvSpPr>
          <p:cNvPr id="5" name="TextBox 4"/>
          <p:cNvSpPr txBox="1"/>
          <p:nvPr/>
        </p:nvSpPr>
        <p:spPr>
          <a:xfrm rot="16200000">
            <a:off x="3163780" y="3727139"/>
            <a:ext cx="2931542" cy="307777"/>
          </a:xfrm>
          <a:prstGeom prst="rect">
            <a:avLst/>
          </a:prstGeom>
          <a:noFill/>
        </p:spPr>
        <p:txBody>
          <a:bodyPr wrap="square" rtlCol="0">
            <a:spAutoFit/>
          </a:bodyPr>
          <a:lstStyle/>
          <a:p>
            <a:pPr algn="ctr"/>
            <a:r>
              <a:rPr lang="en-US" altLang="zh-CN" sz="1400" b="1">
                <a:solidFill>
                  <a:schemeClr val="tx1">
                    <a:lumMod val="65000"/>
                    <a:lumOff val="35000"/>
                  </a:schemeClr>
                </a:solidFill>
                <a:latin typeface="Open Sans Semibold" charset="0"/>
                <a:ea typeface="Open Sans Semibold" charset="0"/>
                <a:cs typeface="Open Sans Semibold" charset="0"/>
              </a:rPr>
              <a:t>Secure TrueRec Wallet</a:t>
            </a:r>
            <a:endParaRPr lang="en-US" sz="1400" b="1">
              <a:solidFill>
                <a:schemeClr val="tx1">
                  <a:lumMod val="65000"/>
                  <a:lumOff val="35000"/>
                </a:schemeClr>
              </a:solidFill>
              <a:latin typeface="Open Sans Semibold" charset="0"/>
              <a:ea typeface="Open Sans Semibold" charset="0"/>
              <a:cs typeface="Open Sans Semibold" charset="0"/>
            </a:endParaRPr>
          </a:p>
        </p:txBody>
      </p:sp>
      <p:sp>
        <p:nvSpPr>
          <p:cNvPr id="6" name="TextBox 5"/>
          <p:cNvSpPr txBox="1"/>
          <p:nvPr/>
        </p:nvSpPr>
        <p:spPr>
          <a:xfrm>
            <a:off x="1177191" y="1260731"/>
            <a:ext cx="10111541" cy="923330"/>
          </a:xfrm>
          <a:prstGeom prst="rect">
            <a:avLst/>
          </a:prstGeom>
          <a:noFill/>
        </p:spPr>
        <p:txBody>
          <a:bodyPr wrap="square" rtlCol="0">
            <a:spAutoFit/>
          </a:bodyPr>
          <a:lstStyle/>
          <a:p>
            <a:pPr algn="ctr"/>
            <a:r>
              <a:rPr lang="en-US" sz="1800"/>
              <a:t>TrueRec is a Blockchain based digital credential issuing platform that guarantees authenticity and significantly simplifies the process of issuing, sharing and verifying digital credentials related to education and employment</a:t>
            </a:r>
            <a:endParaRPr lang="en-US" sz="1800" b="1">
              <a:latin typeface="Open Sans Semibold" charset="0"/>
              <a:ea typeface="Open Sans Semibold" charset="0"/>
              <a:cs typeface="Open Sans Semibold" charset="0"/>
            </a:endParaRPr>
          </a:p>
        </p:txBody>
      </p:sp>
      <p:pic>
        <p:nvPicPr>
          <p:cNvPr id="8" name="Picture 2" descr="SAP Fieldglas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32171" y="5202506"/>
            <a:ext cx="2121211" cy="41746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s://www.successfactors.com/content/dam/successfactors/en_us/images/misc/logo_successfactors.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64475" y="5830170"/>
            <a:ext cx="2564933" cy="28803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1661439" y="2144555"/>
            <a:ext cx="1188720" cy="1188720"/>
          </a:xfrm>
          <a:prstGeom prst="rect">
            <a:avLst/>
          </a:prstGeom>
          <a:noFill/>
          <a:ln>
            <a:noFill/>
          </a:ln>
        </p:spPr>
      </p:pic>
      <p:pic>
        <p:nvPicPr>
          <p:cNvPr id="11" name="Picture 10"/>
          <p:cNvPicPr>
            <a:picLocks noChangeAspect="1"/>
          </p:cNvPicPr>
          <p:nvPr/>
        </p:nvPicPr>
        <p:blipFill>
          <a:blip r:embed="rId7" cstate="print">
            <a:duotone>
              <a:prstClr val="black"/>
              <a:schemeClr val="bg1">
                <a:lumMod val="75000"/>
                <a:tint val="45000"/>
                <a:satMod val="400000"/>
              </a:schemeClr>
            </a:duotone>
            <a:extLst>
              <a:ext uri="{28A0092B-C50C-407E-A947-70E740481C1C}">
                <a14:useLocalDpi xmlns:a14="http://schemas.microsoft.com/office/drawing/2010/main"/>
              </a:ext>
            </a:extLst>
          </a:blip>
          <a:stretch>
            <a:fillRect/>
          </a:stretch>
        </p:blipFill>
        <p:spPr>
          <a:xfrm>
            <a:off x="1661439" y="3397813"/>
            <a:ext cx="1188720" cy="1188720"/>
          </a:xfrm>
          <a:prstGeom prst="rect">
            <a:avLst/>
          </a:prstGeom>
        </p:spPr>
      </p:pic>
      <p:sp>
        <p:nvSpPr>
          <p:cNvPr id="12" name="TextBox 11"/>
          <p:cNvSpPr txBox="1"/>
          <p:nvPr/>
        </p:nvSpPr>
        <p:spPr>
          <a:xfrm flipH="1">
            <a:off x="1868792" y="3071623"/>
            <a:ext cx="813852" cy="246221"/>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University</a:t>
            </a:r>
          </a:p>
        </p:txBody>
      </p:sp>
      <p:sp>
        <p:nvSpPr>
          <p:cNvPr id="13" name="TextBox 12"/>
          <p:cNvSpPr txBox="1"/>
          <p:nvPr/>
        </p:nvSpPr>
        <p:spPr>
          <a:xfrm flipH="1">
            <a:off x="1774232" y="4602032"/>
            <a:ext cx="963135" cy="246221"/>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Former employers</a:t>
            </a:r>
          </a:p>
        </p:txBody>
      </p:sp>
      <p:pic>
        <p:nvPicPr>
          <p:cNvPr id="14" name="Picture 1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376725" y="2381771"/>
            <a:ext cx="1188720" cy="1188720"/>
          </a:xfrm>
          <a:prstGeom prst="rect">
            <a:avLst/>
          </a:prstGeom>
        </p:spPr>
      </p:pic>
      <p:pic>
        <p:nvPicPr>
          <p:cNvPr id="15" name="Picture 1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76725" y="5061096"/>
            <a:ext cx="1188720" cy="1188720"/>
          </a:xfrm>
          <a:prstGeom prst="rect">
            <a:avLst/>
          </a:prstGeom>
        </p:spPr>
      </p:pic>
      <p:grpSp>
        <p:nvGrpSpPr>
          <p:cNvPr id="16" name="Group 15"/>
          <p:cNvGrpSpPr/>
          <p:nvPr/>
        </p:nvGrpSpPr>
        <p:grpSpPr>
          <a:xfrm>
            <a:off x="9592730" y="3900692"/>
            <a:ext cx="767562" cy="770813"/>
            <a:chOff x="9148644" y="3631066"/>
            <a:chExt cx="891884" cy="895662"/>
          </a:xfrm>
        </p:grpSpPr>
        <p:pic>
          <p:nvPicPr>
            <p:cNvPr id="17" name="Picture 16"/>
            <p:cNvPicPr>
              <a:picLocks noChangeAspect="1"/>
            </p:cNvPicPr>
            <p:nvPr/>
          </p:nvPicPr>
          <p:blipFill>
            <a:blip r:embed="rId10" cstate="screen">
              <a:grayscl/>
              <a:extLst>
                <a:ext uri="{28A0092B-C50C-407E-A947-70E740481C1C}">
                  <a14:useLocalDpi xmlns:a14="http://schemas.microsoft.com/office/drawing/2010/main"/>
                </a:ext>
              </a:extLst>
            </a:blip>
            <a:stretch>
              <a:fillRect/>
            </a:stretch>
          </p:blipFill>
          <p:spPr>
            <a:xfrm>
              <a:off x="9148644" y="3631066"/>
              <a:ext cx="821625" cy="821625"/>
            </a:xfrm>
            <a:prstGeom prst="rect">
              <a:avLst/>
            </a:prstGeom>
          </p:spPr>
        </p:pic>
        <p:pic>
          <p:nvPicPr>
            <p:cNvPr id="18" name="Picture 17"/>
            <p:cNvPicPr>
              <a:picLocks noChangeAspect="1"/>
            </p:cNvPicPr>
            <p:nvPr/>
          </p:nvPicPr>
          <p:blipFill>
            <a:blip r:embed="rId11" cstate="screen">
              <a:grayscl/>
              <a:extLst>
                <a:ext uri="{28A0092B-C50C-407E-A947-70E740481C1C}">
                  <a14:useLocalDpi xmlns:a14="http://schemas.microsoft.com/office/drawing/2010/main"/>
                </a:ext>
              </a:extLst>
            </a:blip>
            <a:stretch>
              <a:fillRect/>
            </a:stretch>
          </p:blipFill>
          <p:spPr>
            <a:xfrm>
              <a:off x="9578797" y="4060380"/>
              <a:ext cx="461731" cy="466348"/>
            </a:xfrm>
            <a:prstGeom prst="rect">
              <a:avLst/>
            </a:prstGeom>
          </p:spPr>
        </p:pic>
      </p:grpSp>
      <p:cxnSp>
        <p:nvCxnSpPr>
          <p:cNvPr id="19" name="Straight Arrow Connector 18"/>
          <p:cNvCxnSpPr/>
          <p:nvPr/>
        </p:nvCxnSpPr>
        <p:spPr>
          <a:xfrm>
            <a:off x="3059141" y="2906125"/>
            <a:ext cx="1090470" cy="0"/>
          </a:xfrm>
          <a:prstGeom prst="straightConnector1">
            <a:avLst/>
          </a:prstGeom>
          <a:ln w="50800">
            <a:solidFill>
              <a:schemeClr val="tx1">
                <a:lumMod val="50000"/>
                <a:lumOff val="50000"/>
                <a:alpha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059141" y="4070141"/>
            <a:ext cx="1090470" cy="0"/>
          </a:xfrm>
          <a:prstGeom prst="straightConnector1">
            <a:avLst/>
          </a:prstGeom>
          <a:ln w="50800">
            <a:solidFill>
              <a:schemeClr val="tx1">
                <a:lumMod val="50000"/>
                <a:lumOff val="50000"/>
                <a:alpha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15" idx="0"/>
          </p:cNvCxnSpPr>
          <p:nvPr/>
        </p:nvCxnSpPr>
        <p:spPr>
          <a:xfrm>
            <a:off x="9962923" y="3792275"/>
            <a:ext cx="8162" cy="1268821"/>
          </a:xfrm>
          <a:prstGeom prst="straightConnector1">
            <a:avLst/>
          </a:prstGeom>
          <a:ln w="28575">
            <a:solidFill>
              <a:schemeClr val="bg2">
                <a:lumMod val="9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flipH="1">
            <a:off x="9584078" y="3546414"/>
            <a:ext cx="774013" cy="246221"/>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Job Applicant</a:t>
            </a:r>
          </a:p>
        </p:txBody>
      </p:sp>
      <p:sp>
        <p:nvSpPr>
          <p:cNvPr id="23" name="TextBox 22"/>
          <p:cNvSpPr txBox="1"/>
          <p:nvPr/>
        </p:nvSpPr>
        <p:spPr>
          <a:xfrm flipH="1">
            <a:off x="9584078" y="6317967"/>
            <a:ext cx="774013" cy="246221"/>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Recruiter</a:t>
            </a:r>
          </a:p>
        </p:txBody>
      </p:sp>
      <p:sp>
        <p:nvSpPr>
          <p:cNvPr id="24" name="TextBox 23"/>
          <p:cNvSpPr txBox="1"/>
          <p:nvPr/>
        </p:nvSpPr>
        <p:spPr>
          <a:xfrm flipH="1">
            <a:off x="9584078" y="4574234"/>
            <a:ext cx="774013" cy="400110"/>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Trusted Profile</a:t>
            </a:r>
          </a:p>
        </p:txBody>
      </p:sp>
      <p:sp>
        <p:nvSpPr>
          <p:cNvPr id="25" name="TextBox 24"/>
          <p:cNvSpPr txBox="1"/>
          <p:nvPr/>
        </p:nvSpPr>
        <p:spPr>
          <a:xfrm flipH="1">
            <a:off x="1661439" y="6078987"/>
            <a:ext cx="1199689" cy="246221"/>
          </a:xfrm>
          <a:prstGeom prst="rect">
            <a:avLst/>
          </a:prstGeom>
          <a:noFill/>
        </p:spPr>
        <p:txBody>
          <a:bodyPr wrap="square" rtlCol="0">
            <a:spAutoFit/>
          </a:bodyPr>
          <a:lstStyle/>
          <a:p>
            <a:pPr algn="ctr"/>
            <a:r>
              <a:rPr lang="en-US" sz="1000">
                <a:latin typeface="Open Sans Condensed Light" charset="0"/>
                <a:ea typeface="Open Sans Condensed Light" charset="0"/>
                <a:cs typeface="Open Sans Condensed Light" charset="0"/>
              </a:rPr>
              <a:t>Future Data Sources</a:t>
            </a:r>
          </a:p>
        </p:txBody>
      </p:sp>
      <p:grpSp>
        <p:nvGrpSpPr>
          <p:cNvPr id="26" name="Group 25"/>
          <p:cNvGrpSpPr/>
          <p:nvPr/>
        </p:nvGrpSpPr>
        <p:grpSpPr>
          <a:xfrm>
            <a:off x="4901012" y="2953848"/>
            <a:ext cx="1843404" cy="1807606"/>
            <a:chOff x="4595666" y="2759323"/>
            <a:chExt cx="1384682" cy="1807606"/>
          </a:xfrm>
        </p:grpSpPr>
        <p:grpSp>
          <p:nvGrpSpPr>
            <p:cNvPr id="27" name="Group 26"/>
            <p:cNvGrpSpPr/>
            <p:nvPr/>
          </p:nvGrpSpPr>
          <p:grpSpPr>
            <a:xfrm>
              <a:off x="4595666" y="2759323"/>
              <a:ext cx="1384682" cy="1807606"/>
              <a:chOff x="4453736" y="2719681"/>
              <a:chExt cx="1384682" cy="1807606"/>
            </a:xfrm>
          </p:grpSpPr>
          <p:pic>
            <p:nvPicPr>
              <p:cNvPr id="29" name="Picture 28"/>
              <p:cNvPicPr>
                <a:picLocks noChangeAspect="1"/>
              </p:cNvPicPr>
              <p:nvPr/>
            </p:nvPicPr>
            <p:blipFill>
              <a:blip r:embed="rId12" cstate="screen">
                <a:duotone>
                  <a:prstClr val="black"/>
                  <a:schemeClr val="bg1">
                    <a:lumMod val="75000"/>
                    <a:tint val="45000"/>
                    <a:satMod val="400000"/>
                  </a:schemeClr>
                </a:duotone>
                <a:extLst>
                  <a:ext uri="{28A0092B-C50C-407E-A947-70E740481C1C}">
                    <a14:useLocalDpi xmlns:a14="http://schemas.microsoft.com/office/drawing/2010/main"/>
                  </a:ext>
                </a:extLst>
              </a:blip>
              <a:stretch>
                <a:fillRect/>
              </a:stretch>
            </p:blipFill>
            <p:spPr>
              <a:xfrm>
                <a:off x="4585514" y="2842861"/>
                <a:ext cx="320363" cy="366776"/>
              </a:xfrm>
              <a:prstGeom prst="rect">
                <a:avLst/>
              </a:prstGeom>
            </p:spPr>
          </p:pic>
          <p:pic>
            <p:nvPicPr>
              <p:cNvPr id="30" name="Picture 29"/>
              <p:cNvPicPr>
                <a:picLocks noChangeAspect="1"/>
              </p:cNvPicPr>
              <p:nvPr/>
            </p:nvPicPr>
            <p:blipFill>
              <a:blip r:embed="rId13" cstate="screen">
                <a:duotone>
                  <a:prstClr val="black"/>
                  <a:schemeClr val="bg1">
                    <a:lumMod val="75000"/>
                    <a:tint val="45000"/>
                    <a:satMod val="400000"/>
                  </a:schemeClr>
                </a:duotone>
                <a:extLst>
                  <a:ext uri="{28A0092B-C50C-407E-A947-70E740481C1C}">
                    <a14:useLocalDpi xmlns:a14="http://schemas.microsoft.com/office/drawing/2010/main"/>
                  </a:ext>
                </a:extLst>
              </a:blip>
              <a:stretch>
                <a:fillRect/>
              </a:stretch>
            </p:blipFill>
            <p:spPr>
              <a:xfrm>
                <a:off x="4576783" y="3822068"/>
                <a:ext cx="317000" cy="370450"/>
              </a:xfrm>
              <a:prstGeom prst="rect">
                <a:avLst/>
              </a:prstGeom>
            </p:spPr>
          </p:pic>
          <p:sp>
            <p:nvSpPr>
              <p:cNvPr id="31" name="TextBox 30"/>
              <p:cNvSpPr txBox="1"/>
              <p:nvPr/>
            </p:nvSpPr>
            <p:spPr>
              <a:xfrm flipH="1">
                <a:off x="4453736" y="3243886"/>
                <a:ext cx="546133" cy="215444"/>
              </a:xfrm>
              <a:prstGeom prst="rect">
                <a:avLst/>
              </a:prstGeom>
              <a:noFill/>
            </p:spPr>
            <p:txBody>
              <a:bodyPr wrap="square" rtlCol="0">
                <a:spAutoFit/>
              </a:bodyPr>
              <a:lstStyle/>
              <a:p>
                <a:pPr algn="ctr"/>
                <a:r>
                  <a:rPr lang="en-US" sz="800">
                    <a:solidFill>
                      <a:schemeClr val="tx1">
                        <a:lumMod val="65000"/>
                        <a:lumOff val="35000"/>
                      </a:schemeClr>
                    </a:solidFill>
                    <a:latin typeface="Open Sans Condensed Light" charset="0"/>
                    <a:ea typeface="Open Sans Condensed Light" charset="0"/>
                    <a:cs typeface="Open Sans Condensed Light" charset="0"/>
                  </a:rPr>
                  <a:t>Education </a:t>
                </a:r>
              </a:p>
            </p:txBody>
          </p:sp>
          <p:sp>
            <p:nvSpPr>
              <p:cNvPr id="32" name="TextBox 31"/>
              <p:cNvSpPr txBox="1"/>
              <p:nvPr/>
            </p:nvSpPr>
            <p:spPr>
              <a:xfrm flipH="1">
                <a:off x="5115742" y="3255899"/>
                <a:ext cx="722676" cy="215444"/>
              </a:xfrm>
              <a:prstGeom prst="rect">
                <a:avLst/>
              </a:prstGeom>
              <a:noFill/>
            </p:spPr>
            <p:txBody>
              <a:bodyPr wrap="square" rtlCol="0">
                <a:spAutoFit/>
              </a:bodyPr>
              <a:lstStyle/>
              <a:p>
                <a:pPr algn="ctr"/>
                <a:r>
                  <a:rPr lang="en-US" sz="800">
                    <a:solidFill>
                      <a:schemeClr val="tx1">
                        <a:lumMod val="65000"/>
                        <a:lumOff val="35000"/>
                      </a:schemeClr>
                    </a:solidFill>
                    <a:latin typeface="Open Sans Condensed Light" charset="0"/>
                    <a:ea typeface="Open Sans Condensed Light" charset="0"/>
                    <a:cs typeface="Open Sans Condensed Light" charset="0"/>
                  </a:rPr>
                  <a:t>Employment </a:t>
                </a:r>
              </a:p>
            </p:txBody>
          </p:sp>
          <p:sp>
            <p:nvSpPr>
              <p:cNvPr id="33" name="TextBox 32"/>
              <p:cNvSpPr txBox="1"/>
              <p:nvPr/>
            </p:nvSpPr>
            <p:spPr>
              <a:xfrm flipH="1">
                <a:off x="4557015" y="4253077"/>
                <a:ext cx="432602" cy="215444"/>
              </a:xfrm>
              <a:prstGeom prst="rect">
                <a:avLst/>
              </a:prstGeom>
              <a:noFill/>
            </p:spPr>
            <p:txBody>
              <a:bodyPr wrap="square" rtlCol="0">
                <a:spAutoFit/>
              </a:bodyPr>
              <a:lstStyle/>
              <a:p>
                <a:r>
                  <a:rPr lang="en-US" sz="800">
                    <a:solidFill>
                      <a:schemeClr val="tx1">
                        <a:lumMod val="65000"/>
                        <a:lumOff val="35000"/>
                      </a:schemeClr>
                    </a:solidFill>
                    <a:latin typeface="Open Sans Condensed Light" charset="0"/>
                    <a:ea typeface="Open Sans Condensed Light" charset="0"/>
                    <a:cs typeface="Open Sans Condensed Light" charset="0"/>
                  </a:rPr>
                  <a:t>Identity</a:t>
                </a:r>
              </a:p>
            </p:txBody>
          </p:sp>
          <p:pic>
            <p:nvPicPr>
              <p:cNvPr id="34" name="Picture 33"/>
              <p:cNvPicPr>
                <a:picLocks noChangeAspect="1"/>
              </p:cNvPicPr>
              <p:nvPr/>
            </p:nvPicPr>
            <p:blipFill>
              <a:blip r:embed="rId14"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12622" y="2833036"/>
                <a:ext cx="307875" cy="370450"/>
              </a:xfrm>
              <a:prstGeom prst="rect">
                <a:avLst/>
              </a:prstGeom>
            </p:spPr>
          </p:pic>
          <p:sp>
            <p:nvSpPr>
              <p:cNvPr id="35" name="Rounded Rectangle 2"/>
              <p:cNvSpPr/>
              <p:nvPr/>
            </p:nvSpPr>
            <p:spPr>
              <a:xfrm>
                <a:off x="4455937" y="2719681"/>
                <a:ext cx="563093" cy="800412"/>
              </a:xfrm>
              <a:prstGeom prst="round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123"/>
              <p:cNvSpPr/>
              <p:nvPr/>
            </p:nvSpPr>
            <p:spPr>
              <a:xfrm>
                <a:off x="5191422" y="2729905"/>
                <a:ext cx="563093" cy="800412"/>
              </a:xfrm>
              <a:prstGeom prst="round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124"/>
              <p:cNvSpPr/>
              <p:nvPr/>
            </p:nvSpPr>
            <p:spPr>
              <a:xfrm>
                <a:off x="4453736" y="3726875"/>
                <a:ext cx="563093" cy="800412"/>
              </a:xfrm>
              <a:prstGeom prst="round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45"/>
              <p:cNvSpPr/>
              <p:nvPr/>
            </p:nvSpPr>
            <p:spPr>
              <a:xfrm>
                <a:off x="5178113" y="3718498"/>
                <a:ext cx="575014" cy="800412"/>
              </a:xfrm>
              <a:prstGeom prst="round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flipH="1">
                <a:off x="5277766" y="4246781"/>
                <a:ext cx="454854" cy="221740"/>
              </a:xfrm>
              <a:prstGeom prst="rect">
                <a:avLst/>
              </a:prstGeom>
              <a:noFill/>
            </p:spPr>
            <p:txBody>
              <a:bodyPr wrap="square" rtlCol="0">
                <a:spAutoFit/>
              </a:bodyPr>
              <a:lstStyle/>
              <a:p>
                <a:r>
                  <a:rPr lang="en-US" sz="800">
                    <a:solidFill>
                      <a:schemeClr val="tx1">
                        <a:lumMod val="65000"/>
                        <a:lumOff val="35000"/>
                      </a:schemeClr>
                    </a:solidFill>
                    <a:latin typeface="Open Sans Condensed Light" charset="0"/>
                    <a:ea typeface="Open Sans Condensed Light" charset="0"/>
                    <a:cs typeface="Open Sans Condensed Light" charset="0"/>
                  </a:rPr>
                  <a:t>Criminal</a:t>
                </a:r>
              </a:p>
            </p:txBody>
          </p:sp>
        </p:grpSp>
        <p:pic>
          <p:nvPicPr>
            <p:cNvPr id="28" name="Picture 27"/>
            <p:cNvPicPr>
              <a:picLocks noChangeAspect="1"/>
            </p:cNvPicPr>
            <p:nvPr/>
          </p:nvPicPr>
          <p:blipFill>
            <a:blip r:embed="rId15" cstate="screen">
              <a:grayscl/>
              <a:alphaModFix amt="35000"/>
              <a:extLst>
                <a:ext uri="{28A0092B-C50C-407E-A947-70E740481C1C}">
                  <a14:useLocalDpi xmlns:a14="http://schemas.microsoft.com/office/drawing/2010/main"/>
                </a:ext>
              </a:extLst>
            </a:blip>
            <a:stretch>
              <a:fillRect/>
            </a:stretch>
          </p:blipFill>
          <p:spPr>
            <a:xfrm>
              <a:off x="5491271" y="3903706"/>
              <a:ext cx="247254" cy="370450"/>
            </a:xfrm>
            <a:prstGeom prst="rect">
              <a:avLst/>
            </a:prstGeom>
          </p:spPr>
        </p:pic>
      </p:grpSp>
      <p:pic>
        <p:nvPicPr>
          <p:cNvPr id="40" name="Picture 39"/>
          <p:cNvPicPr>
            <a:picLocks noChangeAspect="1"/>
          </p:cNvPicPr>
          <p:nvPr/>
        </p:nvPicPr>
        <p:blipFill>
          <a:blip r:embed="rId16" cstate="screen">
            <a:lum bright="70000" contrast="-70000"/>
            <a:extLst>
              <a:ext uri="{28A0092B-C50C-407E-A947-70E740481C1C}">
                <a14:useLocalDpi xmlns:a14="http://schemas.microsoft.com/office/drawing/2010/main"/>
              </a:ext>
            </a:extLst>
          </a:blip>
          <a:stretch>
            <a:fillRect/>
          </a:stretch>
        </p:blipFill>
        <p:spPr>
          <a:xfrm>
            <a:off x="1828952" y="5131801"/>
            <a:ext cx="853693" cy="842385"/>
          </a:xfrm>
          <a:prstGeom prst="rect">
            <a:avLst/>
          </a:prstGeom>
        </p:spPr>
      </p:pic>
      <p:sp>
        <p:nvSpPr>
          <p:cNvPr id="41" name="Rounded Rectangle 52"/>
          <p:cNvSpPr/>
          <p:nvPr/>
        </p:nvSpPr>
        <p:spPr>
          <a:xfrm>
            <a:off x="1666020" y="5061096"/>
            <a:ext cx="1184139" cy="967465"/>
          </a:xfrm>
          <a:prstGeom prst="roundRect">
            <a:avLst/>
          </a:pr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Arrow Connector 41"/>
          <p:cNvCxnSpPr/>
          <p:nvPr/>
        </p:nvCxnSpPr>
        <p:spPr>
          <a:xfrm>
            <a:off x="3465298" y="4426685"/>
            <a:ext cx="684313" cy="1"/>
          </a:xfrm>
          <a:prstGeom prst="straightConnector1">
            <a:avLst/>
          </a:prstGeom>
          <a:ln w="50800">
            <a:solidFill>
              <a:schemeClr val="tx1">
                <a:lumMod val="50000"/>
                <a:lumOff val="50000"/>
                <a:alpha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465298" y="4403825"/>
            <a:ext cx="0" cy="1121469"/>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3059141" y="5548154"/>
            <a:ext cx="428823"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Rounded Rectangle 4"/>
          <p:cNvSpPr/>
          <p:nvPr/>
        </p:nvSpPr>
        <p:spPr>
          <a:xfrm>
            <a:off x="4267179" y="5173166"/>
            <a:ext cx="4060857" cy="481649"/>
          </a:xfrm>
          <a:prstGeom prst="roundRect">
            <a:avLst/>
          </a:prstGeom>
          <a:noFill/>
          <a:ln>
            <a:solidFill>
              <a:srgbClr val="1BBB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ounded Rectangle 54"/>
          <p:cNvSpPr/>
          <p:nvPr/>
        </p:nvSpPr>
        <p:spPr>
          <a:xfrm>
            <a:off x="4267179" y="5738627"/>
            <a:ext cx="4060857" cy="481649"/>
          </a:xfrm>
          <a:prstGeom prst="roundRect">
            <a:avLst/>
          </a:prstGeom>
          <a:noFill/>
          <a:ln>
            <a:solidFill>
              <a:srgbClr val="1BBB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Straight Arrow Connector 46"/>
          <p:cNvCxnSpPr/>
          <p:nvPr/>
        </p:nvCxnSpPr>
        <p:spPr>
          <a:xfrm>
            <a:off x="8496297" y="2906124"/>
            <a:ext cx="684313" cy="1"/>
          </a:xfrm>
          <a:prstGeom prst="straightConnector1">
            <a:avLst/>
          </a:prstGeom>
          <a:ln w="50800">
            <a:solidFill>
              <a:schemeClr val="tx1">
                <a:lumMod val="50000"/>
                <a:lumOff val="50000"/>
                <a:alpha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a:off x="8496298" y="3816824"/>
            <a:ext cx="342155" cy="1"/>
          </a:xfrm>
          <a:prstGeom prst="straightConnector1">
            <a:avLst/>
          </a:prstGeom>
          <a:ln w="50800">
            <a:solidFill>
              <a:schemeClr val="tx1">
                <a:lumMod val="50000"/>
                <a:lumOff val="50000"/>
                <a:alpha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856088" y="3792275"/>
            <a:ext cx="0" cy="184667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8838453" y="5614207"/>
            <a:ext cx="495331"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24185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itle 1"/>
          <p:cNvSpPr>
            <a:spLocks noGrp="1"/>
          </p:cNvSpPr>
          <p:nvPr>
            <p:ph type="title"/>
          </p:nvPr>
        </p:nvSpPr>
        <p:spPr>
          <a:xfrm>
            <a:off x="334650" y="365955"/>
            <a:ext cx="11542528" cy="430887"/>
          </a:xfrm>
        </p:spPr>
        <p:txBody>
          <a:bodyPr/>
          <a:lstStyle/>
          <a:p>
            <a:r>
              <a:rPr lang="en-US" dirty="0" err="1"/>
              <a:t>TrueRec</a:t>
            </a:r>
            <a:endParaRPr lang="en-US" dirty="0"/>
          </a:p>
        </p:txBody>
      </p:sp>
      <p:pic>
        <p:nvPicPr>
          <p:cNvPr id="32" name="pasted-image.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837" y="1972463"/>
            <a:ext cx="3147243" cy="2950104"/>
          </a:xfrm>
          <a:prstGeom prst="rect">
            <a:avLst/>
          </a:prstGeom>
          <a:ln w="12700">
            <a:miter lim="400000"/>
          </a:ln>
        </p:spPr>
      </p:pic>
      <p:pic>
        <p:nvPicPr>
          <p:cNvPr id="40" name="Picture 3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91657" y="2246163"/>
            <a:ext cx="2615590" cy="1822624"/>
          </a:xfrm>
          <a:prstGeom prst="rect">
            <a:avLst/>
          </a:prstGeom>
        </p:spPr>
      </p:pic>
      <p:cxnSp>
        <p:nvCxnSpPr>
          <p:cNvPr id="39" name="Straight Connector 38"/>
          <p:cNvCxnSpPr/>
          <p:nvPr/>
        </p:nvCxnSpPr>
        <p:spPr>
          <a:xfrm>
            <a:off x="7893492" y="1222338"/>
            <a:ext cx="0" cy="5321300"/>
          </a:xfrm>
          <a:prstGeom prst="line">
            <a:avLst/>
          </a:prstGeom>
          <a:ln w="762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41" name="pasted-image.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582323" y="1928719"/>
            <a:ext cx="3147243" cy="2950104"/>
          </a:xfrm>
          <a:prstGeom prst="rect">
            <a:avLst/>
          </a:prstGeom>
          <a:ln w="12700">
            <a:miter lim="400000"/>
          </a:ln>
        </p:spPr>
      </p:pic>
      <p:pic>
        <p:nvPicPr>
          <p:cNvPr id="42" name="Picture 4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29281" y="2177486"/>
            <a:ext cx="2672462" cy="1900316"/>
          </a:xfrm>
          <a:prstGeom prst="rect">
            <a:avLst/>
          </a:prstGeom>
        </p:spPr>
      </p:pic>
      <p:cxnSp>
        <p:nvCxnSpPr>
          <p:cNvPr id="38" name="Straight Connector 37"/>
          <p:cNvCxnSpPr/>
          <p:nvPr/>
        </p:nvCxnSpPr>
        <p:spPr>
          <a:xfrm>
            <a:off x="4175097" y="1222338"/>
            <a:ext cx="0" cy="5321300"/>
          </a:xfrm>
          <a:prstGeom prst="line">
            <a:avLst/>
          </a:prstGeom>
          <a:ln w="762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62308" y="1746108"/>
            <a:ext cx="1645920" cy="3315327"/>
          </a:xfrm>
          <a:prstGeom prst="rect">
            <a:avLst/>
          </a:prstGeom>
        </p:spPr>
      </p:pic>
      <p:pic>
        <p:nvPicPr>
          <p:cNvPr id="2" name="Picture 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11087" y="2205177"/>
            <a:ext cx="1354719" cy="2409595"/>
          </a:xfrm>
          <a:prstGeom prst="rect">
            <a:avLst/>
          </a:prstGeom>
        </p:spPr>
      </p:pic>
      <p:sp>
        <p:nvSpPr>
          <p:cNvPr id="29" name="TextBox 28"/>
          <p:cNvSpPr txBox="1"/>
          <p:nvPr/>
        </p:nvSpPr>
        <p:spPr>
          <a:xfrm>
            <a:off x="1277443" y="1345881"/>
            <a:ext cx="1587765" cy="477054"/>
          </a:xfrm>
          <a:prstGeom prst="rect">
            <a:avLst/>
          </a:prstGeom>
          <a:noFill/>
        </p:spPr>
        <p:txBody>
          <a:bodyPr wrap="square" rtlCol="0">
            <a:spAutoFit/>
          </a:bodyPr>
          <a:lstStyle/>
          <a:p>
            <a:pPr algn="ctr"/>
            <a:r>
              <a:rPr lang="en-US" sz="2500" dirty="0">
                <a:solidFill>
                  <a:schemeClr val="accent1"/>
                </a:solidFill>
                <a:latin typeface="BentonSans" charset="0"/>
                <a:ea typeface="BentonSans" charset="0"/>
                <a:cs typeface="BentonSans" charset="0"/>
              </a:rPr>
              <a:t>Issuer</a:t>
            </a:r>
          </a:p>
        </p:txBody>
      </p:sp>
      <p:sp>
        <p:nvSpPr>
          <p:cNvPr id="30" name="TextBox 29"/>
          <p:cNvSpPr txBox="1"/>
          <p:nvPr/>
        </p:nvSpPr>
        <p:spPr>
          <a:xfrm>
            <a:off x="612280" y="5189824"/>
            <a:ext cx="2964804" cy="1077218"/>
          </a:xfrm>
          <a:prstGeom prst="rect">
            <a:avLst/>
          </a:prstGeom>
          <a:noFill/>
        </p:spPr>
        <p:txBody>
          <a:bodyPr wrap="square" rtlCol="0">
            <a:spAutoFit/>
          </a:bodyPr>
          <a:lstStyle/>
          <a:p>
            <a:pPr algn="ctr"/>
            <a:r>
              <a:rPr lang="en-US" sz="1600" dirty="0">
                <a:latin typeface="BentonSans" charset="0"/>
                <a:ea typeface="BentonSans" charset="0"/>
                <a:cs typeface="BentonSans" charset="0"/>
              </a:rPr>
              <a:t>Candidate can login to the portal and </a:t>
            </a:r>
            <a:r>
              <a:rPr lang="en-US" sz="1600" b="1" dirty="0">
                <a:latin typeface="BentonSans" charset="0"/>
                <a:ea typeface="BentonSans" charset="0"/>
                <a:cs typeface="BentonSans" charset="0"/>
              </a:rPr>
              <a:t>request</a:t>
            </a:r>
            <a:r>
              <a:rPr lang="en-US" sz="1600" dirty="0">
                <a:latin typeface="BentonSans" charset="0"/>
                <a:ea typeface="BentonSans" charset="0"/>
                <a:cs typeface="BentonSans" charset="0"/>
              </a:rPr>
              <a:t> credentials to be issued on </a:t>
            </a:r>
            <a:r>
              <a:rPr lang="en-US" sz="1600" dirty="0" err="1">
                <a:latin typeface="BentonSans" charset="0"/>
                <a:ea typeface="BentonSans" charset="0"/>
                <a:cs typeface="BentonSans" charset="0"/>
              </a:rPr>
              <a:t>TrueRec</a:t>
            </a:r>
            <a:r>
              <a:rPr lang="en-US" sz="1600" dirty="0">
                <a:latin typeface="BentonSans" charset="0"/>
                <a:ea typeface="BentonSans" charset="0"/>
                <a:cs typeface="BentonSans" charset="0"/>
              </a:rPr>
              <a:t>. </a:t>
            </a:r>
          </a:p>
        </p:txBody>
      </p:sp>
      <p:sp>
        <p:nvSpPr>
          <p:cNvPr id="31" name="TextBox 30"/>
          <p:cNvSpPr txBox="1"/>
          <p:nvPr/>
        </p:nvSpPr>
        <p:spPr>
          <a:xfrm>
            <a:off x="5066567" y="1306595"/>
            <a:ext cx="2502316" cy="477054"/>
          </a:xfrm>
          <a:prstGeom prst="rect">
            <a:avLst/>
          </a:prstGeom>
          <a:noFill/>
        </p:spPr>
        <p:txBody>
          <a:bodyPr wrap="square" rtlCol="0">
            <a:spAutoFit/>
          </a:bodyPr>
          <a:lstStyle/>
          <a:p>
            <a:pPr algn="ctr"/>
            <a:r>
              <a:rPr lang="en-US" sz="2500" dirty="0">
                <a:solidFill>
                  <a:schemeClr val="accent1"/>
                </a:solidFill>
                <a:latin typeface="BentonSans" charset="0"/>
                <a:ea typeface="BentonSans" charset="0"/>
                <a:cs typeface="BentonSans" charset="0"/>
              </a:rPr>
              <a:t>Individual</a:t>
            </a:r>
          </a:p>
        </p:txBody>
      </p:sp>
      <p:sp>
        <p:nvSpPr>
          <p:cNvPr id="44" name="TextBox 43"/>
          <p:cNvSpPr txBox="1"/>
          <p:nvPr/>
        </p:nvSpPr>
        <p:spPr>
          <a:xfrm>
            <a:off x="4660778" y="5221200"/>
            <a:ext cx="2848980" cy="1077218"/>
          </a:xfrm>
          <a:prstGeom prst="rect">
            <a:avLst/>
          </a:prstGeom>
          <a:noFill/>
        </p:spPr>
        <p:txBody>
          <a:bodyPr wrap="square" rtlCol="0">
            <a:spAutoFit/>
          </a:bodyPr>
          <a:lstStyle/>
          <a:p>
            <a:pPr algn="ctr"/>
            <a:r>
              <a:rPr lang="en-US" sz="1600" dirty="0">
                <a:latin typeface="BentonSans" charset="0"/>
                <a:ea typeface="BentonSans" charset="0"/>
                <a:cs typeface="BentonSans" charset="0"/>
              </a:rPr>
              <a:t>The digital wallet helps the user </a:t>
            </a:r>
            <a:r>
              <a:rPr lang="en-US" sz="1600" b="1" dirty="0">
                <a:latin typeface="BentonSans" charset="0"/>
                <a:ea typeface="BentonSans" charset="0"/>
                <a:cs typeface="BentonSans" charset="0"/>
              </a:rPr>
              <a:t>manage</a:t>
            </a:r>
            <a:r>
              <a:rPr lang="en-US" sz="1600" dirty="0">
                <a:latin typeface="BentonSans" charset="0"/>
                <a:ea typeface="BentonSans" charset="0"/>
                <a:cs typeface="BentonSans" charset="0"/>
              </a:rPr>
              <a:t>, </a:t>
            </a:r>
            <a:r>
              <a:rPr lang="en-US" sz="1600" b="1" dirty="0">
                <a:latin typeface="BentonSans" charset="0"/>
                <a:ea typeface="BentonSans" charset="0"/>
                <a:cs typeface="BentonSans" charset="0"/>
              </a:rPr>
              <a:t>share</a:t>
            </a:r>
            <a:r>
              <a:rPr lang="en-US" sz="1600" dirty="0">
                <a:latin typeface="BentonSans" charset="0"/>
                <a:ea typeface="BentonSans" charset="0"/>
                <a:cs typeface="BentonSans" charset="0"/>
              </a:rPr>
              <a:t>, and </a:t>
            </a:r>
            <a:r>
              <a:rPr lang="en-US" sz="1600" b="1" dirty="0">
                <a:latin typeface="BentonSans" charset="0"/>
                <a:ea typeface="BentonSans" charset="0"/>
                <a:cs typeface="BentonSans" charset="0"/>
              </a:rPr>
              <a:t>prove</a:t>
            </a:r>
            <a:r>
              <a:rPr lang="en-US" sz="1600" dirty="0">
                <a:latin typeface="BentonSans" charset="0"/>
                <a:ea typeface="BentonSans" charset="0"/>
                <a:cs typeface="BentonSans" charset="0"/>
              </a:rPr>
              <a:t> credentials to the verifier. </a:t>
            </a:r>
          </a:p>
        </p:txBody>
      </p:sp>
      <p:sp>
        <p:nvSpPr>
          <p:cNvPr id="46" name="TextBox 45"/>
          <p:cNvSpPr txBox="1"/>
          <p:nvPr/>
        </p:nvSpPr>
        <p:spPr>
          <a:xfrm>
            <a:off x="8738746" y="5188827"/>
            <a:ext cx="2929245" cy="1077218"/>
          </a:xfrm>
          <a:prstGeom prst="rect">
            <a:avLst/>
          </a:prstGeom>
          <a:noFill/>
        </p:spPr>
        <p:txBody>
          <a:bodyPr wrap="square" rtlCol="0">
            <a:spAutoFit/>
          </a:bodyPr>
          <a:lstStyle/>
          <a:p>
            <a:pPr algn="ctr"/>
            <a:r>
              <a:rPr lang="en-US" sz="1600" dirty="0">
                <a:latin typeface="BentonSans" charset="0"/>
                <a:ea typeface="BentonSans" charset="0"/>
                <a:cs typeface="BentonSans" charset="0"/>
              </a:rPr>
              <a:t>Verifiers </a:t>
            </a:r>
            <a:r>
              <a:rPr lang="en-US" sz="1600" b="1" dirty="0">
                <a:latin typeface="BentonSans" charset="0"/>
                <a:ea typeface="BentonSans" charset="0"/>
                <a:cs typeface="BentonSans" charset="0"/>
              </a:rPr>
              <a:t>instantly</a:t>
            </a:r>
            <a:r>
              <a:rPr lang="en-US" sz="1600" dirty="0">
                <a:latin typeface="BentonSans" charset="0"/>
                <a:ea typeface="BentonSans" charset="0"/>
                <a:cs typeface="BentonSans" charset="0"/>
              </a:rPr>
              <a:t> </a:t>
            </a:r>
            <a:r>
              <a:rPr lang="en-US" sz="1600" b="1" dirty="0">
                <a:latin typeface="BentonSans" charset="0"/>
                <a:ea typeface="BentonSans" charset="0"/>
                <a:cs typeface="BentonSans" charset="0"/>
              </a:rPr>
              <a:t>check</a:t>
            </a:r>
            <a:r>
              <a:rPr lang="en-US" sz="1600" dirty="0">
                <a:latin typeface="BentonSans" charset="0"/>
                <a:ea typeface="BentonSans" charset="0"/>
                <a:cs typeface="BentonSans" charset="0"/>
              </a:rPr>
              <a:t> the candidate’s credentials without reaching out to multiple issuers.</a:t>
            </a:r>
          </a:p>
        </p:txBody>
      </p:sp>
      <p:sp>
        <p:nvSpPr>
          <p:cNvPr id="47" name="TextBox 46"/>
          <p:cNvSpPr txBox="1"/>
          <p:nvPr/>
        </p:nvSpPr>
        <p:spPr>
          <a:xfrm>
            <a:off x="9740741" y="1320488"/>
            <a:ext cx="1321269" cy="492443"/>
          </a:xfrm>
          <a:prstGeom prst="rect">
            <a:avLst/>
          </a:prstGeom>
          <a:noFill/>
        </p:spPr>
        <p:txBody>
          <a:bodyPr wrap="square" rtlCol="0">
            <a:spAutoFit/>
          </a:bodyPr>
          <a:lstStyle/>
          <a:p>
            <a:pPr algn="ctr"/>
            <a:r>
              <a:rPr lang="en-US" sz="2600">
                <a:solidFill>
                  <a:schemeClr val="accent1"/>
                </a:solidFill>
                <a:latin typeface="BentonSans" charset="0"/>
                <a:ea typeface="BentonSans" charset="0"/>
                <a:cs typeface="BentonSans" charset="0"/>
              </a:rPr>
              <a:t>Verifier</a:t>
            </a:r>
            <a:endParaRPr lang="en-US" sz="2600" dirty="0">
              <a:solidFill>
                <a:schemeClr val="accent1"/>
              </a:solidFill>
              <a:latin typeface="BentonSans" charset="0"/>
              <a:ea typeface="BentonSans" charset="0"/>
              <a:cs typeface="BentonSans" charset="0"/>
            </a:endParaRPr>
          </a:p>
        </p:txBody>
      </p:sp>
      <p:grpSp>
        <p:nvGrpSpPr>
          <p:cNvPr id="20" name="Group 19"/>
          <p:cNvGrpSpPr/>
          <p:nvPr/>
        </p:nvGrpSpPr>
        <p:grpSpPr>
          <a:xfrm>
            <a:off x="9324141" y="1381378"/>
            <a:ext cx="396578" cy="382915"/>
            <a:chOff x="10419787" y="3520875"/>
            <a:chExt cx="1106530" cy="1106530"/>
          </a:xfrm>
        </p:grpSpPr>
        <p:sp>
          <p:nvSpPr>
            <p:cNvPr id="21" name="Oval 20"/>
            <p:cNvSpPr/>
            <p:nvPr/>
          </p:nvSpPr>
          <p:spPr bwMode="gray">
            <a:xfrm>
              <a:off x="10419787" y="3520875"/>
              <a:ext cx="1106530" cy="1106530"/>
            </a:xfrm>
            <a:prstGeom prst="ellips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22" name="Picture 21"/>
            <p:cNvPicPr>
              <a:picLocks noChangeAspect="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10482369" y="3583457"/>
              <a:ext cx="981366" cy="981366"/>
            </a:xfrm>
            <a:prstGeom prst="rect">
              <a:avLst/>
            </a:prstGeom>
          </p:spPr>
        </p:pic>
      </p:grpSp>
      <p:grpSp>
        <p:nvGrpSpPr>
          <p:cNvPr id="23" name="Group 22"/>
          <p:cNvGrpSpPr/>
          <p:nvPr/>
        </p:nvGrpSpPr>
        <p:grpSpPr>
          <a:xfrm>
            <a:off x="5076578" y="1355085"/>
            <a:ext cx="403024" cy="389139"/>
            <a:chOff x="5471383" y="2775142"/>
            <a:chExt cx="1377513" cy="1377513"/>
          </a:xfrm>
        </p:grpSpPr>
        <p:sp>
          <p:nvSpPr>
            <p:cNvPr id="25" name="Oval 24"/>
            <p:cNvSpPr/>
            <p:nvPr/>
          </p:nvSpPr>
          <p:spPr bwMode="gray">
            <a:xfrm>
              <a:off x="5471383" y="2775142"/>
              <a:ext cx="1377513" cy="1377513"/>
            </a:xfrm>
            <a:prstGeom prst="ellips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26" name="Picture 25"/>
            <p:cNvPicPr>
              <a:picLocks noChangeAspect="1"/>
            </p:cNvPicPr>
            <p:nvPr/>
          </p:nvPicPr>
          <p:blipFill>
            <a:blip r:embed="rId10" cstate="screen">
              <a:grayscl/>
              <a:extLst>
                <a:ext uri="{28A0092B-C50C-407E-A947-70E740481C1C}">
                  <a14:useLocalDpi xmlns:a14="http://schemas.microsoft.com/office/drawing/2010/main"/>
                </a:ext>
              </a:extLst>
            </a:blip>
            <a:stretch>
              <a:fillRect/>
            </a:stretch>
          </p:blipFill>
          <p:spPr>
            <a:xfrm>
              <a:off x="5534321" y="2838078"/>
              <a:ext cx="1243374" cy="1243373"/>
            </a:xfrm>
            <a:prstGeom prst="rect">
              <a:avLst/>
            </a:prstGeom>
          </p:spPr>
        </p:pic>
      </p:grpSp>
      <p:grpSp>
        <p:nvGrpSpPr>
          <p:cNvPr id="27" name="Group 26"/>
          <p:cNvGrpSpPr/>
          <p:nvPr/>
        </p:nvGrpSpPr>
        <p:grpSpPr>
          <a:xfrm>
            <a:off x="1032118" y="1386532"/>
            <a:ext cx="403024" cy="389139"/>
            <a:chOff x="1426923" y="2806589"/>
            <a:chExt cx="1377513" cy="1377513"/>
          </a:xfrm>
        </p:grpSpPr>
        <p:sp>
          <p:nvSpPr>
            <p:cNvPr id="28" name="Oval 27"/>
            <p:cNvSpPr/>
            <p:nvPr/>
          </p:nvSpPr>
          <p:spPr bwMode="gray">
            <a:xfrm>
              <a:off x="1426923" y="2806589"/>
              <a:ext cx="1377513" cy="1377513"/>
            </a:xfrm>
            <a:prstGeom prst="ellips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33" name="Oval 32"/>
            <p:cNvSpPr/>
            <p:nvPr/>
          </p:nvSpPr>
          <p:spPr bwMode="gray">
            <a:xfrm>
              <a:off x="1499718" y="2858399"/>
              <a:ext cx="1238941" cy="1238941"/>
            </a:xfrm>
            <a:prstGeom prst="ellipse">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16940" y="3038637"/>
              <a:ext cx="802487" cy="802487"/>
            </a:xfrm>
            <a:prstGeom prst="rect">
              <a:avLst/>
            </a:prstGeom>
            <a:solidFill>
              <a:schemeClr val="tx1"/>
            </a:solidFill>
          </p:spPr>
        </p:pic>
      </p:grpSp>
    </p:spTree>
    <p:extLst>
      <p:ext uri="{BB962C8B-B14F-4D97-AF65-F5344CB8AC3E}">
        <p14:creationId xmlns:p14="http://schemas.microsoft.com/office/powerpoint/2010/main" val="52776199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ounded Rectangle 111"/>
          <p:cNvSpPr/>
          <p:nvPr/>
        </p:nvSpPr>
        <p:spPr bwMode="gray">
          <a:xfrm>
            <a:off x="205365" y="2418866"/>
            <a:ext cx="2726402" cy="1960033"/>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1" name="Rounded Rectangle 110"/>
          <p:cNvSpPr/>
          <p:nvPr/>
        </p:nvSpPr>
        <p:spPr bwMode="gray">
          <a:xfrm>
            <a:off x="6178999" y="5070619"/>
            <a:ext cx="2506364" cy="1263929"/>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5" name="Rounded Rectangle 104"/>
          <p:cNvSpPr/>
          <p:nvPr/>
        </p:nvSpPr>
        <p:spPr bwMode="gray">
          <a:xfrm>
            <a:off x="7725585" y="2120708"/>
            <a:ext cx="4244742" cy="2246529"/>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6" name="Rounded Rectangle 105"/>
          <p:cNvSpPr/>
          <p:nvPr/>
        </p:nvSpPr>
        <p:spPr bwMode="gray">
          <a:xfrm>
            <a:off x="9422795" y="2503985"/>
            <a:ext cx="2396683" cy="1728148"/>
          </a:xfrm>
          <a:prstGeom prst="roundRect">
            <a:avLst>
              <a:gd name="adj" fmla="val 9212"/>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5" name="Rectangle 74"/>
          <p:cNvSpPr/>
          <p:nvPr/>
        </p:nvSpPr>
        <p:spPr>
          <a:xfrm>
            <a:off x="9577667" y="2624540"/>
            <a:ext cx="2433844" cy="1569660"/>
          </a:xfrm>
          <a:prstGeom prst="rect">
            <a:avLst/>
          </a:prstGeom>
        </p:spPr>
        <p:txBody>
          <a:bodyPr wrap="square">
            <a:spAutoFit/>
          </a:bodyPr>
          <a:lstStyle/>
          <a:p>
            <a:r>
              <a:rPr lang="en-US" sz="1600" dirty="0">
                <a:latin typeface="BentonSans" charset="0"/>
                <a:ea typeface="BentonSans" charset="0"/>
                <a:cs typeface="BentonSans" charset="0"/>
              </a:rPr>
              <a:t>Verifiers can instantaneously verify the validity by comparing the document to the </a:t>
            </a:r>
            <a:r>
              <a:rPr lang="en-US" sz="1600" dirty="0" err="1">
                <a:latin typeface="BentonSans" charset="0"/>
                <a:ea typeface="BentonSans" charset="0"/>
                <a:cs typeface="BentonSans" charset="0"/>
              </a:rPr>
              <a:t>blockchain</a:t>
            </a:r>
            <a:r>
              <a:rPr lang="en-US" sz="1600" dirty="0">
                <a:latin typeface="BentonSans" charset="0"/>
                <a:ea typeface="BentonSans" charset="0"/>
                <a:cs typeface="BentonSans" charset="0"/>
              </a:rPr>
              <a:t>.</a:t>
            </a:r>
            <a:endParaRPr lang="en-US" sz="1600" dirty="0">
              <a:latin typeface="BentonSans Light" charset="0"/>
              <a:ea typeface="BentonSans Light" charset="0"/>
              <a:cs typeface="BentonSans Light" charset="0"/>
            </a:endParaRPr>
          </a:p>
        </p:txBody>
      </p:sp>
      <p:sp>
        <p:nvSpPr>
          <p:cNvPr id="97" name="Rounded Rectangle 96"/>
          <p:cNvSpPr/>
          <p:nvPr/>
        </p:nvSpPr>
        <p:spPr bwMode="gray">
          <a:xfrm>
            <a:off x="4863225" y="2188289"/>
            <a:ext cx="1826152" cy="4146260"/>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 name="Rounded Rectangle 10"/>
          <p:cNvSpPr/>
          <p:nvPr/>
        </p:nvSpPr>
        <p:spPr bwMode="gray">
          <a:xfrm>
            <a:off x="197428" y="2255194"/>
            <a:ext cx="4562298" cy="948761"/>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2" name="Rounded Rectangle 11"/>
          <p:cNvSpPr/>
          <p:nvPr/>
        </p:nvSpPr>
        <p:spPr bwMode="gray">
          <a:xfrm>
            <a:off x="310209" y="2418866"/>
            <a:ext cx="2509323" cy="1787033"/>
          </a:xfrm>
          <a:prstGeom prst="roundRect">
            <a:avLst>
              <a:gd name="adj" fmla="val 9212"/>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300290" y="2234481"/>
            <a:ext cx="2789947" cy="2789947"/>
          </a:xfrm>
          <a:prstGeom prst="rect">
            <a:avLst/>
          </a:prstGeom>
        </p:spPr>
      </p:pic>
      <p:cxnSp>
        <p:nvCxnSpPr>
          <p:cNvPr id="58" name="Straight Connector 57"/>
          <p:cNvCxnSpPr/>
          <p:nvPr/>
        </p:nvCxnSpPr>
        <p:spPr>
          <a:xfrm>
            <a:off x="6455679" y="3409370"/>
            <a:ext cx="1341170" cy="15980"/>
          </a:xfrm>
          <a:prstGeom prst="line">
            <a:avLst/>
          </a:prstGeom>
          <a:ln w="5715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979056" y="2950309"/>
            <a:ext cx="957621" cy="957621"/>
            <a:chOff x="10419787" y="3520875"/>
            <a:chExt cx="1106530" cy="1106530"/>
          </a:xfrm>
        </p:grpSpPr>
        <p:sp>
          <p:nvSpPr>
            <p:cNvPr id="37" name="Oval 36"/>
            <p:cNvSpPr/>
            <p:nvPr/>
          </p:nvSpPr>
          <p:spPr bwMode="gray">
            <a:xfrm>
              <a:off x="10419787" y="3520875"/>
              <a:ext cx="1106530" cy="1106530"/>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10" name="Picture 9"/>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10482369" y="3583457"/>
              <a:ext cx="981366" cy="981366"/>
            </a:xfrm>
            <a:prstGeom prst="rect">
              <a:avLst/>
            </a:prstGeom>
          </p:spPr>
        </p:pic>
      </p:grpSp>
      <p:sp>
        <p:nvSpPr>
          <p:cNvPr id="14" name="TextBox 13"/>
          <p:cNvSpPr txBox="1"/>
          <p:nvPr/>
        </p:nvSpPr>
        <p:spPr>
          <a:xfrm flipH="1">
            <a:off x="8033216" y="3955133"/>
            <a:ext cx="774013" cy="276999"/>
          </a:xfrm>
          <a:prstGeom prst="rect">
            <a:avLst/>
          </a:prstGeom>
          <a:noFill/>
        </p:spPr>
        <p:txBody>
          <a:bodyPr wrap="square" rtlCol="0">
            <a:spAutoFit/>
          </a:bodyPr>
          <a:lstStyle/>
          <a:p>
            <a:pPr algn="ctr"/>
            <a:r>
              <a:rPr lang="en-US" sz="1200" dirty="0">
                <a:latin typeface="BentonSans Light" charset="0"/>
                <a:ea typeface="BentonSans Light" charset="0"/>
                <a:cs typeface="BentonSans Light" charset="0"/>
              </a:rPr>
              <a:t>Verifier</a:t>
            </a:r>
          </a:p>
        </p:txBody>
      </p:sp>
      <p:sp>
        <p:nvSpPr>
          <p:cNvPr id="68" name="Title 1"/>
          <p:cNvSpPr>
            <a:spLocks noGrp="1"/>
          </p:cNvSpPr>
          <p:nvPr>
            <p:ph type="title"/>
          </p:nvPr>
        </p:nvSpPr>
        <p:spPr>
          <a:xfrm>
            <a:off x="324000" y="324075"/>
            <a:ext cx="11545200" cy="756175"/>
          </a:xfrm>
        </p:spPr>
        <p:txBody>
          <a:bodyPr/>
          <a:lstStyle/>
          <a:p>
            <a:r>
              <a:rPr lang="en-US" dirty="0"/>
              <a:t>How </a:t>
            </a:r>
            <a:r>
              <a:rPr lang="en-US" dirty="0" err="1"/>
              <a:t>TrueRec</a:t>
            </a:r>
            <a:r>
              <a:rPr lang="en-US" dirty="0"/>
              <a:t> works </a:t>
            </a:r>
            <a:r>
              <a:rPr lang="mr-IN" dirty="0"/>
              <a:t>–</a:t>
            </a:r>
            <a:r>
              <a:rPr lang="en-US" dirty="0"/>
              <a:t> Example Employment Verification</a:t>
            </a:r>
          </a:p>
        </p:txBody>
      </p:sp>
      <p:pic>
        <p:nvPicPr>
          <p:cNvPr id="51" name="Picture 5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51442" y="4232132"/>
            <a:ext cx="668308" cy="512348"/>
          </a:xfrm>
          <a:prstGeom prst="rect">
            <a:avLst/>
          </a:prstGeom>
          <a:solidFill>
            <a:schemeClr val="tx1"/>
          </a:solidFill>
        </p:spPr>
      </p:pic>
      <p:pic>
        <p:nvPicPr>
          <p:cNvPr id="52" name="Picture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61800" y="3265444"/>
            <a:ext cx="647592" cy="647592"/>
          </a:xfrm>
          <a:prstGeom prst="rect">
            <a:avLst/>
          </a:prstGeom>
          <a:solidFill>
            <a:schemeClr val="tx1"/>
          </a:solidFill>
        </p:spPr>
      </p:pic>
      <p:pic>
        <p:nvPicPr>
          <p:cNvPr id="53" name="Picture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64911" y="2304978"/>
            <a:ext cx="641370" cy="641370"/>
          </a:xfrm>
          <a:prstGeom prst="rect">
            <a:avLst/>
          </a:prstGeom>
        </p:spPr>
      </p:pic>
      <p:pic>
        <p:nvPicPr>
          <p:cNvPr id="49" name="Picture 48"/>
          <p:cNvPicPr>
            <a:picLocks noChangeAspect="1"/>
          </p:cNvPicPr>
          <p:nvPr/>
        </p:nvPicPr>
        <p:blipFill>
          <a:blip r:embed="rId9" cstate="screen">
            <a:alphaModFix amt="35000"/>
            <a:extLst>
              <a:ext uri="{28A0092B-C50C-407E-A947-70E740481C1C}">
                <a14:useLocalDpi xmlns:a14="http://schemas.microsoft.com/office/drawing/2010/main"/>
              </a:ext>
            </a:extLst>
          </a:blip>
          <a:stretch>
            <a:fillRect/>
          </a:stretch>
        </p:blipFill>
        <p:spPr>
          <a:xfrm>
            <a:off x="5459680" y="4173099"/>
            <a:ext cx="455824" cy="456271"/>
          </a:xfrm>
          <a:prstGeom prst="rect">
            <a:avLst/>
          </a:prstGeom>
        </p:spPr>
      </p:pic>
      <p:pic>
        <p:nvPicPr>
          <p:cNvPr id="48" name="Picture 47"/>
          <p:cNvPicPr>
            <a:picLocks noChangeAspect="1"/>
          </p:cNvPicPr>
          <p:nvPr/>
        </p:nvPicPr>
        <p:blipFill>
          <a:blip r:embed="rId10">
            <a:alphaModFix amt="35000"/>
            <a:extLst>
              <a:ext uri="{28A0092B-C50C-407E-A947-70E740481C1C}">
                <a14:useLocalDpi xmlns:a14="http://schemas.microsoft.com/office/drawing/2010/main"/>
              </a:ext>
            </a:extLst>
          </a:blip>
          <a:stretch>
            <a:fillRect/>
          </a:stretch>
        </p:blipFill>
        <p:spPr>
          <a:xfrm>
            <a:off x="5529774" y="2669289"/>
            <a:ext cx="330978" cy="456271"/>
          </a:xfrm>
          <a:prstGeom prst="rect">
            <a:avLst/>
          </a:prstGeom>
        </p:spPr>
      </p:pic>
      <p:pic>
        <p:nvPicPr>
          <p:cNvPr id="50" name="Picture 49"/>
          <p:cNvPicPr>
            <a:picLocks noChangeAspect="1"/>
          </p:cNvPicPr>
          <p:nvPr/>
        </p:nvPicPr>
        <p:blipFill>
          <a:blip r:embed="rId11" cstate="screen">
            <a:alphaModFix amt="35000"/>
            <a:extLst>
              <a:ext uri="{28A0092B-C50C-407E-A947-70E740481C1C}">
                <a14:useLocalDpi xmlns:a14="http://schemas.microsoft.com/office/drawing/2010/main"/>
              </a:ext>
            </a:extLst>
          </a:blip>
          <a:stretch>
            <a:fillRect/>
          </a:stretch>
        </p:blipFill>
        <p:spPr>
          <a:xfrm>
            <a:off x="5459680" y="3429013"/>
            <a:ext cx="461158" cy="414567"/>
          </a:xfrm>
          <a:prstGeom prst="rect">
            <a:avLst/>
          </a:prstGeom>
        </p:spPr>
      </p:pic>
      <p:grpSp>
        <p:nvGrpSpPr>
          <p:cNvPr id="8" name="Group 7"/>
          <p:cNvGrpSpPr/>
          <p:nvPr/>
        </p:nvGrpSpPr>
        <p:grpSpPr>
          <a:xfrm>
            <a:off x="6760482" y="2844365"/>
            <a:ext cx="668984" cy="953304"/>
            <a:chOff x="6479937" y="3852283"/>
            <a:chExt cx="853729" cy="1216567"/>
          </a:xfrm>
        </p:grpSpPr>
        <p:grpSp>
          <p:nvGrpSpPr>
            <p:cNvPr id="42" name="Group 41"/>
            <p:cNvGrpSpPr/>
            <p:nvPr/>
          </p:nvGrpSpPr>
          <p:grpSpPr>
            <a:xfrm>
              <a:off x="6479937" y="4052239"/>
              <a:ext cx="853729" cy="1016611"/>
              <a:chOff x="4381271" y="3551611"/>
              <a:chExt cx="1151841" cy="1371600"/>
            </a:xfrm>
          </p:grpSpPr>
          <p:pic>
            <p:nvPicPr>
              <p:cNvPr id="43" name="Picture 4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81271" y="3551611"/>
                <a:ext cx="1151841" cy="1371600"/>
              </a:xfrm>
              <a:prstGeom prst="rect">
                <a:avLst/>
              </a:prstGeom>
              <a:solidFill>
                <a:schemeClr val="tx1"/>
              </a:solidFill>
            </p:spPr>
          </p:pic>
          <p:pic>
            <p:nvPicPr>
              <p:cNvPr id="44" name="Picture 43"/>
              <p:cNvPicPr>
                <a:picLocks noChangeAspect="1"/>
              </p:cNvPicPr>
              <p:nvPr/>
            </p:nvPicPr>
            <p:blipFill>
              <a:blip r:embed="rId13" cstate="screen">
                <a:grayscl/>
                <a:extLst>
                  <a:ext uri="{28A0092B-C50C-407E-A947-70E740481C1C}">
                    <a14:useLocalDpi xmlns:a14="http://schemas.microsoft.com/office/drawing/2010/main"/>
                  </a:ext>
                </a:extLst>
              </a:blip>
              <a:stretch>
                <a:fillRect/>
              </a:stretch>
            </p:blipFill>
            <p:spPr>
              <a:xfrm>
                <a:off x="4635482" y="3730574"/>
                <a:ext cx="269459" cy="269459"/>
              </a:xfrm>
              <a:prstGeom prst="rect">
                <a:avLst/>
              </a:prstGeom>
            </p:spPr>
          </p:pic>
        </p:grpSp>
        <p:pic>
          <p:nvPicPr>
            <p:cNvPr id="59" name="Picture 58"/>
            <p:cNvPicPr>
              <a:picLocks noChangeAspect="1"/>
            </p:cNvPicPr>
            <p:nvPr/>
          </p:nvPicPr>
          <p:blipFill>
            <a:blip r:embed="rId14" cstate="screen">
              <a:grayscl/>
              <a:extLst>
                <a:ext uri="{28A0092B-C50C-407E-A947-70E740481C1C}">
                  <a14:useLocalDpi xmlns:a14="http://schemas.microsoft.com/office/drawing/2010/main"/>
                </a:ext>
              </a:extLst>
            </a:blip>
            <a:stretch>
              <a:fillRect/>
            </a:stretch>
          </p:blipFill>
          <p:spPr>
            <a:xfrm>
              <a:off x="6838030" y="3852283"/>
              <a:ext cx="397369" cy="401342"/>
            </a:xfrm>
            <a:prstGeom prst="rect">
              <a:avLst/>
            </a:prstGeom>
          </p:spPr>
        </p:pic>
      </p:grpSp>
      <p:grpSp>
        <p:nvGrpSpPr>
          <p:cNvPr id="16" name="Group 15"/>
          <p:cNvGrpSpPr/>
          <p:nvPr/>
        </p:nvGrpSpPr>
        <p:grpSpPr>
          <a:xfrm>
            <a:off x="2946255" y="1499497"/>
            <a:ext cx="6197929" cy="493603"/>
            <a:chOff x="508483" y="1423325"/>
            <a:chExt cx="10936207" cy="773423"/>
          </a:xfrm>
          <a:solidFill>
            <a:schemeClr val="bg1"/>
          </a:solidFill>
        </p:grpSpPr>
        <p:pic>
          <p:nvPicPr>
            <p:cNvPr id="45" name="Picture 44"/>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849280" y="1594388"/>
              <a:ext cx="466673" cy="467130"/>
            </a:xfrm>
            <a:prstGeom prst="rect">
              <a:avLst/>
            </a:prstGeom>
            <a:grpFill/>
            <a:ln>
              <a:noFill/>
            </a:ln>
          </p:spPr>
        </p:pic>
        <p:pic>
          <p:nvPicPr>
            <p:cNvPr id="47" name="Picture 46"/>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652928" y="1594388"/>
              <a:ext cx="488287" cy="438955"/>
            </a:xfrm>
            <a:prstGeom prst="rect">
              <a:avLst/>
            </a:prstGeom>
            <a:grpFill/>
            <a:ln>
              <a:noFill/>
            </a:ln>
          </p:spPr>
        </p:pic>
        <p:grpSp>
          <p:nvGrpSpPr>
            <p:cNvPr id="3" name="Group 2"/>
            <p:cNvGrpSpPr/>
            <p:nvPr/>
          </p:nvGrpSpPr>
          <p:grpSpPr>
            <a:xfrm>
              <a:off x="508483" y="1423325"/>
              <a:ext cx="10936207" cy="773423"/>
              <a:chOff x="552379" y="1454994"/>
              <a:chExt cx="9807893" cy="693627"/>
            </a:xfrm>
            <a:grpFill/>
          </p:grpSpPr>
          <p:grpSp>
            <p:nvGrpSpPr>
              <p:cNvPr id="109" name="Group 108"/>
              <p:cNvGrpSpPr/>
              <p:nvPr/>
            </p:nvGrpSpPr>
            <p:grpSpPr>
              <a:xfrm>
                <a:off x="552379" y="1454994"/>
                <a:ext cx="9142985" cy="693627"/>
                <a:chOff x="308749" y="1430475"/>
                <a:chExt cx="7851842" cy="693627"/>
              </a:xfrm>
              <a:grpFill/>
            </p:grpSpPr>
            <p:sp>
              <p:nvSpPr>
                <p:cNvPr id="81" name="Rounded Rectangle 80"/>
                <p:cNvSpPr/>
                <p:nvPr/>
              </p:nvSpPr>
              <p:spPr>
                <a:xfrm>
                  <a:off x="308749" y="1437171"/>
                  <a:ext cx="952315" cy="682737"/>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82" name="Rounded Rectangle 81"/>
                <p:cNvSpPr/>
                <p:nvPr/>
              </p:nvSpPr>
              <p:spPr>
                <a:xfrm>
                  <a:off x="1674432" y="1438875"/>
                  <a:ext cx="952315" cy="682736"/>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83" name="Rounded Rectangle 82"/>
                <p:cNvSpPr/>
                <p:nvPr/>
              </p:nvSpPr>
              <p:spPr>
                <a:xfrm>
                  <a:off x="3077572" y="1441365"/>
                  <a:ext cx="952315" cy="682737"/>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84" name="Rounded Rectangle 83"/>
                <p:cNvSpPr/>
                <p:nvPr/>
              </p:nvSpPr>
              <p:spPr>
                <a:xfrm>
                  <a:off x="4443255" y="1430475"/>
                  <a:ext cx="952315" cy="682737"/>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85" name="Rounded Rectangle 84"/>
                <p:cNvSpPr/>
                <p:nvPr/>
              </p:nvSpPr>
              <p:spPr>
                <a:xfrm>
                  <a:off x="5808938" y="1432180"/>
                  <a:ext cx="952315" cy="682737"/>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86" name="Rounded Rectangle 85"/>
                <p:cNvSpPr/>
                <p:nvPr/>
              </p:nvSpPr>
              <p:spPr>
                <a:xfrm>
                  <a:off x="7208276" y="1434792"/>
                  <a:ext cx="952315" cy="682737"/>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charset="0"/>
                    <a:ea typeface="Calibri" charset="0"/>
                    <a:cs typeface="Calibri" charset="0"/>
                  </a:endParaRPr>
                </a:p>
              </p:txBody>
            </p:sp>
          </p:grpSp>
          <p:grpSp>
            <p:nvGrpSpPr>
              <p:cNvPr id="60" name="Group 59"/>
              <p:cNvGrpSpPr/>
              <p:nvPr/>
            </p:nvGrpSpPr>
            <p:grpSpPr>
              <a:xfrm>
                <a:off x="1522923" y="1770291"/>
                <a:ext cx="8837349" cy="85304"/>
                <a:chOff x="412074" y="1430484"/>
                <a:chExt cx="7589367" cy="545120"/>
              </a:xfrm>
              <a:grpFill/>
            </p:grpSpPr>
            <p:sp>
              <p:nvSpPr>
                <p:cNvPr id="61" name="Rounded Rectangle 60"/>
                <p:cNvSpPr/>
                <p:nvPr/>
              </p:nvSpPr>
              <p:spPr>
                <a:xfrm>
                  <a:off x="412074" y="1437168"/>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62" name="Rounded Rectangle 61"/>
                <p:cNvSpPr/>
                <p:nvPr/>
              </p:nvSpPr>
              <p:spPr>
                <a:xfrm>
                  <a:off x="1777756" y="1438874"/>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63" name="Rounded Rectangle 62"/>
                <p:cNvSpPr/>
                <p:nvPr/>
              </p:nvSpPr>
              <p:spPr>
                <a:xfrm>
                  <a:off x="3180897" y="1441366"/>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64" name="Rounded Rectangle 63"/>
                <p:cNvSpPr/>
                <p:nvPr/>
              </p:nvSpPr>
              <p:spPr>
                <a:xfrm>
                  <a:off x="4546580" y="1430484"/>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65" name="Rounded Rectangle 64"/>
                <p:cNvSpPr/>
                <p:nvPr/>
              </p:nvSpPr>
              <p:spPr>
                <a:xfrm>
                  <a:off x="5912263" y="1432183"/>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sp>
              <p:nvSpPr>
                <p:cNvPr id="66" name="Rounded Rectangle 65"/>
                <p:cNvSpPr/>
                <p:nvPr/>
              </p:nvSpPr>
              <p:spPr>
                <a:xfrm>
                  <a:off x="7311601" y="1434797"/>
                  <a:ext cx="689840" cy="534238"/>
                </a:xfrm>
                <a:prstGeom prst="roundRect">
                  <a:avLst/>
                </a:prstGeom>
                <a:grpFill/>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latin typeface="Calibri" charset="0"/>
                    <a:ea typeface="Calibri" charset="0"/>
                    <a:cs typeface="Calibri" charset="0"/>
                  </a:endParaRPr>
                </a:p>
              </p:txBody>
            </p:sp>
          </p:grpSp>
        </p:grpSp>
      </p:grpSp>
      <p:grpSp>
        <p:nvGrpSpPr>
          <p:cNvPr id="15" name="Group 14"/>
          <p:cNvGrpSpPr/>
          <p:nvPr/>
        </p:nvGrpSpPr>
        <p:grpSpPr>
          <a:xfrm>
            <a:off x="4029135" y="2692798"/>
            <a:ext cx="696017" cy="1819017"/>
            <a:chOff x="2138771" y="3864246"/>
            <a:chExt cx="1237736" cy="1819017"/>
          </a:xfrm>
        </p:grpSpPr>
        <p:cxnSp>
          <p:nvCxnSpPr>
            <p:cNvPr id="72" name="Straight Connector 71"/>
            <p:cNvCxnSpPr/>
            <p:nvPr/>
          </p:nvCxnSpPr>
          <p:spPr>
            <a:xfrm flipV="1">
              <a:off x="2177000" y="3864246"/>
              <a:ext cx="1199507" cy="5404"/>
            </a:xfrm>
            <a:prstGeom prst="line">
              <a:avLst/>
            </a:prstGeom>
            <a:ln w="5715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2138771" y="4805587"/>
              <a:ext cx="1199507" cy="5404"/>
            </a:xfrm>
            <a:prstGeom prst="line">
              <a:avLst/>
            </a:prstGeom>
            <a:ln w="5715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2138772" y="5677859"/>
              <a:ext cx="1199507" cy="5404"/>
            </a:xfrm>
            <a:prstGeom prst="line">
              <a:avLst/>
            </a:prstGeom>
            <a:ln w="5715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6045220" y="4482902"/>
            <a:ext cx="632839" cy="632839"/>
            <a:chOff x="6978322" y="1461099"/>
            <a:chExt cx="1519573" cy="1519573"/>
          </a:xfrm>
        </p:grpSpPr>
        <p:sp>
          <p:nvSpPr>
            <p:cNvPr id="55" name="Oval 54"/>
            <p:cNvSpPr/>
            <p:nvPr/>
          </p:nvSpPr>
          <p:spPr bwMode="gray">
            <a:xfrm>
              <a:off x="6978322" y="1461099"/>
              <a:ext cx="1519573" cy="1519573"/>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6" name="Picture 55"/>
            <p:cNvPicPr>
              <a:picLocks noChangeAspect="1"/>
            </p:cNvPicPr>
            <p:nvPr/>
          </p:nvPicPr>
          <p:blipFill>
            <a:blip r:embed="rId17" cstate="screen">
              <a:grayscl/>
              <a:extLst>
                <a:ext uri="{28A0092B-C50C-407E-A947-70E740481C1C}">
                  <a14:useLocalDpi xmlns:a14="http://schemas.microsoft.com/office/drawing/2010/main"/>
                </a:ext>
              </a:extLst>
            </a:blip>
            <a:stretch>
              <a:fillRect/>
            </a:stretch>
          </p:blipFill>
          <p:spPr>
            <a:xfrm>
              <a:off x="7047747" y="1530524"/>
              <a:ext cx="1371600" cy="1371600"/>
            </a:xfrm>
            <a:prstGeom prst="rect">
              <a:avLst/>
            </a:prstGeom>
          </p:spPr>
        </p:pic>
      </p:grpSp>
      <p:sp>
        <p:nvSpPr>
          <p:cNvPr id="2" name="TextBox 1"/>
          <p:cNvSpPr txBox="1"/>
          <p:nvPr/>
        </p:nvSpPr>
        <p:spPr>
          <a:xfrm>
            <a:off x="3101000" y="2980339"/>
            <a:ext cx="647613" cy="18466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kern="0" dirty="0">
                <a:solidFill>
                  <a:schemeClr val="bg1"/>
                </a:solidFill>
                <a:latin typeface="BentonSans" charset="0"/>
                <a:ea typeface="BentonSans" charset="0"/>
                <a:cs typeface="BentonSans" charset="0"/>
              </a:rPr>
              <a:t>Employer</a:t>
            </a:r>
          </a:p>
        </p:txBody>
      </p:sp>
      <p:sp>
        <p:nvSpPr>
          <p:cNvPr id="57" name="TextBox 56"/>
          <p:cNvSpPr txBox="1"/>
          <p:nvPr/>
        </p:nvSpPr>
        <p:spPr>
          <a:xfrm>
            <a:off x="3061962" y="3913036"/>
            <a:ext cx="719749" cy="18466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200" kern="0" dirty="0">
                <a:latin typeface="BentonSans" charset="0"/>
                <a:ea typeface="BentonSans" charset="0"/>
                <a:cs typeface="BentonSans" charset="0"/>
              </a:rPr>
              <a:t>University</a:t>
            </a:r>
          </a:p>
        </p:txBody>
      </p:sp>
      <p:sp>
        <p:nvSpPr>
          <p:cNvPr id="67" name="TextBox 66"/>
          <p:cNvSpPr txBox="1"/>
          <p:nvPr/>
        </p:nvSpPr>
        <p:spPr>
          <a:xfrm>
            <a:off x="2883054" y="4753400"/>
            <a:ext cx="1005083" cy="184666"/>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is-IS" sz="1200" kern="0">
                <a:latin typeface="BentonSans" charset="0"/>
                <a:ea typeface="BentonSans" charset="0"/>
                <a:cs typeface="BentonSans" charset="0"/>
              </a:rPr>
              <a:t>Online Course</a:t>
            </a:r>
            <a:endParaRPr lang="en-US" sz="1200" kern="0" dirty="0">
              <a:latin typeface="BentonSans" charset="0"/>
              <a:ea typeface="BentonSans" charset="0"/>
              <a:cs typeface="BentonSans" charset="0"/>
            </a:endParaRPr>
          </a:p>
        </p:txBody>
      </p:sp>
      <p:pic>
        <p:nvPicPr>
          <p:cNvPr id="69" name="Picture 68"/>
          <p:cNvPicPr>
            <a:picLocks noChangeAspect="1"/>
          </p:cNvPicPr>
          <p:nvPr/>
        </p:nvPicPr>
        <p:blipFill>
          <a:blip r:embed="rId18" cstate="screen">
            <a:alphaModFix amt="35000"/>
            <a:extLst>
              <a:ext uri="{28A0092B-C50C-407E-A947-70E740481C1C}">
                <a14:useLocalDpi xmlns:a14="http://schemas.microsoft.com/office/drawing/2010/main"/>
              </a:ext>
            </a:extLst>
          </a:blip>
          <a:stretch>
            <a:fillRect/>
          </a:stretch>
        </p:blipFill>
        <p:spPr>
          <a:xfrm>
            <a:off x="6780960" y="3871772"/>
            <a:ext cx="254333" cy="254582"/>
          </a:xfrm>
          <a:prstGeom prst="rect">
            <a:avLst/>
          </a:prstGeom>
          <a:solidFill>
            <a:schemeClr val="tx1"/>
          </a:solidFill>
        </p:spPr>
      </p:pic>
      <p:pic>
        <p:nvPicPr>
          <p:cNvPr id="70" name="Picture 69"/>
          <p:cNvPicPr>
            <a:picLocks noChangeAspect="1"/>
          </p:cNvPicPr>
          <p:nvPr/>
        </p:nvPicPr>
        <p:blipFill>
          <a:blip r:embed="rId19" cstate="screen">
            <a:alphaModFix amt="35000"/>
            <a:extLst>
              <a:ext uri="{28A0092B-C50C-407E-A947-70E740481C1C}">
                <a14:useLocalDpi xmlns:a14="http://schemas.microsoft.com/office/drawing/2010/main"/>
              </a:ext>
            </a:extLst>
          </a:blip>
          <a:stretch>
            <a:fillRect/>
          </a:stretch>
        </p:blipFill>
        <p:spPr>
          <a:xfrm>
            <a:off x="7062499" y="3888955"/>
            <a:ext cx="183812" cy="253394"/>
          </a:xfrm>
          <a:prstGeom prst="rect">
            <a:avLst/>
          </a:prstGeom>
          <a:solidFill>
            <a:schemeClr val="tx1"/>
          </a:solidFill>
        </p:spPr>
      </p:pic>
      <p:pic>
        <p:nvPicPr>
          <p:cNvPr id="71" name="Picture 70"/>
          <p:cNvPicPr>
            <a:picLocks noChangeAspect="1"/>
          </p:cNvPicPr>
          <p:nvPr/>
        </p:nvPicPr>
        <p:blipFill>
          <a:blip r:embed="rId20" cstate="screen">
            <a:alphaModFix amt="35000"/>
            <a:extLst>
              <a:ext uri="{28A0092B-C50C-407E-A947-70E740481C1C}">
                <a14:useLocalDpi xmlns:a14="http://schemas.microsoft.com/office/drawing/2010/main"/>
              </a:ext>
            </a:extLst>
          </a:blip>
          <a:stretch>
            <a:fillRect/>
          </a:stretch>
        </p:blipFill>
        <p:spPr>
          <a:xfrm>
            <a:off x="7281641" y="3874575"/>
            <a:ext cx="262373" cy="235866"/>
          </a:xfrm>
          <a:prstGeom prst="rect">
            <a:avLst/>
          </a:prstGeom>
          <a:solidFill>
            <a:schemeClr val="tx1"/>
          </a:solidFill>
        </p:spPr>
      </p:pic>
      <p:sp>
        <p:nvSpPr>
          <p:cNvPr id="4" name="Rectangle 3"/>
          <p:cNvSpPr/>
          <p:nvPr/>
        </p:nvSpPr>
        <p:spPr>
          <a:xfrm>
            <a:off x="443065" y="2535912"/>
            <a:ext cx="2432174" cy="156966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r>
              <a:rPr lang="en-US" sz="1600" dirty="0">
                <a:solidFill>
                  <a:schemeClr val="tx1"/>
                </a:solidFill>
                <a:latin typeface="BentonSans" charset="0"/>
                <a:ea typeface="BentonSans" charset="0"/>
                <a:cs typeface="BentonSans" charset="0"/>
              </a:rPr>
              <a:t>When a credential gets added, the fingerprint will be added to the </a:t>
            </a:r>
            <a:r>
              <a:rPr lang="en-US" sz="1600" dirty="0" err="1">
                <a:solidFill>
                  <a:schemeClr val="tx1"/>
                </a:solidFill>
                <a:latin typeface="BentonSans" charset="0"/>
                <a:ea typeface="BentonSans" charset="0"/>
                <a:cs typeface="BentonSans" charset="0"/>
              </a:rPr>
              <a:t>blockchain</a:t>
            </a:r>
            <a:r>
              <a:rPr lang="en-US" sz="1600" dirty="0">
                <a:solidFill>
                  <a:schemeClr val="tx1"/>
                </a:solidFill>
                <a:latin typeface="BentonSans" charset="0"/>
                <a:ea typeface="BentonSans" charset="0"/>
                <a:cs typeface="BentonSans" charset="0"/>
              </a:rPr>
              <a:t> &amp; the document will be sent to the individual.</a:t>
            </a:r>
          </a:p>
        </p:txBody>
      </p:sp>
      <p:grpSp>
        <p:nvGrpSpPr>
          <p:cNvPr id="94" name="Group 93"/>
          <p:cNvGrpSpPr/>
          <p:nvPr/>
        </p:nvGrpSpPr>
        <p:grpSpPr>
          <a:xfrm>
            <a:off x="51111" y="2072168"/>
            <a:ext cx="614722" cy="621571"/>
            <a:chOff x="1695655" y="4521198"/>
            <a:chExt cx="656781" cy="664099"/>
          </a:xfrm>
        </p:grpSpPr>
        <p:sp>
          <p:nvSpPr>
            <p:cNvPr id="95" name="Oval 94"/>
            <p:cNvSpPr>
              <a:spLocks noChangeAspect="1"/>
            </p:cNvSpPr>
            <p:nvPr/>
          </p:nvSpPr>
          <p:spPr>
            <a:xfrm>
              <a:off x="1695655" y="4521198"/>
              <a:ext cx="656781" cy="664099"/>
            </a:xfrm>
            <a:prstGeom prst="ellipse">
              <a:avLst/>
            </a:prstGeom>
            <a:solidFill>
              <a:srgbClr val="FF9A0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1" dirty="0">
                <a:ln w="0"/>
                <a:solidFill>
                  <a:srgbClr val="FF9A0F"/>
                </a:solidFill>
                <a:effectLst>
                  <a:outerShdw blurRad="38100" dist="25400" dir="5400000" algn="ctr" rotWithShape="0">
                    <a:srgbClr val="6E747A">
                      <a:alpha val="43000"/>
                    </a:srgbClr>
                  </a:outerShdw>
                </a:effectLst>
                <a:latin typeface="Playfair Display" charset="0"/>
                <a:ea typeface="Playfair Display" charset="0"/>
                <a:cs typeface="Playfair Display" charset="0"/>
              </a:endParaRPr>
            </a:p>
          </p:txBody>
        </p:sp>
        <p:sp>
          <p:nvSpPr>
            <p:cNvPr id="96" name="TextBox 95"/>
            <p:cNvSpPr txBox="1"/>
            <p:nvPr/>
          </p:nvSpPr>
          <p:spPr>
            <a:xfrm>
              <a:off x="1839159" y="4569434"/>
              <a:ext cx="345626" cy="553998"/>
            </a:xfrm>
            <a:prstGeom prst="rect">
              <a:avLst/>
            </a:prstGeom>
            <a:noFill/>
          </p:spPr>
          <p:txBody>
            <a:bodyPr wrap="square" rtlCol="0">
              <a:spAutoFit/>
            </a:bodyPr>
            <a:lstStyle/>
            <a:p>
              <a:r>
                <a:rPr lang="en-US" sz="3000" b="1" dirty="0">
                  <a:solidFill>
                    <a:schemeClr val="bg1"/>
                  </a:solidFill>
                  <a:latin typeface="BentonSans" charset="0"/>
                  <a:ea typeface="BentonSans" charset="0"/>
                  <a:cs typeface="BentonSans" charset="0"/>
                </a:rPr>
                <a:t>1</a:t>
              </a:r>
            </a:p>
          </p:txBody>
        </p:sp>
      </p:grpSp>
      <p:sp>
        <p:nvSpPr>
          <p:cNvPr id="98" name="Rounded Rectangle 97"/>
          <p:cNvSpPr/>
          <p:nvPr/>
        </p:nvSpPr>
        <p:spPr bwMode="gray">
          <a:xfrm>
            <a:off x="5015135" y="5180131"/>
            <a:ext cx="3504732" cy="1038829"/>
          </a:xfrm>
          <a:prstGeom prst="roundRect">
            <a:avLst>
              <a:gd name="adj" fmla="val 17214"/>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99" name="Group 98"/>
          <p:cNvGrpSpPr/>
          <p:nvPr/>
        </p:nvGrpSpPr>
        <p:grpSpPr>
          <a:xfrm>
            <a:off x="4651946" y="5073076"/>
            <a:ext cx="614722" cy="621571"/>
            <a:chOff x="1695655" y="4521198"/>
            <a:chExt cx="656781" cy="664099"/>
          </a:xfrm>
        </p:grpSpPr>
        <p:sp>
          <p:nvSpPr>
            <p:cNvPr id="100" name="Oval 99"/>
            <p:cNvSpPr>
              <a:spLocks noChangeAspect="1"/>
            </p:cNvSpPr>
            <p:nvPr/>
          </p:nvSpPr>
          <p:spPr>
            <a:xfrm>
              <a:off x="1695655" y="4521198"/>
              <a:ext cx="656781" cy="664099"/>
            </a:xfrm>
            <a:prstGeom prst="ellipse">
              <a:avLst/>
            </a:prstGeom>
            <a:solidFill>
              <a:srgbClr val="FF9A0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1" dirty="0">
                <a:ln w="0"/>
                <a:solidFill>
                  <a:srgbClr val="FF9A0F"/>
                </a:solidFill>
                <a:effectLst>
                  <a:outerShdw blurRad="38100" dist="25400" dir="5400000" algn="ctr" rotWithShape="0">
                    <a:srgbClr val="6E747A">
                      <a:alpha val="43000"/>
                    </a:srgbClr>
                  </a:outerShdw>
                </a:effectLst>
                <a:latin typeface="Playfair Display" charset="0"/>
                <a:ea typeface="Playfair Display" charset="0"/>
                <a:cs typeface="Playfair Display" charset="0"/>
              </a:endParaRPr>
            </a:p>
          </p:txBody>
        </p:sp>
        <p:sp>
          <p:nvSpPr>
            <p:cNvPr id="101" name="TextBox 100"/>
            <p:cNvSpPr txBox="1"/>
            <p:nvPr/>
          </p:nvSpPr>
          <p:spPr>
            <a:xfrm>
              <a:off x="1839159" y="4569434"/>
              <a:ext cx="345626" cy="591903"/>
            </a:xfrm>
            <a:prstGeom prst="rect">
              <a:avLst/>
            </a:prstGeom>
            <a:noFill/>
          </p:spPr>
          <p:txBody>
            <a:bodyPr wrap="square" rtlCol="0">
              <a:spAutoFit/>
            </a:bodyPr>
            <a:lstStyle/>
            <a:p>
              <a:r>
                <a:rPr lang="en-US" sz="3000" b="1" dirty="0">
                  <a:solidFill>
                    <a:schemeClr val="bg1"/>
                  </a:solidFill>
                  <a:latin typeface="BentonSans" charset="0"/>
                  <a:ea typeface="BentonSans" charset="0"/>
                  <a:cs typeface="BentonSans" charset="0"/>
                </a:rPr>
                <a:t>2</a:t>
              </a:r>
            </a:p>
          </p:txBody>
        </p:sp>
      </p:grpSp>
      <p:sp>
        <p:nvSpPr>
          <p:cNvPr id="6" name="Rectangle 5"/>
          <p:cNvSpPr/>
          <p:nvPr/>
        </p:nvSpPr>
        <p:spPr>
          <a:xfrm>
            <a:off x="5307438" y="5300160"/>
            <a:ext cx="3295557" cy="830997"/>
          </a:xfrm>
          <a:prstGeom prst="rect">
            <a:avLst/>
          </a:prstGeom>
        </p:spPr>
        <p:txBody>
          <a:bodyPr wrap="square">
            <a:spAutoFit/>
          </a:bodyPr>
          <a:lstStyle/>
          <a:p>
            <a:r>
              <a:rPr lang="en-US" sz="1600" dirty="0">
                <a:latin typeface="BentonSans" charset="0"/>
                <a:ea typeface="BentonSans" charset="0"/>
                <a:cs typeface="BentonSans" charset="0"/>
              </a:rPr>
              <a:t>The individual has all his credentials in the </a:t>
            </a:r>
            <a:r>
              <a:rPr lang="en-US" sz="1600" dirty="0" err="1">
                <a:latin typeface="BentonSans" charset="0"/>
                <a:ea typeface="BentonSans" charset="0"/>
                <a:cs typeface="BentonSans" charset="0"/>
              </a:rPr>
              <a:t>TrueRec</a:t>
            </a:r>
            <a:r>
              <a:rPr lang="en-US" sz="1600" dirty="0">
                <a:latin typeface="BentonSans" charset="0"/>
                <a:ea typeface="BentonSans" charset="0"/>
                <a:cs typeface="BentonSans" charset="0"/>
              </a:rPr>
              <a:t> app and can share them with verifiers</a:t>
            </a:r>
          </a:p>
        </p:txBody>
      </p:sp>
      <p:grpSp>
        <p:nvGrpSpPr>
          <p:cNvPr id="17" name="Group 16"/>
          <p:cNvGrpSpPr/>
          <p:nvPr/>
        </p:nvGrpSpPr>
        <p:grpSpPr>
          <a:xfrm>
            <a:off x="8041204" y="2231626"/>
            <a:ext cx="976781" cy="640832"/>
            <a:chOff x="5993198" y="3017928"/>
            <a:chExt cx="1222845" cy="861649"/>
          </a:xfrm>
        </p:grpSpPr>
        <p:pic>
          <p:nvPicPr>
            <p:cNvPr id="102" name="Picture 101"/>
            <p:cNvPicPr>
              <a:picLocks noChangeAspect="1"/>
            </p:cNvPicPr>
            <p:nvPr/>
          </p:nvPicPr>
          <p:blipFill>
            <a:blip r:embed="rId21" cstate="screen">
              <a:duotone>
                <a:schemeClr val="accent1">
                  <a:shade val="45000"/>
                  <a:satMod val="135000"/>
                </a:schemeClr>
                <a:prstClr val="white"/>
              </a:duotone>
              <a:alphaModFix amt="50000"/>
              <a:extLst>
                <a:ext uri="{28A0092B-C50C-407E-A947-70E740481C1C}">
                  <a14:useLocalDpi xmlns:a14="http://schemas.microsoft.com/office/drawing/2010/main"/>
                </a:ext>
              </a:extLst>
            </a:blip>
            <a:stretch>
              <a:fillRect/>
            </a:stretch>
          </p:blipFill>
          <p:spPr>
            <a:xfrm>
              <a:off x="5993198" y="3376657"/>
              <a:ext cx="372611" cy="502920"/>
            </a:xfrm>
            <a:prstGeom prst="rect">
              <a:avLst/>
            </a:prstGeom>
          </p:spPr>
        </p:pic>
        <p:sp>
          <p:nvSpPr>
            <p:cNvPr id="103" name="Title 1"/>
            <p:cNvSpPr txBox="1">
              <a:spLocks/>
            </p:cNvSpPr>
            <p:nvPr/>
          </p:nvSpPr>
          <p:spPr bwMode="gray">
            <a:xfrm>
              <a:off x="6486338" y="3017928"/>
              <a:ext cx="210174" cy="756175"/>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sz="2400" dirty="0">
                  <a:solidFill>
                    <a:schemeClr val="accent1"/>
                  </a:solidFill>
                  <a:latin typeface="BentonSans" charset="0"/>
                  <a:ea typeface="BentonSans" charset="0"/>
                  <a:cs typeface="BentonSans" charset="0"/>
                </a:rPr>
                <a:t>?</a:t>
              </a:r>
            </a:p>
            <a:p>
              <a:r>
                <a:rPr lang="en-US" sz="2400" dirty="0">
                  <a:solidFill>
                    <a:schemeClr val="bg1">
                      <a:lumMod val="50000"/>
                    </a:schemeClr>
                  </a:solidFill>
                  <a:latin typeface="BentonSans" charset="0"/>
                  <a:ea typeface="BentonSans" charset="0"/>
                  <a:cs typeface="BentonSans" charset="0"/>
                </a:rPr>
                <a:t>=</a:t>
              </a:r>
              <a:endParaRPr lang="en-US" sz="2400" dirty="0">
                <a:latin typeface="BentonSans" charset="0"/>
                <a:ea typeface="BentonSans" charset="0"/>
                <a:cs typeface="BentonSans" charset="0"/>
              </a:endParaRPr>
            </a:p>
          </p:txBody>
        </p:sp>
        <p:sp>
          <p:nvSpPr>
            <p:cNvPr id="104" name="Rectangle 103"/>
            <p:cNvSpPr/>
            <p:nvPr/>
          </p:nvSpPr>
          <p:spPr bwMode="gray">
            <a:xfrm>
              <a:off x="6799629" y="3383890"/>
              <a:ext cx="416414" cy="495687"/>
            </a:xfrm>
            <a:prstGeom prst="rect">
              <a:avLst/>
            </a:prstGeom>
            <a:solidFill>
              <a:srgbClr val="FFFFFF"/>
            </a:solidFill>
            <a:ln w="12700" algn="ctr">
              <a:solidFill>
                <a:schemeClr val="accent1"/>
              </a:solidFill>
              <a:prstDash val="sysDot"/>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nvGrpSpPr>
          <p:cNvPr id="107" name="Group 106"/>
          <p:cNvGrpSpPr/>
          <p:nvPr/>
        </p:nvGrpSpPr>
        <p:grpSpPr>
          <a:xfrm>
            <a:off x="11287629" y="2004092"/>
            <a:ext cx="614722" cy="621571"/>
            <a:chOff x="1695655" y="4521198"/>
            <a:chExt cx="656781" cy="664099"/>
          </a:xfrm>
        </p:grpSpPr>
        <p:sp>
          <p:nvSpPr>
            <p:cNvPr id="108" name="Oval 107"/>
            <p:cNvSpPr>
              <a:spLocks noChangeAspect="1"/>
            </p:cNvSpPr>
            <p:nvPr/>
          </p:nvSpPr>
          <p:spPr>
            <a:xfrm>
              <a:off x="1695655" y="4521198"/>
              <a:ext cx="656781" cy="664099"/>
            </a:xfrm>
            <a:prstGeom prst="ellipse">
              <a:avLst/>
            </a:prstGeom>
            <a:solidFill>
              <a:srgbClr val="FF9A0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1" dirty="0">
                <a:ln w="0"/>
                <a:solidFill>
                  <a:srgbClr val="FF9A0F"/>
                </a:solidFill>
                <a:effectLst>
                  <a:outerShdw blurRad="38100" dist="25400" dir="5400000" algn="ctr" rotWithShape="0">
                    <a:srgbClr val="6E747A">
                      <a:alpha val="43000"/>
                    </a:srgbClr>
                  </a:outerShdw>
                </a:effectLst>
                <a:latin typeface="Playfair Display" charset="0"/>
                <a:ea typeface="Playfair Display" charset="0"/>
                <a:cs typeface="Playfair Display" charset="0"/>
              </a:endParaRPr>
            </a:p>
          </p:txBody>
        </p:sp>
        <p:sp>
          <p:nvSpPr>
            <p:cNvPr id="110" name="TextBox 109"/>
            <p:cNvSpPr txBox="1"/>
            <p:nvPr/>
          </p:nvSpPr>
          <p:spPr>
            <a:xfrm>
              <a:off x="1781769" y="4576647"/>
              <a:ext cx="345626" cy="591903"/>
            </a:xfrm>
            <a:prstGeom prst="rect">
              <a:avLst/>
            </a:prstGeom>
            <a:noFill/>
          </p:spPr>
          <p:txBody>
            <a:bodyPr wrap="square" rtlCol="0">
              <a:spAutoFit/>
            </a:bodyPr>
            <a:lstStyle/>
            <a:p>
              <a:r>
                <a:rPr lang="en-US" sz="3000" b="1" dirty="0">
                  <a:solidFill>
                    <a:schemeClr val="bg1"/>
                  </a:solidFill>
                  <a:latin typeface="BentonSans" charset="0"/>
                  <a:ea typeface="BentonSans" charset="0"/>
                  <a:cs typeface="BentonSans" charset="0"/>
                </a:rPr>
                <a:t>3</a:t>
              </a:r>
            </a:p>
          </p:txBody>
        </p:sp>
      </p:grpSp>
      <p:sp>
        <p:nvSpPr>
          <p:cNvPr id="20" name="TextBox 19"/>
          <p:cNvSpPr txBox="1"/>
          <p:nvPr/>
        </p:nvSpPr>
        <p:spPr>
          <a:xfrm>
            <a:off x="9115269" y="5854158"/>
            <a:ext cx="3011734" cy="55399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200" kern="0" dirty="0">
                <a:ea typeface="Arial Unicode MS" pitchFamily="34" charset="-128"/>
                <a:cs typeface="Arial Unicode MS" pitchFamily="34" charset="-128"/>
              </a:rPr>
              <a:t>* Right now on public blockchain (</a:t>
            </a:r>
            <a:r>
              <a:rPr lang="en-US" sz="1200" kern="0" dirty="0" err="1">
                <a:ea typeface="Arial Unicode MS" pitchFamily="34" charset="-128"/>
                <a:cs typeface="Arial Unicode MS" pitchFamily="34" charset="-128"/>
              </a:rPr>
              <a:t>ethereum</a:t>
            </a:r>
            <a:r>
              <a:rPr lang="en-US" sz="1200" kern="0" dirty="0">
                <a:ea typeface="Arial Unicode MS" pitchFamily="34" charset="-128"/>
                <a:cs typeface="Arial Unicode MS" pitchFamily="34" charset="-128"/>
              </a:rPr>
              <a:t>), other blockchains are in discussion</a:t>
            </a:r>
          </a:p>
        </p:txBody>
      </p:sp>
      <p:pic>
        <p:nvPicPr>
          <p:cNvPr id="76" name="Picture 75"/>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3164394" y="1593360"/>
            <a:ext cx="264480" cy="298125"/>
          </a:xfrm>
          <a:prstGeom prst="rect">
            <a:avLst/>
          </a:prstGeom>
          <a:noFill/>
          <a:ln>
            <a:noFill/>
          </a:ln>
        </p:spPr>
      </p:pic>
      <p:pic>
        <p:nvPicPr>
          <p:cNvPr id="77" name="Picture 76"/>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190857" y="1582726"/>
            <a:ext cx="276729" cy="280144"/>
          </a:xfrm>
          <a:prstGeom prst="rect">
            <a:avLst/>
          </a:prstGeom>
          <a:noFill/>
          <a:ln>
            <a:noFill/>
          </a:ln>
        </p:spPr>
      </p:pic>
      <p:sp>
        <p:nvSpPr>
          <p:cNvPr id="78" name="TextBox 77"/>
          <p:cNvSpPr txBox="1"/>
          <p:nvPr/>
        </p:nvSpPr>
        <p:spPr>
          <a:xfrm>
            <a:off x="8245909" y="1523558"/>
            <a:ext cx="3011734" cy="615553"/>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4000" kern="0" dirty="0">
                <a:ea typeface="Arial Unicode MS" pitchFamily="34" charset="-128"/>
                <a:cs typeface="Arial Unicode MS" pitchFamily="34" charset="-128"/>
              </a:rPr>
              <a:t>*</a:t>
            </a:r>
          </a:p>
        </p:txBody>
      </p:sp>
    </p:spTree>
    <p:extLst>
      <p:ext uri="{BB962C8B-B14F-4D97-AF65-F5344CB8AC3E}">
        <p14:creationId xmlns:p14="http://schemas.microsoft.com/office/powerpoint/2010/main" val="291464179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79104" y="1781101"/>
            <a:ext cx="4837542" cy="3812193"/>
          </a:xfrm>
          <a:prstGeom prst="rect">
            <a:avLst/>
          </a:prstGeom>
        </p:spPr>
      </p:pic>
      <p:sp>
        <p:nvSpPr>
          <p:cNvPr id="4" name="Title 3"/>
          <p:cNvSpPr>
            <a:spLocks noGrp="1"/>
          </p:cNvSpPr>
          <p:nvPr>
            <p:ph type="title"/>
          </p:nvPr>
        </p:nvSpPr>
        <p:spPr>
          <a:xfrm>
            <a:off x="482735" y="504794"/>
            <a:ext cx="11186476" cy="369332"/>
          </a:xfrm>
        </p:spPr>
        <p:txBody>
          <a:bodyPr/>
          <a:lstStyle/>
          <a:p>
            <a:r>
              <a:rPr lang="en-US" dirty="0"/>
              <a:t>Hyperledger – SAP a Premier Member</a:t>
            </a:r>
          </a:p>
        </p:txBody>
      </p:sp>
      <p:sp>
        <p:nvSpPr>
          <p:cNvPr id="6" name="Rectangle 5"/>
          <p:cNvSpPr/>
          <p:nvPr/>
        </p:nvSpPr>
        <p:spPr>
          <a:xfrm>
            <a:off x="411126" y="1504681"/>
            <a:ext cx="6218274" cy="2308324"/>
          </a:xfrm>
          <a:prstGeom prst="rect">
            <a:avLst/>
          </a:prstGeom>
        </p:spPr>
        <p:txBody>
          <a:bodyPr wrap="square">
            <a:spAutoFit/>
          </a:bodyPr>
          <a:lstStyle/>
          <a:p>
            <a:r>
              <a:rPr lang="en-US" sz="2000" dirty="0">
                <a:latin typeface="+mn-lt"/>
              </a:rPr>
              <a:t>Hyperledger is an openly governed community hosted by The Linux Foundation. </a:t>
            </a:r>
          </a:p>
          <a:p>
            <a:endParaRPr lang="en-US" sz="2000" dirty="0">
              <a:latin typeface="+mn-lt"/>
            </a:endParaRPr>
          </a:p>
          <a:p>
            <a:r>
              <a:rPr lang="en-US" sz="2000" dirty="0">
                <a:latin typeface="+mn-lt"/>
              </a:rPr>
              <a:t>The goal is to advance blockchain technology as an enterprise-class, cross-industry </a:t>
            </a:r>
            <a:r>
              <a:rPr lang="en-US" sz="2000" b="1" dirty="0">
                <a:solidFill>
                  <a:schemeClr val="accent1"/>
                </a:solidFill>
                <a:latin typeface="+mn-lt"/>
              </a:rPr>
              <a:t>open standard </a:t>
            </a:r>
            <a:r>
              <a:rPr lang="en-US" sz="2000" dirty="0">
                <a:latin typeface="+mn-lt"/>
              </a:rPr>
              <a:t>for distributed ledgers that can </a:t>
            </a:r>
            <a:r>
              <a:rPr lang="en-US" sz="2000" b="1" dirty="0">
                <a:solidFill>
                  <a:schemeClr val="accent1"/>
                </a:solidFill>
                <a:latin typeface="+mn-lt"/>
              </a:rPr>
              <a:t>transform</a:t>
            </a:r>
            <a:r>
              <a:rPr lang="en-US" sz="2000" dirty="0">
                <a:latin typeface="+mn-lt"/>
              </a:rPr>
              <a:t> the way </a:t>
            </a:r>
            <a:r>
              <a:rPr lang="en-US" sz="2000" b="1" dirty="0">
                <a:solidFill>
                  <a:schemeClr val="accent1"/>
                </a:solidFill>
                <a:latin typeface="+mn-lt"/>
              </a:rPr>
              <a:t>business transactions </a:t>
            </a:r>
            <a:r>
              <a:rPr lang="en-US" sz="2000" dirty="0">
                <a:latin typeface="+mn-lt"/>
              </a:rPr>
              <a:t>are conducted globally.</a:t>
            </a:r>
            <a:endParaRPr lang="de-DE" sz="2000" dirty="0">
              <a:latin typeface="+mn-lt"/>
            </a:endParaRPr>
          </a:p>
        </p:txBody>
      </p:sp>
      <p:sp>
        <p:nvSpPr>
          <p:cNvPr id="7" name="TextBox 6"/>
          <p:cNvSpPr txBox="1"/>
          <p:nvPr/>
        </p:nvSpPr>
        <p:spPr>
          <a:xfrm>
            <a:off x="9197954" y="5504477"/>
            <a:ext cx="2555738" cy="584775"/>
          </a:xfrm>
          <a:prstGeom prst="rect">
            <a:avLst/>
          </a:prstGeom>
          <a:noFill/>
        </p:spPr>
        <p:txBody>
          <a:bodyPr wrap="square" rtlCol="0">
            <a:spAutoFit/>
          </a:bodyPr>
          <a:lstStyle/>
          <a:p>
            <a:pPr algn="r"/>
            <a:r>
              <a:rPr lang="de-DE" sz="1600"/>
              <a:t>+ 95 General Members</a:t>
            </a:r>
          </a:p>
          <a:p>
            <a:pPr algn="r"/>
            <a:r>
              <a:rPr lang="de-DE" sz="1600"/>
              <a:t>+ 10 </a:t>
            </a:r>
            <a:r>
              <a:rPr lang="de-DE" sz="1600" err="1"/>
              <a:t>Associate</a:t>
            </a:r>
            <a:r>
              <a:rPr lang="de-DE" sz="1600"/>
              <a:t> Members</a:t>
            </a:r>
          </a:p>
        </p:txBody>
      </p:sp>
      <p:sp>
        <p:nvSpPr>
          <p:cNvPr id="8" name="Rectangle 7"/>
          <p:cNvSpPr/>
          <p:nvPr/>
        </p:nvSpPr>
        <p:spPr>
          <a:xfrm>
            <a:off x="6925150" y="1524415"/>
            <a:ext cx="3749150" cy="338554"/>
          </a:xfrm>
          <a:prstGeom prst="rect">
            <a:avLst/>
          </a:prstGeom>
        </p:spPr>
        <p:txBody>
          <a:bodyPr wrap="square">
            <a:spAutoFit/>
          </a:bodyPr>
          <a:lstStyle/>
          <a:p>
            <a:r>
              <a:rPr lang="en-US" sz="1600" dirty="0">
                <a:latin typeface="+mn-lt"/>
              </a:rPr>
              <a:t>Premier Members</a:t>
            </a:r>
            <a:endParaRPr lang="de-DE" sz="1600" dirty="0">
              <a:latin typeface="+mn-lt"/>
            </a:endParaRPr>
          </a:p>
        </p:txBody>
      </p:sp>
    </p:spTree>
    <p:extLst>
      <p:ext uri="{BB962C8B-B14F-4D97-AF65-F5344CB8AC3E}">
        <p14:creationId xmlns:p14="http://schemas.microsoft.com/office/powerpoint/2010/main" val="289999106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6" y="0"/>
            <a:ext cx="12194823" cy="6859588"/>
          </a:xfrm>
          <a:prstGeom prst="rect">
            <a:avLst/>
          </a:prstGeom>
        </p:spPr>
      </p:pic>
    </p:spTree>
    <p:extLst>
      <p:ext uri="{BB962C8B-B14F-4D97-AF65-F5344CB8AC3E}">
        <p14:creationId xmlns:p14="http://schemas.microsoft.com/office/powerpoint/2010/main" val="129679031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9"/>
          <p:cNvPicPr>
            <a:picLocks noGrp="1" noChangeAspect="1"/>
          </p:cNvPicPr>
          <p:nvPr isPhoto="1"/>
        </p:nvPicPr>
        <p:blipFill>
          <a:blip r:embed="rId2" cstate="screen">
            <a:lum/>
            <a:extLst>
              <a:ext uri="{28A0092B-C50C-407E-A947-70E740481C1C}">
                <a14:useLocalDpi xmlns:a14="http://schemas.microsoft.com/office/drawing/2010/main"/>
              </a:ext>
            </a:extLst>
          </a:blip>
          <a:stretch>
            <a:fillRect/>
          </a:stretch>
        </p:blipFill>
        <p:spPr>
          <a:xfrm>
            <a:off x="-1" y="0"/>
            <a:ext cx="12195175" cy="6859588"/>
          </a:xfrm>
          <a:prstGeom prst="rect">
            <a:avLst/>
          </a:prstGeom>
        </p:spPr>
      </p:pic>
    </p:spTree>
    <p:extLst>
      <p:ext uri="{BB962C8B-B14F-4D97-AF65-F5344CB8AC3E}">
        <p14:creationId xmlns:p14="http://schemas.microsoft.com/office/powerpoint/2010/main" val="1829148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igins of writing</a:t>
            </a:r>
          </a:p>
        </p:txBody>
      </p:sp>
      <p:sp>
        <p:nvSpPr>
          <p:cNvPr id="3" name="Text Placeholder 2"/>
          <p:cNvSpPr>
            <a:spLocks noGrp="1"/>
          </p:cNvSpPr>
          <p:nvPr>
            <p:ph type="body" sz="quarter" idx="10"/>
          </p:nvPr>
        </p:nvSpPr>
        <p:spPr>
          <a:xfrm>
            <a:off x="324000" y="1692391"/>
            <a:ext cx="6319688" cy="4393017"/>
          </a:xfrm>
        </p:spPr>
        <p:txBody>
          <a:bodyPr/>
          <a:lstStyle/>
          <a:p>
            <a:r>
              <a:rPr lang="en-US" dirty="0"/>
              <a:t>Writing originated in Sumer (Mesopotamia, what is now Iraq) in approx. 3500 BCE</a:t>
            </a:r>
          </a:p>
          <a:p>
            <a:r>
              <a:rPr lang="en-US" dirty="0"/>
              <a:t>The earliest writing were ….. Clay envelopes called </a:t>
            </a:r>
            <a:r>
              <a:rPr lang="en-US" dirty="0">
                <a:solidFill>
                  <a:srgbClr val="FF0000"/>
                </a:solidFill>
              </a:rPr>
              <a:t>bullae</a:t>
            </a:r>
            <a:r>
              <a:rPr lang="en-US" dirty="0"/>
              <a:t> (8000 BCE)! They contained tokens to keep records of animals and goods.</a:t>
            </a:r>
          </a:p>
          <a:p>
            <a:r>
              <a:rPr lang="en-US" dirty="0"/>
              <a:t>Provided ‘</a:t>
            </a:r>
            <a:r>
              <a:rPr lang="en-US" dirty="0">
                <a:solidFill>
                  <a:srgbClr val="FF0000"/>
                </a:solidFill>
              </a:rPr>
              <a:t>tamper evidence</a:t>
            </a:r>
            <a:r>
              <a:rPr lang="en-US" dirty="0"/>
              <a:t>’</a:t>
            </a:r>
          </a:p>
          <a:p>
            <a:r>
              <a:rPr lang="en-US" dirty="0"/>
              <a:t>Ultimately replaced with clay </a:t>
            </a:r>
            <a:r>
              <a:rPr lang="en-US" dirty="0">
                <a:solidFill>
                  <a:srgbClr val="FF0000"/>
                </a:solidFill>
              </a:rPr>
              <a:t>tablets</a:t>
            </a:r>
            <a:r>
              <a:rPr lang="en-US" dirty="0"/>
              <a:t> (ledgers) instead of bullae.</a:t>
            </a:r>
          </a:p>
          <a:p>
            <a:r>
              <a:rPr lang="en-US" dirty="0"/>
              <a:t>The writings on clay tablets lead to </a:t>
            </a:r>
            <a:r>
              <a:rPr lang="en-US" dirty="0">
                <a:solidFill>
                  <a:srgbClr val="FF0000"/>
                </a:solidFill>
              </a:rPr>
              <a:t>cuneiform</a:t>
            </a:r>
            <a:r>
              <a:rPr lang="en-US" dirty="0"/>
              <a:t> script</a:t>
            </a:r>
          </a:p>
          <a:p>
            <a:r>
              <a:rPr lang="en-US" sz="1600" b="0" dirty="0"/>
              <a:t>Denise </a:t>
            </a:r>
            <a:r>
              <a:rPr lang="en-US" sz="1600" b="0" dirty="0" err="1"/>
              <a:t>Schmandt-Besserat</a:t>
            </a:r>
            <a:r>
              <a:rPr lang="en-US" sz="1600" b="0" dirty="0"/>
              <a:t> </a:t>
            </a:r>
            <a:r>
              <a:rPr lang="en-US" sz="1600" dirty="0">
                <a:hlinkClick r:id="rId2"/>
              </a:rPr>
              <a:t>http://sites.utexas.edu/dsb/</a:t>
            </a:r>
            <a:r>
              <a:rPr lang="en-US" sz="1600" dirty="0"/>
              <a:t> </a:t>
            </a:r>
          </a:p>
        </p:txBody>
      </p:sp>
      <p:pic>
        <p:nvPicPr>
          <p:cNvPr id="2050" name="Picture 2" descr="https://www.ancient.eu/img/r/p/750x750/93.jpg?v=14856828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2586" y="2810633"/>
            <a:ext cx="5228625" cy="34996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9086849" y="628875"/>
            <a:ext cx="2205069" cy="4095752"/>
          </a:xfrm>
          <a:prstGeom prst="rect">
            <a:avLst/>
          </a:prstGeom>
        </p:spPr>
      </p:pic>
      <p:pic>
        <p:nvPicPr>
          <p:cNvPr id="3074" name="Picture 2" descr="(Fig. 1) Tokens from Tepe Gawra, present day Iraq, ca. 4000 B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16300" y="4724627"/>
            <a:ext cx="4152900" cy="1266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686161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764" y="1687"/>
          <a:ext cx="1587" cy="1587"/>
        </p:xfrm>
        <a:graphic>
          <a:graphicData uri="http://schemas.openxmlformats.org/presentationml/2006/ole">
            <mc:AlternateContent xmlns:mc="http://schemas.openxmlformats.org/markup-compatibility/2006">
              <mc:Choice xmlns:v="urn:schemas-microsoft-com:vml" Requires="v">
                <p:oleObj spid="_x0000_s1163" name="think-cell Slide" r:id="rId6" imgW="492" imgH="493" progId="TCLayout.ActiveDocument.1">
                  <p:embed/>
                </p:oleObj>
              </mc:Choice>
              <mc:Fallback>
                <p:oleObj name="think-cell Slide" r:id="rId6" imgW="492" imgH="493" progId="TCLayout.ActiveDocument.1">
                  <p:embed/>
                  <p:pic>
                    <p:nvPicPr>
                      <p:cNvPr id="11" name="Object 10" hidden="1"/>
                      <p:cNvPicPr/>
                      <p:nvPr/>
                    </p:nvPicPr>
                    <p:blipFill>
                      <a:blip r:embed="rId7"/>
                      <a:stretch>
                        <a:fillRect/>
                      </a:stretch>
                    </p:blipFill>
                    <p:spPr>
                      <a:xfrm>
                        <a:off x="1764" y="1687"/>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176" y="99"/>
            <a:ext cx="158746" cy="158746"/>
          </a:xfrm>
          <a:prstGeom prst="rect">
            <a:avLst/>
          </a:prstGeom>
          <a:solidFill>
            <a:schemeClr val="accent1"/>
          </a:solidFill>
          <a:ln w="6350" algn="ctr">
            <a:noFill/>
            <a:miter lim="800000"/>
            <a:headEnd/>
            <a:tailEnd/>
          </a:ln>
        </p:spPr>
        <p:txBody>
          <a:bodyPr wrap="none" lIns="0" tIns="0" rIns="0" bIns="0" rtlCol="0" anchor="ctr"/>
          <a:lstStyle/>
          <a:p>
            <a:pPr algn="ctr" defTabSz="914339" fontAlgn="base">
              <a:spcBef>
                <a:spcPct val="0"/>
              </a:spcBef>
              <a:spcAft>
                <a:spcPct val="0"/>
              </a:spcAft>
              <a:buClr>
                <a:srgbClr val="F0AB00"/>
              </a:buClr>
              <a:buSzPct val="80000"/>
            </a:pPr>
            <a:endParaRPr lang="en-US" sz="1200" kern="0">
              <a:latin typeface="Arial" panose="020B0604020202020204" pitchFamily="34" charset="0"/>
              <a:sym typeface="Arial" panose="020B0604020202020204" pitchFamily="34" charset="0"/>
            </a:endParaRPr>
          </a:p>
        </p:txBody>
      </p:sp>
      <p:grpSp>
        <p:nvGrpSpPr>
          <p:cNvPr id="2" name="Group 1"/>
          <p:cNvGrpSpPr/>
          <p:nvPr/>
        </p:nvGrpSpPr>
        <p:grpSpPr>
          <a:xfrm>
            <a:off x="10016394" y="1362074"/>
            <a:ext cx="1855898" cy="304871"/>
            <a:chOff x="10318418" y="1214837"/>
            <a:chExt cx="1855898" cy="304871"/>
          </a:xfrm>
        </p:grpSpPr>
        <p:sp>
          <p:nvSpPr>
            <p:cNvPr id="139" name="Oval 138"/>
            <p:cNvSpPr/>
            <p:nvPr/>
          </p:nvSpPr>
          <p:spPr bwMode="gray">
            <a:xfrm>
              <a:off x="10318418" y="1214837"/>
              <a:ext cx="304871" cy="304871"/>
            </a:xfrm>
            <a:prstGeom prst="ellipse">
              <a:avLst/>
            </a:prstGeom>
            <a:solidFill>
              <a:schemeClr val="tx1">
                <a:alpha val="70000"/>
              </a:schemeClr>
            </a:solidFill>
            <a:ln w="28575" algn="ctr">
              <a:solidFill>
                <a:schemeClr val="tx1"/>
              </a:solidFill>
              <a:prstDash val="sysDot"/>
              <a:miter lim="800000"/>
              <a:headEnd/>
              <a:tailEnd/>
            </a:ln>
          </p:spPr>
          <p:txBody>
            <a:bodyPr lIns="120028" tIns="96022" rIns="120028" bIns="96022" rtlCol="0" anchor="ctr"/>
            <a:lstStyle/>
            <a:p>
              <a:pPr algn="ctr" fontAlgn="base">
                <a:spcBef>
                  <a:spcPct val="50000"/>
                </a:spcBef>
                <a:spcAft>
                  <a:spcPct val="0"/>
                </a:spcAft>
                <a:buClr>
                  <a:srgbClr val="F0AB00"/>
                </a:buClr>
                <a:buSzPct val="80000"/>
              </a:pPr>
              <a:endParaRPr lang="en-US" sz="2801" b="1" kern="0" dirty="0">
                <a:latin typeface="+mn-lt"/>
                <a:ea typeface="Arial Unicode MS" pitchFamily="34" charset="-128"/>
                <a:cs typeface="Arial Unicode MS" pitchFamily="34" charset="-128"/>
              </a:endParaRPr>
            </a:p>
          </p:txBody>
        </p:sp>
        <p:sp>
          <p:nvSpPr>
            <p:cNvPr id="151" name="Rectangle 150"/>
            <p:cNvSpPr/>
            <p:nvPr/>
          </p:nvSpPr>
          <p:spPr bwMode="gray">
            <a:xfrm>
              <a:off x="10714371" y="1231140"/>
              <a:ext cx="1459945" cy="280188"/>
            </a:xfrm>
            <a:prstGeom prst="rect">
              <a:avLst/>
            </a:prstGeom>
            <a:noFill/>
            <a:ln w="6350" algn="ctr">
              <a:noFill/>
              <a:miter lim="800000"/>
              <a:headEnd/>
              <a:tailEnd/>
            </a:ln>
          </p:spPr>
          <p:txBody>
            <a:bodyPr lIns="0" tIns="0" rIns="0" bIns="0" rtlCol="0" anchor="ctr" anchorCtr="0"/>
            <a:lstStyle/>
            <a:p>
              <a:pPr marL="0" lvl="1" fontAlgn="base">
                <a:spcBef>
                  <a:spcPts val="400"/>
                </a:spcBef>
                <a:spcAft>
                  <a:spcPct val="0"/>
                </a:spcAft>
                <a:buClr>
                  <a:srgbClr val="F0AB00"/>
                </a:buClr>
                <a:buSzPct val="80000"/>
                <a:buNone/>
              </a:pPr>
              <a:r>
                <a:rPr lang="en-US" sz="1200" b="1" kern="0">
                  <a:latin typeface="+mn-lt"/>
                  <a:ea typeface="Arial Unicode MS" pitchFamily="34" charset="-128"/>
                  <a:cs typeface="Arial Unicode MS" pitchFamily="34" charset="-128"/>
                </a:rPr>
                <a:t>Private </a:t>
              </a:r>
              <a:r>
                <a:rPr lang="en-US" sz="1200" b="1" kern="0" err="1">
                  <a:latin typeface="+mn-lt"/>
                  <a:ea typeface="Arial Unicode MS" pitchFamily="34" charset="-128"/>
                  <a:cs typeface="Arial Unicode MS" pitchFamily="34" charset="-128"/>
                </a:rPr>
                <a:t>blockchain</a:t>
              </a:r>
              <a:endParaRPr lang="en-US" sz="1200" b="1" kern="0">
                <a:latin typeface="+mn-lt"/>
                <a:ea typeface="Arial Unicode MS" pitchFamily="34" charset="-128"/>
                <a:cs typeface="Arial Unicode MS" pitchFamily="34" charset="-128"/>
              </a:endParaRPr>
            </a:p>
          </p:txBody>
        </p:sp>
      </p:grpSp>
      <p:grpSp>
        <p:nvGrpSpPr>
          <p:cNvPr id="6" name="Group 5"/>
          <p:cNvGrpSpPr/>
          <p:nvPr/>
        </p:nvGrpSpPr>
        <p:grpSpPr>
          <a:xfrm>
            <a:off x="10016394" y="1778261"/>
            <a:ext cx="1855898" cy="304871"/>
            <a:chOff x="10318418" y="1567964"/>
            <a:chExt cx="1855898" cy="304871"/>
          </a:xfrm>
        </p:grpSpPr>
        <p:sp>
          <p:nvSpPr>
            <p:cNvPr id="140" name="Oval 139"/>
            <p:cNvSpPr/>
            <p:nvPr/>
          </p:nvSpPr>
          <p:spPr bwMode="gray">
            <a:xfrm>
              <a:off x="10318418" y="1567964"/>
              <a:ext cx="304871" cy="304871"/>
            </a:xfrm>
            <a:prstGeom prst="ellipse">
              <a:avLst/>
            </a:prstGeom>
            <a:solidFill>
              <a:schemeClr val="tx1">
                <a:alpha val="70000"/>
              </a:schemeClr>
            </a:solidFill>
            <a:ln w="28575" algn="ctr">
              <a:noFill/>
              <a:prstDash val="sysDash"/>
              <a:miter lim="800000"/>
              <a:headEnd/>
              <a:tailEnd/>
            </a:ln>
          </p:spPr>
          <p:txBody>
            <a:bodyPr lIns="120028" tIns="96022" rIns="120028" bIns="96022" rtlCol="0" anchor="ctr"/>
            <a:lstStyle/>
            <a:p>
              <a:pPr algn="ctr" fontAlgn="base">
                <a:spcBef>
                  <a:spcPct val="50000"/>
                </a:spcBef>
                <a:spcAft>
                  <a:spcPct val="0"/>
                </a:spcAft>
                <a:buClr>
                  <a:srgbClr val="F0AB00"/>
                </a:buClr>
                <a:buSzPct val="80000"/>
              </a:pPr>
              <a:endParaRPr lang="en-US" sz="2801" b="1" kern="0" dirty="0">
                <a:latin typeface="+mn-lt"/>
                <a:ea typeface="Arial Unicode MS" pitchFamily="34" charset="-128"/>
                <a:cs typeface="Arial Unicode MS" pitchFamily="34" charset="-128"/>
              </a:endParaRPr>
            </a:p>
          </p:txBody>
        </p:sp>
        <p:sp>
          <p:nvSpPr>
            <p:cNvPr id="14" name="Rectangle 13"/>
            <p:cNvSpPr/>
            <p:nvPr/>
          </p:nvSpPr>
          <p:spPr bwMode="gray">
            <a:xfrm>
              <a:off x="10714371" y="1578390"/>
              <a:ext cx="1459945" cy="284018"/>
            </a:xfrm>
            <a:prstGeom prst="rect">
              <a:avLst/>
            </a:prstGeom>
            <a:noFill/>
            <a:ln w="6350" algn="ctr">
              <a:noFill/>
              <a:miter lim="800000"/>
              <a:headEnd/>
              <a:tailEnd/>
            </a:ln>
          </p:spPr>
          <p:txBody>
            <a:bodyPr lIns="0" tIns="0" rIns="0" bIns="0" rtlCol="0" anchor="ctr" anchorCtr="0"/>
            <a:lstStyle/>
            <a:p>
              <a:pPr marL="0" lvl="1" fontAlgn="base">
                <a:spcBef>
                  <a:spcPts val="400"/>
                </a:spcBef>
                <a:spcAft>
                  <a:spcPct val="0"/>
                </a:spcAft>
                <a:buClr>
                  <a:srgbClr val="F0AB00"/>
                </a:buClr>
                <a:buSzPct val="80000"/>
                <a:buNone/>
              </a:pPr>
              <a:r>
                <a:rPr lang="en-US" sz="1200" b="1" kern="0" dirty="0">
                  <a:latin typeface="+mn-lt"/>
                  <a:ea typeface="Arial Unicode MS" pitchFamily="34" charset="-128"/>
                  <a:cs typeface="Arial Unicode MS" pitchFamily="34" charset="-128"/>
                </a:rPr>
                <a:t>Public </a:t>
              </a:r>
              <a:r>
                <a:rPr lang="en-US" sz="1200" b="1" kern="0" dirty="0" err="1">
                  <a:latin typeface="+mn-lt"/>
                  <a:ea typeface="Arial Unicode MS" pitchFamily="34" charset="-128"/>
                  <a:cs typeface="Arial Unicode MS" pitchFamily="34" charset="-128"/>
                </a:rPr>
                <a:t>blockchain</a:t>
              </a:r>
              <a:endParaRPr lang="en-US" sz="1200" b="1" kern="0" dirty="0">
                <a:latin typeface="+mn-lt"/>
                <a:ea typeface="Arial Unicode MS" pitchFamily="34" charset="-128"/>
                <a:cs typeface="Arial Unicode MS" pitchFamily="34" charset="-128"/>
              </a:endParaRPr>
            </a:p>
          </p:txBody>
        </p:sp>
      </p:grpSp>
      <p:sp>
        <p:nvSpPr>
          <p:cNvPr id="15" name="Title 20"/>
          <p:cNvSpPr txBox="1">
            <a:spLocks/>
          </p:cNvSpPr>
          <p:nvPr/>
        </p:nvSpPr>
        <p:spPr bwMode="gray">
          <a:xfrm>
            <a:off x="334825" y="424642"/>
            <a:ext cx="11537467" cy="489969"/>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dirty="0">
                <a:solidFill>
                  <a:schemeClr val="tx1"/>
                </a:solidFill>
              </a:rPr>
              <a:t>Transactional networks: a </a:t>
            </a:r>
            <a:r>
              <a:rPr lang="en-US" dirty="0" err="1">
                <a:solidFill>
                  <a:schemeClr val="tx1"/>
                </a:solidFill>
              </a:rPr>
              <a:t>blockchain</a:t>
            </a:r>
            <a:r>
              <a:rPr lang="en-US" dirty="0">
                <a:solidFill>
                  <a:schemeClr val="tx1"/>
                </a:solidFill>
              </a:rPr>
              <a:t> future</a:t>
            </a:r>
          </a:p>
        </p:txBody>
      </p:sp>
      <p:grpSp>
        <p:nvGrpSpPr>
          <p:cNvPr id="12" name="Gruppierung 85"/>
          <p:cNvGrpSpPr/>
          <p:nvPr/>
        </p:nvGrpSpPr>
        <p:grpSpPr>
          <a:xfrm>
            <a:off x="2589817" y="1514509"/>
            <a:ext cx="7015541" cy="4922362"/>
            <a:chOff x="183541" y="1442258"/>
            <a:chExt cx="7015541" cy="4922362"/>
          </a:xfrm>
        </p:grpSpPr>
        <p:sp>
          <p:nvSpPr>
            <p:cNvPr id="13" name="Oval 12"/>
            <p:cNvSpPr/>
            <p:nvPr/>
          </p:nvSpPr>
          <p:spPr bwMode="gray">
            <a:xfrm>
              <a:off x="3387999" y="1962655"/>
              <a:ext cx="1030456" cy="1030456"/>
            </a:xfrm>
            <a:prstGeom prst="ellipse">
              <a:avLst/>
            </a:prstGeom>
            <a:solidFill>
              <a:schemeClr val="accent3">
                <a:lumMod val="50000"/>
              </a:schemeClr>
            </a:solidFill>
            <a:ln w="12700" algn="ctr">
              <a:solidFill>
                <a:schemeClr val="accent3">
                  <a:lumMod val="60000"/>
                  <a:lumOff val="4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Oval 15"/>
            <p:cNvSpPr/>
            <p:nvPr/>
          </p:nvSpPr>
          <p:spPr bwMode="gray">
            <a:xfrm>
              <a:off x="5510965" y="4036225"/>
              <a:ext cx="1030456" cy="1030456"/>
            </a:xfrm>
            <a:prstGeom prst="ellipse">
              <a:avLst/>
            </a:prstGeom>
            <a:solidFill>
              <a:schemeClr val="accent3">
                <a:lumMod val="50000"/>
              </a:schemeClr>
            </a:solidFill>
            <a:ln w="12700" algn="ctr">
              <a:solidFill>
                <a:schemeClr val="accent3">
                  <a:lumMod val="60000"/>
                  <a:lumOff val="4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7" name="Oval 16"/>
            <p:cNvSpPr/>
            <p:nvPr/>
          </p:nvSpPr>
          <p:spPr bwMode="gray">
            <a:xfrm>
              <a:off x="846041" y="4036225"/>
              <a:ext cx="1030456" cy="1030456"/>
            </a:xfrm>
            <a:prstGeom prst="ellipse">
              <a:avLst/>
            </a:prstGeom>
            <a:solidFill>
              <a:schemeClr val="accent3">
                <a:lumMod val="50000"/>
              </a:schemeClr>
            </a:solidFill>
            <a:ln w="12700" algn="ctr">
              <a:solidFill>
                <a:schemeClr val="accent3">
                  <a:lumMod val="60000"/>
                  <a:lumOff val="4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8" name="Oval 17"/>
            <p:cNvSpPr/>
            <p:nvPr/>
          </p:nvSpPr>
          <p:spPr bwMode="gray">
            <a:xfrm>
              <a:off x="1223668" y="1885726"/>
              <a:ext cx="1030456" cy="1030456"/>
            </a:xfrm>
            <a:prstGeom prst="ellipse">
              <a:avLst/>
            </a:prstGeom>
            <a:solidFill>
              <a:schemeClr val="accent1">
                <a:lumMod val="50000"/>
              </a:schemeClr>
            </a:solidFill>
            <a:ln w="12700" algn="ctr">
              <a:solidFill>
                <a:schemeClr val="accent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9" name="Oval 18"/>
            <p:cNvSpPr/>
            <p:nvPr/>
          </p:nvSpPr>
          <p:spPr bwMode="gray">
            <a:xfrm>
              <a:off x="3915586" y="3848310"/>
              <a:ext cx="1101266" cy="1101266"/>
            </a:xfrm>
            <a:prstGeom prst="ellipse">
              <a:avLst/>
            </a:prstGeom>
            <a:solidFill>
              <a:schemeClr val="accent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20" name="Bild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43355" y="1935959"/>
              <a:ext cx="974939" cy="931448"/>
            </a:xfrm>
            <a:prstGeom prst="rect">
              <a:avLst/>
            </a:prstGeom>
          </p:spPr>
        </p:pic>
        <p:pic>
          <p:nvPicPr>
            <p:cNvPr id="21" name="Bild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25629" y="4071486"/>
              <a:ext cx="974939" cy="931448"/>
            </a:xfrm>
            <a:prstGeom prst="rect">
              <a:avLst/>
            </a:prstGeom>
          </p:spPr>
        </p:pic>
        <p:pic>
          <p:nvPicPr>
            <p:cNvPr id="22" name="Bild 1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85626" y="2025395"/>
              <a:ext cx="974939" cy="931448"/>
            </a:xfrm>
            <a:prstGeom prst="rect">
              <a:avLst/>
            </a:prstGeom>
          </p:spPr>
        </p:pic>
        <p:pic>
          <p:nvPicPr>
            <p:cNvPr id="23" name="Bild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10298" y="3931477"/>
              <a:ext cx="927855" cy="886464"/>
            </a:xfrm>
            <a:prstGeom prst="rect">
              <a:avLst/>
            </a:prstGeom>
          </p:spPr>
        </p:pic>
        <p:pic>
          <p:nvPicPr>
            <p:cNvPr id="24" name="Bild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26550" y="4079849"/>
              <a:ext cx="927855" cy="886464"/>
            </a:xfrm>
            <a:prstGeom prst="rect">
              <a:avLst/>
            </a:prstGeom>
          </p:spPr>
        </p:pic>
        <p:pic>
          <p:nvPicPr>
            <p:cNvPr id="25" name="Bild 1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70535" y="5518326"/>
              <a:ext cx="733053" cy="733053"/>
            </a:xfrm>
            <a:prstGeom prst="rect">
              <a:avLst/>
            </a:prstGeom>
          </p:spPr>
        </p:pic>
        <p:pic>
          <p:nvPicPr>
            <p:cNvPr id="26" name="Bild 1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04487" y="5272393"/>
              <a:ext cx="787394" cy="787394"/>
            </a:xfrm>
            <a:prstGeom prst="rect">
              <a:avLst/>
            </a:prstGeom>
          </p:spPr>
        </p:pic>
        <p:pic>
          <p:nvPicPr>
            <p:cNvPr id="27" name="Bild 1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58626" y="2672593"/>
              <a:ext cx="925090" cy="925090"/>
            </a:xfrm>
            <a:prstGeom prst="rect">
              <a:avLst/>
            </a:prstGeom>
          </p:spPr>
        </p:pic>
        <p:pic>
          <p:nvPicPr>
            <p:cNvPr id="28" name="Bild 2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563371" y="2063154"/>
              <a:ext cx="822813" cy="822813"/>
            </a:xfrm>
            <a:prstGeom prst="rect">
              <a:avLst/>
            </a:prstGeom>
          </p:spPr>
        </p:pic>
        <p:grpSp>
          <p:nvGrpSpPr>
            <p:cNvPr id="29" name="Gruppierung 33"/>
            <p:cNvGrpSpPr/>
            <p:nvPr/>
          </p:nvGrpSpPr>
          <p:grpSpPr>
            <a:xfrm>
              <a:off x="2245562" y="3135138"/>
              <a:ext cx="1290280" cy="779593"/>
              <a:chOff x="1988401" y="3333131"/>
              <a:chExt cx="1290280" cy="779593"/>
            </a:xfrm>
          </p:grpSpPr>
          <p:pic>
            <p:nvPicPr>
              <p:cNvPr id="56" name="Bild 2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988401" y="3333131"/>
                <a:ext cx="779593" cy="779593"/>
              </a:xfrm>
              <a:prstGeom prst="rect">
                <a:avLst/>
              </a:prstGeom>
            </p:spPr>
          </p:pic>
          <p:pic>
            <p:nvPicPr>
              <p:cNvPr id="57" name="Bild 2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499088" y="3333131"/>
                <a:ext cx="779593" cy="779593"/>
              </a:xfrm>
              <a:prstGeom prst="rect">
                <a:avLst/>
              </a:prstGeom>
            </p:spPr>
          </p:pic>
        </p:grpSp>
        <p:grpSp>
          <p:nvGrpSpPr>
            <p:cNvPr id="30" name="Gruppierung 74"/>
            <p:cNvGrpSpPr/>
            <p:nvPr/>
          </p:nvGrpSpPr>
          <p:grpSpPr>
            <a:xfrm>
              <a:off x="2353820" y="4675750"/>
              <a:ext cx="779593" cy="970301"/>
              <a:chOff x="2337344" y="4675750"/>
              <a:chExt cx="779593" cy="970301"/>
            </a:xfrm>
          </p:grpSpPr>
          <p:pic>
            <p:nvPicPr>
              <p:cNvPr id="54" name="Bild 1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337344" y="4675750"/>
                <a:ext cx="779593" cy="779593"/>
              </a:xfrm>
              <a:prstGeom prst="rect">
                <a:avLst/>
              </a:prstGeom>
            </p:spPr>
          </p:pic>
          <p:sp>
            <p:nvSpPr>
              <p:cNvPr id="55" name="TextBox 6"/>
              <p:cNvSpPr txBox="1"/>
              <p:nvPr/>
            </p:nvSpPr>
            <p:spPr>
              <a:xfrm>
                <a:off x="2464486" y="5369052"/>
                <a:ext cx="584163" cy="276999"/>
              </a:xfrm>
              <a:prstGeom prst="rect">
                <a:avLst/>
              </a:prstGeom>
              <a:noFill/>
            </p:spPr>
            <p:txBody>
              <a:bodyPr wrap="square" rtlCol="0">
                <a:spAutoFit/>
              </a:bodyPr>
              <a:lstStyle/>
              <a:p>
                <a:r>
                  <a:rPr lang="de-DE" sz="1200"/>
                  <a:t>Bank</a:t>
                </a:r>
              </a:p>
            </p:txBody>
          </p:sp>
        </p:grpSp>
        <p:sp>
          <p:nvSpPr>
            <p:cNvPr id="31" name="TextBox 6"/>
            <p:cNvSpPr txBox="1"/>
            <p:nvPr/>
          </p:nvSpPr>
          <p:spPr>
            <a:xfrm>
              <a:off x="5480991" y="2782553"/>
              <a:ext cx="1068752" cy="276999"/>
            </a:xfrm>
            <a:prstGeom prst="rect">
              <a:avLst/>
            </a:prstGeom>
            <a:noFill/>
          </p:spPr>
          <p:txBody>
            <a:bodyPr wrap="square" rtlCol="0">
              <a:spAutoFit/>
            </a:bodyPr>
            <a:lstStyle/>
            <a:p>
              <a:r>
                <a:rPr lang="de-DE" sz="1200"/>
                <a:t>Government</a:t>
              </a:r>
            </a:p>
          </p:txBody>
        </p:sp>
        <p:sp>
          <p:nvSpPr>
            <p:cNvPr id="32" name="TextBox 6"/>
            <p:cNvSpPr txBox="1"/>
            <p:nvPr/>
          </p:nvSpPr>
          <p:spPr>
            <a:xfrm>
              <a:off x="2362656" y="3817404"/>
              <a:ext cx="1068752" cy="276999"/>
            </a:xfrm>
            <a:prstGeom prst="rect">
              <a:avLst/>
            </a:prstGeom>
            <a:noFill/>
          </p:spPr>
          <p:txBody>
            <a:bodyPr wrap="square" rtlCol="0">
              <a:spAutoFit/>
            </a:bodyPr>
            <a:lstStyle/>
            <a:p>
              <a:pPr algn="ctr"/>
              <a:r>
                <a:rPr lang="de-DE" sz="1200"/>
                <a:t>Company</a:t>
              </a:r>
            </a:p>
          </p:txBody>
        </p:sp>
        <p:sp>
          <p:nvSpPr>
            <p:cNvPr id="33" name="TextBox 6"/>
            <p:cNvSpPr txBox="1"/>
            <p:nvPr/>
          </p:nvSpPr>
          <p:spPr>
            <a:xfrm>
              <a:off x="183541" y="3451023"/>
              <a:ext cx="1068752" cy="276999"/>
            </a:xfrm>
            <a:prstGeom prst="rect">
              <a:avLst/>
            </a:prstGeom>
            <a:noFill/>
          </p:spPr>
          <p:txBody>
            <a:bodyPr wrap="square" rtlCol="0">
              <a:spAutoFit/>
            </a:bodyPr>
            <a:lstStyle/>
            <a:p>
              <a:pPr algn="ctr"/>
              <a:r>
                <a:rPr lang="de-DE" sz="1200" err="1"/>
                <a:t>Supplier</a:t>
              </a:r>
              <a:endParaRPr lang="de-DE" sz="1200"/>
            </a:p>
          </p:txBody>
        </p:sp>
        <p:sp>
          <p:nvSpPr>
            <p:cNvPr id="34" name="TextBox 6"/>
            <p:cNvSpPr txBox="1"/>
            <p:nvPr/>
          </p:nvSpPr>
          <p:spPr>
            <a:xfrm>
              <a:off x="4687062" y="6071212"/>
              <a:ext cx="1068752" cy="276999"/>
            </a:xfrm>
            <a:prstGeom prst="rect">
              <a:avLst/>
            </a:prstGeom>
            <a:noFill/>
          </p:spPr>
          <p:txBody>
            <a:bodyPr wrap="square" rtlCol="0">
              <a:spAutoFit/>
            </a:bodyPr>
            <a:lstStyle/>
            <a:p>
              <a:pPr algn="ctr"/>
              <a:r>
                <a:rPr lang="de-DE" sz="1200"/>
                <a:t>Individual</a:t>
              </a:r>
            </a:p>
          </p:txBody>
        </p:sp>
        <p:sp>
          <p:nvSpPr>
            <p:cNvPr id="35" name="TextBox 6"/>
            <p:cNvSpPr txBox="1"/>
            <p:nvPr/>
          </p:nvSpPr>
          <p:spPr>
            <a:xfrm>
              <a:off x="3185611" y="6087621"/>
              <a:ext cx="1263174" cy="276999"/>
            </a:xfrm>
            <a:prstGeom prst="rect">
              <a:avLst/>
            </a:prstGeom>
            <a:noFill/>
          </p:spPr>
          <p:txBody>
            <a:bodyPr wrap="square" rtlCol="0">
              <a:spAutoFit/>
            </a:bodyPr>
            <a:lstStyle/>
            <a:p>
              <a:pPr algn="ctr"/>
              <a:r>
                <a:rPr lang="de-DE" sz="1200" err="1"/>
                <a:t>Connected</a:t>
              </a:r>
              <a:r>
                <a:rPr lang="de-DE" sz="1200"/>
                <a:t> Car</a:t>
              </a:r>
            </a:p>
          </p:txBody>
        </p:sp>
        <p:sp>
          <p:nvSpPr>
            <p:cNvPr id="36" name="TextBox 6"/>
            <p:cNvSpPr txBox="1"/>
            <p:nvPr/>
          </p:nvSpPr>
          <p:spPr>
            <a:xfrm>
              <a:off x="2964901" y="1486728"/>
              <a:ext cx="1857920" cy="461665"/>
            </a:xfrm>
            <a:prstGeom prst="rect">
              <a:avLst/>
            </a:prstGeom>
            <a:noFill/>
          </p:spPr>
          <p:txBody>
            <a:bodyPr wrap="square" rtlCol="0">
              <a:spAutoFit/>
            </a:bodyPr>
            <a:lstStyle/>
            <a:p>
              <a:pPr algn="ctr"/>
              <a:r>
                <a:rPr lang="de-DE" sz="1200" b="1" err="1">
                  <a:solidFill>
                    <a:schemeClr val="accent3">
                      <a:lumMod val="60000"/>
                      <a:lumOff val="40000"/>
                    </a:schemeClr>
                  </a:solidFill>
                </a:rPr>
                <a:t>Complience</a:t>
              </a:r>
              <a:r>
                <a:rPr lang="de-DE" sz="1200" b="1">
                  <a:solidFill>
                    <a:schemeClr val="accent3">
                      <a:lumMod val="60000"/>
                      <a:lumOff val="40000"/>
                    </a:schemeClr>
                  </a:solidFill>
                </a:rPr>
                <a:t> </a:t>
              </a:r>
              <a:r>
                <a:rPr lang="de-DE" sz="1200" b="1" err="1">
                  <a:solidFill>
                    <a:schemeClr val="accent3">
                      <a:lumMod val="60000"/>
                      <a:lumOff val="40000"/>
                    </a:schemeClr>
                  </a:solidFill>
                </a:rPr>
                <a:t>and</a:t>
              </a:r>
              <a:r>
                <a:rPr lang="de-DE" sz="1200" b="1">
                  <a:solidFill>
                    <a:schemeClr val="accent3">
                      <a:lumMod val="60000"/>
                      <a:lumOff val="40000"/>
                    </a:schemeClr>
                  </a:solidFill>
                </a:rPr>
                <a:t> legal </a:t>
              </a:r>
              <a:r>
                <a:rPr lang="de-DE" sz="1200" b="1" err="1">
                  <a:solidFill>
                    <a:schemeClr val="accent3">
                      <a:lumMod val="60000"/>
                      <a:lumOff val="40000"/>
                    </a:schemeClr>
                  </a:solidFill>
                </a:rPr>
                <a:t>documentation</a:t>
              </a:r>
              <a:endParaRPr lang="de-DE" sz="1200" b="1">
                <a:solidFill>
                  <a:schemeClr val="accent3">
                    <a:lumMod val="60000"/>
                    <a:lumOff val="40000"/>
                  </a:schemeClr>
                </a:solidFill>
              </a:endParaRPr>
            </a:p>
          </p:txBody>
        </p:sp>
        <p:sp>
          <p:nvSpPr>
            <p:cNvPr id="37" name="TextBox 6"/>
            <p:cNvSpPr txBox="1"/>
            <p:nvPr/>
          </p:nvSpPr>
          <p:spPr>
            <a:xfrm>
              <a:off x="1232998" y="1442258"/>
              <a:ext cx="1010706" cy="461665"/>
            </a:xfrm>
            <a:prstGeom prst="rect">
              <a:avLst/>
            </a:prstGeom>
            <a:noFill/>
          </p:spPr>
          <p:txBody>
            <a:bodyPr wrap="square" rtlCol="0">
              <a:spAutoFit/>
            </a:bodyPr>
            <a:lstStyle/>
            <a:p>
              <a:pPr algn="ctr"/>
              <a:r>
                <a:rPr lang="de-DE" sz="1200" b="1">
                  <a:solidFill>
                    <a:schemeClr val="accent1"/>
                  </a:solidFill>
                </a:rPr>
                <a:t>Quality </a:t>
              </a:r>
            </a:p>
            <a:p>
              <a:pPr algn="ctr"/>
              <a:r>
                <a:rPr lang="de-DE" sz="1200" b="1" err="1">
                  <a:solidFill>
                    <a:schemeClr val="accent1"/>
                  </a:solidFill>
                </a:rPr>
                <a:t>assurance</a:t>
              </a:r>
              <a:endParaRPr lang="de-DE" sz="1200" b="1">
                <a:solidFill>
                  <a:schemeClr val="accent1"/>
                </a:solidFill>
              </a:endParaRPr>
            </a:p>
          </p:txBody>
        </p:sp>
        <p:sp>
          <p:nvSpPr>
            <p:cNvPr id="38" name="TextBox 6"/>
            <p:cNvSpPr txBox="1"/>
            <p:nvPr/>
          </p:nvSpPr>
          <p:spPr>
            <a:xfrm>
              <a:off x="3993323" y="3576296"/>
              <a:ext cx="1010706" cy="276999"/>
            </a:xfrm>
            <a:prstGeom prst="rect">
              <a:avLst/>
            </a:prstGeom>
            <a:noFill/>
          </p:spPr>
          <p:txBody>
            <a:bodyPr wrap="square" rtlCol="0">
              <a:spAutoFit/>
            </a:bodyPr>
            <a:lstStyle/>
            <a:p>
              <a:pPr algn="ctr"/>
              <a:r>
                <a:rPr lang="de-DE" sz="1200" b="1" err="1">
                  <a:solidFill>
                    <a:schemeClr val="accent1"/>
                  </a:solidFill>
                </a:rPr>
                <a:t>Payments</a:t>
              </a:r>
              <a:endParaRPr lang="de-DE" sz="1200" b="1">
                <a:solidFill>
                  <a:schemeClr val="accent1"/>
                </a:solidFill>
              </a:endParaRPr>
            </a:p>
          </p:txBody>
        </p:sp>
        <p:sp>
          <p:nvSpPr>
            <p:cNvPr id="39" name="TextBox 6"/>
            <p:cNvSpPr txBox="1"/>
            <p:nvPr/>
          </p:nvSpPr>
          <p:spPr>
            <a:xfrm>
              <a:off x="5979686" y="3596372"/>
              <a:ext cx="1219396" cy="461665"/>
            </a:xfrm>
            <a:prstGeom prst="rect">
              <a:avLst/>
            </a:prstGeom>
            <a:noFill/>
          </p:spPr>
          <p:txBody>
            <a:bodyPr wrap="square" rtlCol="0">
              <a:spAutoFit/>
            </a:bodyPr>
            <a:lstStyle/>
            <a:p>
              <a:r>
                <a:rPr lang="de-DE" sz="1200" b="1" err="1">
                  <a:solidFill>
                    <a:schemeClr val="accent3">
                      <a:lumMod val="60000"/>
                      <a:lumOff val="40000"/>
                    </a:schemeClr>
                  </a:solidFill>
                </a:rPr>
                <a:t>Decentralized</a:t>
              </a:r>
              <a:r>
                <a:rPr lang="de-DE" sz="1200" b="1">
                  <a:solidFill>
                    <a:schemeClr val="accent3">
                      <a:lumMod val="60000"/>
                      <a:lumOff val="40000"/>
                    </a:schemeClr>
                  </a:solidFill>
                </a:rPr>
                <a:t> </a:t>
              </a:r>
              <a:r>
                <a:rPr lang="de-DE" sz="1200" b="1" err="1">
                  <a:solidFill>
                    <a:schemeClr val="accent3">
                      <a:lumMod val="60000"/>
                      <a:lumOff val="40000"/>
                    </a:schemeClr>
                  </a:solidFill>
                </a:rPr>
                <a:t>voting</a:t>
              </a:r>
              <a:endParaRPr lang="de-DE" sz="1200" b="1">
                <a:solidFill>
                  <a:schemeClr val="accent3">
                    <a:lumMod val="60000"/>
                    <a:lumOff val="40000"/>
                  </a:schemeClr>
                </a:solidFill>
              </a:endParaRPr>
            </a:p>
          </p:txBody>
        </p:sp>
        <p:cxnSp>
          <p:nvCxnSpPr>
            <p:cNvPr id="40" name="Gerade Verbindung 43"/>
            <p:cNvCxnSpPr/>
            <p:nvPr/>
          </p:nvCxnSpPr>
          <p:spPr>
            <a:xfrm flipH="1">
              <a:off x="972065" y="2512541"/>
              <a:ext cx="370703" cy="480570"/>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 Verbindung 44"/>
            <p:cNvCxnSpPr/>
            <p:nvPr/>
          </p:nvCxnSpPr>
          <p:spPr>
            <a:xfrm flipH="1" flipV="1">
              <a:off x="2131230" y="2672593"/>
              <a:ext cx="343041" cy="514318"/>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 Verbindung 47"/>
            <p:cNvCxnSpPr/>
            <p:nvPr/>
          </p:nvCxnSpPr>
          <p:spPr>
            <a:xfrm flipV="1">
              <a:off x="3228738" y="2688823"/>
              <a:ext cx="425968" cy="540348"/>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Gerade Verbindung 49"/>
            <p:cNvCxnSpPr/>
            <p:nvPr/>
          </p:nvCxnSpPr>
          <p:spPr>
            <a:xfrm flipV="1">
              <a:off x="1490981" y="3817404"/>
              <a:ext cx="862412" cy="366835"/>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 Verbindung 51"/>
            <p:cNvCxnSpPr/>
            <p:nvPr/>
          </p:nvCxnSpPr>
          <p:spPr>
            <a:xfrm flipH="1" flipV="1">
              <a:off x="3437900" y="3833444"/>
              <a:ext cx="701624" cy="417755"/>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Gerade Verbindung 53"/>
            <p:cNvCxnSpPr>
              <a:endCxn id="13" idx="6"/>
            </p:cNvCxnSpPr>
            <p:nvPr/>
          </p:nvCxnSpPr>
          <p:spPr>
            <a:xfrm flipH="1" flipV="1">
              <a:off x="4418455" y="2477883"/>
              <a:ext cx="1144916" cy="232382"/>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Gerade Verbindung 56"/>
            <p:cNvCxnSpPr>
              <a:stCxn id="16" idx="0"/>
              <a:endCxn id="31" idx="2"/>
            </p:cNvCxnSpPr>
            <p:nvPr/>
          </p:nvCxnSpPr>
          <p:spPr>
            <a:xfrm flipH="1" flipV="1">
              <a:off x="6015367" y="3059552"/>
              <a:ext cx="10826" cy="976673"/>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 Verbindung 59"/>
            <p:cNvCxnSpPr/>
            <p:nvPr/>
          </p:nvCxnSpPr>
          <p:spPr>
            <a:xfrm flipV="1">
              <a:off x="5373419" y="4813264"/>
              <a:ext cx="353942" cy="455454"/>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61"/>
            <p:cNvCxnSpPr/>
            <p:nvPr/>
          </p:nvCxnSpPr>
          <p:spPr>
            <a:xfrm flipH="1" flipV="1">
              <a:off x="4724296" y="4643420"/>
              <a:ext cx="329442" cy="625298"/>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64"/>
            <p:cNvCxnSpPr/>
            <p:nvPr/>
          </p:nvCxnSpPr>
          <p:spPr>
            <a:xfrm flipV="1">
              <a:off x="3946226" y="4754033"/>
              <a:ext cx="462904" cy="892018"/>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Gerade Verbindung 66"/>
            <p:cNvCxnSpPr>
              <a:stCxn id="54" idx="3"/>
            </p:cNvCxnSpPr>
            <p:nvPr/>
          </p:nvCxnSpPr>
          <p:spPr>
            <a:xfrm flipV="1">
              <a:off x="3133413" y="4553003"/>
              <a:ext cx="942001" cy="512544"/>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Gerade Verbindung 68"/>
            <p:cNvCxnSpPr>
              <a:endCxn id="54" idx="1"/>
            </p:cNvCxnSpPr>
            <p:nvPr/>
          </p:nvCxnSpPr>
          <p:spPr>
            <a:xfrm>
              <a:off x="1698074" y="4813264"/>
              <a:ext cx="655746" cy="252283"/>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Gerade Verbindung 70"/>
            <p:cNvCxnSpPr/>
            <p:nvPr/>
          </p:nvCxnSpPr>
          <p:spPr>
            <a:xfrm>
              <a:off x="767342" y="3797034"/>
              <a:ext cx="229332" cy="709418"/>
            </a:xfrm>
            <a:prstGeom prst="line">
              <a:avLst/>
            </a:prstGeom>
            <a:ln w="12700">
              <a:solidFill>
                <a:schemeClr val="tx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6"/>
            <p:cNvSpPr txBox="1"/>
            <p:nvPr/>
          </p:nvSpPr>
          <p:spPr>
            <a:xfrm>
              <a:off x="747371" y="5093179"/>
              <a:ext cx="1219396" cy="276999"/>
            </a:xfrm>
            <a:prstGeom prst="rect">
              <a:avLst/>
            </a:prstGeom>
            <a:noFill/>
          </p:spPr>
          <p:txBody>
            <a:bodyPr wrap="square" rtlCol="0">
              <a:spAutoFit/>
            </a:bodyPr>
            <a:lstStyle/>
            <a:p>
              <a:pPr algn="ctr"/>
              <a:r>
                <a:rPr lang="de-DE" sz="1200" b="1">
                  <a:solidFill>
                    <a:schemeClr val="accent3">
                      <a:lumMod val="60000"/>
                      <a:lumOff val="40000"/>
                    </a:schemeClr>
                  </a:solidFill>
                </a:rPr>
                <a:t>Trade </a:t>
              </a:r>
              <a:r>
                <a:rPr lang="de-DE" sz="1200" b="1" err="1">
                  <a:solidFill>
                    <a:schemeClr val="accent3">
                      <a:lumMod val="60000"/>
                      <a:lumOff val="40000"/>
                    </a:schemeClr>
                  </a:solidFill>
                </a:rPr>
                <a:t>finance</a:t>
              </a:r>
              <a:endParaRPr lang="de-DE" sz="1200" b="1">
                <a:solidFill>
                  <a:schemeClr val="accent3">
                    <a:lumMod val="60000"/>
                    <a:lumOff val="40000"/>
                  </a:schemeClr>
                </a:solidFill>
              </a:endParaRPr>
            </a:p>
          </p:txBody>
        </p:sp>
      </p:grpSp>
    </p:spTree>
    <p:extLst>
      <p:ext uri="{BB962C8B-B14F-4D97-AF65-F5344CB8AC3E}">
        <p14:creationId xmlns:p14="http://schemas.microsoft.com/office/powerpoint/2010/main" val="17895826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000" y="2859311"/>
            <a:ext cx="11545200" cy="923330"/>
          </a:xfrm>
        </p:spPr>
        <p:txBody>
          <a:bodyPr/>
          <a:lstStyle/>
          <a:p>
            <a:r>
              <a:rPr lang="en-US" dirty="0"/>
              <a:t>Final Thoughts</a:t>
            </a:r>
          </a:p>
        </p:txBody>
      </p:sp>
      <p:pic>
        <p:nvPicPr>
          <p:cNvPr id="3076" name="Picture 4" descr="BAE_1097.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61935" y="141896"/>
            <a:ext cx="11265385" cy="2501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0213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 More</a:t>
            </a:r>
          </a:p>
        </p:txBody>
      </p:sp>
      <p:sp>
        <p:nvSpPr>
          <p:cNvPr id="4" name="Text Placeholder 3"/>
          <p:cNvSpPr>
            <a:spLocks noGrp="1"/>
          </p:cNvSpPr>
          <p:nvPr>
            <p:ph type="body" sz="quarter" idx="10"/>
          </p:nvPr>
        </p:nvSpPr>
        <p:spPr/>
        <p:txBody>
          <a:bodyPr/>
          <a:lstStyle/>
          <a:p>
            <a:r>
              <a:rPr lang="en-US" sz="2400" b="0" dirty="0"/>
              <a:t>Projects to watch</a:t>
            </a:r>
          </a:p>
          <a:p>
            <a:pPr marL="285750" indent="-285750">
              <a:spcBef>
                <a:spcPts val="0"/>
              </a:spcBef>
              <a:buFont typeface="Arial" panose="020B0604020202020204" pitchFamily="34" charset="0"/>
              <a:buChar char="•"/>
            </a:pPr>
            <a:r>
              <a:rPr lang="en-US" sz="1800" b="0" dirty="0">
                <a:solidFill>
                  <a:srgbClr val="FF0000"/>
                </a:solidFill>
              </a:rPr>
              <a:t>Hyperledger</a:t>
            </a:r>
            <a:r>
              <a:rPr lang="en-US" sz="1800" b="0" dirty="0"/>
              <a:t> – SAP - </a:t>
            </a:r>
            <a:r>
              <a:rPr lang="en-US" sz="1800" b="0" dirty="0">
                <a:hlinkClick r:id="rId2"/>
              </a:rPr>
              <a:t>https://www.hyperledger.org/</a:t>
            </a:r>
            <a:r>
              <a:rPr lang="en-US" sz="1800" b="0" dirty="0"/>
              <a:t> </a:t>
            </a:r>
          </a:p>
          <a:p>
            <a:pPr marL="285750" indent="-285750">
              <a:spcBef>
                <a:spcPts val="0"/>
              </a:spcBef>
              <a:buFont typeface="Arial" panose="020B0604020202020204" pitchFamily="34" charset="0"/>
              <a:buChar char="•"/>
            </a:pPr>
            <a:r>
              <a:rPr lang="en-US" sz="1800" b="0" dirty="0">
                <a:solidFill>
                  <a:srgbClr val="FF0000"/>
                </a:solidFill>
              </a:rPr>
              <a:t>Ethereum</a:t>
            </a:r>
            <a:r>
              <a:rPr lang="en-US" sz="1800" b="0" dirty="0"/>
              <a:t> - </a:t>
            </a:r>
            <a:r>
              <a:rPr lang="en-US" sz="1800" b="0" dirty="0">
                <a:hlinkClick r:id="rId3"/>
              </a:rPr>
              <a:t>https://www.ethereum.org/</a:t>
            </a:r>
            <a:endParaRPr lang="en-US" sz="1800" b="0" dirty="0"/>
          </a:p>
          <a:p>
            <a:r>
              <a:rPr lang="en-US" sz="2400" b="0" dirty="0"/>
              <a:t>Books to read</a:t>
            </a:r>
            <a:endParaRPr lang="en-US" sz="1800" b="0" dirty="0"/>
          </a:p>
          <a:p>
            <a:pPr marL="285750" indent="-285750">
              <a:spcBef>
                <a:spcPts val="0"/>
              </a:spcBef>
              <a:buFont typeface="Arial" panose="020B0604020202020204" pitchFamily="34" charset="0"/>
              <a:buChar char="•"/>
            </a:pPr>
            <a:r>
              <a:rPr lang="en-US" sz="1800" b="0" dirty="0">
                <a:solidFill>
                  <a:srgbClr val="FF0000"/>
                </a:solidFill>
              </a:rPr>
              <a:t>Easy read </a:t>
            </a:r>
            <a:r>
              <a:rPr lang="en-US" sz="1800" b="0" dirty="0"/>
              <a:t>– </a:t>
            </a:r>
            <a:r>
              <a:rPr lang="en-US" sz="1800" b="0" i="1" dirty="0"/>
              <a:t>Blockchain Revolution</a:t>
            </a:r>
            <a:r>
              <a:rPr lang="en-US" sz="1800" b="0" dirty="0"/>
              <a:t>, Don </a:t>
            </a:r>
            <a:r>
              <a:rPr lang="en-US" sz="1800" b="0" dirty="0" err="1"/>
              <a:t>Tapscott</a:t>
            </a:r>
            <a:r>
              <a:rPr lang="en-US" sz="1800" b="0" dirty="0"/>
              <a:t> and Alex </a:t>
            </a:r>
            <a:r>
              <a:rPr lang="en-US" sz="1800" b="0" dirty="0" err="1"/>
              <a:t>Tapscott</a:t>
            </a:r>
            <a:r>
              <a:rPr lang="en-US" sz="1800" b="0" dirty="0"/>
              <a:t> (father/son team, TED talks, tech evangelists)</a:t>
            </a:r>
            <a:endParaRPr lang="en-US" sz="1800" dirty="0"/>
          </a:p>
          <a:p>
            <a:pPr marL="285750" lvl="0" indent="-285750">
              <a:spcBef>
                <a:spcPts val="0"/>
              </a:spcBef>
              <a:buFont typeface="Arial" panose="020B0604020202020204" pitchFamily="34" charset="0"/>
              <a:buChar char="•"/>
            </a:pPr>
            <a:r>
              <a:rPr lang="en-US" sz="1800" b="0" dirty="0">
                <a:solidFill>
                  <a:srgbClr val="FF0000"/>
                </a:solidFill>
              </a:rPr>
              <a:t>Technical book </a:t>
            </a:r>
            <a:r>
              <a:rPr lang="en-US" sz="1800" dirty="0"/>
              <a:t>- </a:t>
            </a:r>
            <a:r>
              <a:rPr lang="en-US" sz="1800" b="0" i="1" dirty="0"/>
              <a:t>Bitcoin and Cryptocurrency Technologies</a:t>
            </a:r>
            <a:r>
              <a:rPr lang="en-US" sz="1800" b="0" dirty="0"/>
              <a:t>: A Comprehensive Introduction,  Arvind Narayanan</a:t>
            </a:r>
          </a:p>
          <a:p>
            <a:pPr marL="285750" lvl="0" indent="-285750">
              <a:spcBef>
                <a:spcPts val="0"/>
              </a:spcBef>
              <a:buFont typeface="Arial" panose="020B0604020202020204" pitchFamily="34" charset="0"/>
              <a:buChar char="•"/>
            </a:pPr>
            <a:r>
              <a:rPr lang="en-US" sz="1800" b="0" dirty="0">
                <a:solidFill>
                  <a:srgbClr val="FF0000"/>
                </a:solidFill>
              </a:rPr>
              <a:t>Very Technical Book </a:t>
            </a:r>
            <a:r>
              <a:rPr lang="en-US" sz="1800" b="0" dirty="0"/>
              <a:t>- </a:t>
            </a:r>
            <a:r>
              <a:rPr lang="en-US" sz="1800" b="0" i="1" dirty="0"/>
              <a:t>Mastering Bitcoin</a:t>
            </a:r>
            <a:r>
              <a:rPr lang="en-US" sz="1800" b="0" dirty="0"/>
              <a:t>, Andreas M. Antonopoulos</a:t>
            </a:r>
          </a:p>
          <a:p>
            <a:pPr marL="285750" indent="-285750">
              <a:buFont typeface="Arial" panose="020B0604020202020204" pitchFamily="34" charset="0"/>
              <a:buChar char="•"/>
            </a:pPr>
            <a:endParaRPr lang="en-US" sz="1800" dirty="0"/>
          </a:p>
          <a:p>
            <a:pPr marL="342900" indent="-342900">
              <a:buFont typeface="Arial" panose="020B0604020202020204" pitchFamily="34" charset="0"/>
              <a:buChar char="•"/>
            </a:pPr>
            <a:endParaRPr lang="en-US" sz="1800" dirty="0"/>
          </a:p>
        </p:txBody>
      </p:sp>
      <p:sp>
        <p:nvSpPr>
          <p:cNvPr id="6" name="Text Placeholder 5"/>
          <p:cNvSpPr>
            <a:spLocks noGrp="1"/>
          </p:cNvSpPr>
          <p:nvPr>
            <p:ph type="body" sz="quarter" idx="11"/>
          </p:nvPr>
        </p:nvSpPr>
        <p:spPr/>
        <p:txBody>
          <a:bodyPr/>
          <a:lstStyle/>
          <a:p>
            <a:r>
              <a:rPr lang="en-US" sz="2400" b="0" dirty="0"/>
              <a:t>MOOCs and courses to attend</a:t>
            </a:r>
          </a:p>
          <a:p>
            <a:pPr marL="342900" indent="-342900">
              <a:spcBef>
                <a:spcPts val="0"/>
              </a:spcBef>
              <a:buFont typeface="Arial" panose="020B0604020202020204" pitchFamily="34" charset="0"/>
              <a:buChar char="•"/>
            </a:pPr>
            <a:r>
              <a:rPr lang="en-US" sz="1800" b="0" dirty="0">
                <a:solidFill>
                  <a:srgbClr val="FF0000"/>
                </a:solidFill>
              </a:rPr>
              <a:t>Coursera course </a:t>
            </a:r>
            <a:r>
              <a:rPr lang="en-US" sz="1800" b="0" dirty="0"/>
              <a:t>(highly technical) - </a:t>
            </a:r>
            <a:r>
              <a:rPr lang="en-US" sz="1800" b="0" dirty="0">
                <a:hlinkClick r:id="rId4"/>
              </a:rPr>
              <a:t>https://www.coursera.org/learn/cryptocurrency</a:t>
            </a:r>
            <a:endParaRPr lang="en-US" sz="1800" b="0" dirty="0"/>
          </a:p>
          <a:p>
            <a:pPr marL="342900" indent="-342900">
              <a:spcBef>
                <a:spcPts val="0"/>
              </a:spcBef>
              <a:buFont typeface="Arial" panose="020B0604020202020204" pitchFamily="34" charset="0"/>
              <a:buChar char="•"/>
            </a:pPr>
            <a:r>
              <a:rPr lang="en-US" sz="1800" b="0" dirty="0">
                <a:solidFill>
                  <a:srgbClr val="FF0000"/>
                </a:solidFill>
              </a:rPr>
              <a:t>Stanford course </a:t>
            </a:r>
            <a:r>
              <a:rPr lang="en-US" sz="1800" b="0" dirty="0"/>
              <a:t>(highly technical) - </a:t>
            </a:r>
            <a:r>
              <a:rPr lang="en-US" sz="1800" b="0" dirty="0">
                <a:hlinkClick r:id="rId5"/>
              </a:rPr>
              <a:t>https://crypto.stanford.edu/cs251/</a:t>
            </a:r>
            <a:endParaRPr lang="en-US" sz="1800" b="0" dirty="0"/>
          </a:p>
          <a:p>
            <a:pPr marL="285750" indent="-285750">
              <a:spcBef>
                <a:spcPts val="0"/>
              </a:spcBef>
              <a:buFont typeface="Arial" panose="020B0604020202020204" pitchFamily="34" charset="0"/>
              <a:buChar char="•"/>
            </a:pPr>
            <a:r>
              <a:rPr lang="en-US" sz="1800" b="0" dirty="0">
                <a:solidFill>
                  <a:srgbClr val="FF0000"/>
                </a:solidFill>
              </a:rPr>
              <a:t>MIT course </a:t>
            </a:r>
            <a:r>
              <a:rPr lang="en-US" sz="1800" b="0" dirty="0"/>
              <a:t>- </a:t>
            </a:r>
            <a:r>
              <a:rPr lang="en-US" sz="1800" b="0" dirty="0">
                <a:hlinkClick r:id="rId6"/>
              </a:rPr>
              <a:t>http://blockchain.media.mit.edu/syllabus.html</a:t>
            </a:r>
            <a:r>
              <a:rPr lang="en-US" sz="1800" b="0" dirty="0"/>
              <a:t> </a:t>
            </a:r>
          </a:p>
          <a:p>
            <a:r>
              <a:rPr lang="en-US" sz="2400" b="0" dirty="0"/>
              <a:t>People to follow</a:t>
            </a:r>
          </a:p>
          <a:p>
            <a:pPr marL="342900" indent="-342900">
              <a:spcBef>
                <a:spcPts val="0"/>
              </a:spcBef>
              <a:buFont typeface="Arial" panose="020B0604020202020204" pitchFamily="34" charset="0"/>
              <a:buChar char="•"/>
            </a:pPr>
            <a:r>
              <a:rPr lang="en-US" sz="1800" b="0" dirty="0">
                <a:solidFill>
                  <a:srgbClr val="FF0000"/>
                </a:solidFill>
              </a:rPr>
              <a:t>Andreas Antonopoulos </a:t>
            </a:r>
            <a:r>
              <a:rPr lang="en-US" sz="1800" b="0" dirty="0"/>
              <a:t>(Technologist and bitcoin evangelist) </a:t>
            </a:r>
            <a:r>
              <a:rPr lang="en-US" sz="1800" b="0" dirty="0">
                <a:hlinkClick r:id="rId7"/>
              </a:rPr>
              <a:t>https://antonopoulos.com/</a:t>
            </a:r>
            <a:r>
              <a:rPr lang="en-US" sz="1800" b="0" dirty="0"/>
              <a:t> and </a:t>
            </a:r>
            <a:r>
              <a:rPr lang="en-US" sz="1800" b="0" dirty="0">
                <a:hlinkClick r:id="rId8"/>
              </a:rPr>
              <a:t>https://www.youtube.com/user/aantonop</a:t>
            </a:r>
            <a:endParaRPr lang="en-US" sz="1800" b="0" dirty="0"/>
          </a:p>
          <a:p>
            <a:pPr marL="342900" indent="-342900">
              <a:spcBef>
                <a:spcPts val="0"/>
              </a:spcBef>
              <a:buFont typeface="Arial" panose="020B0604020202020204" pitchFamily="34" charset="0"/>
              <a:buChar char="•"/>
            </a:pPr>
            <a:r>
              <a:rPr lang="en-US" sz="1800" b="0" dirty="0" err="1">
                <a:solidFill>
                  <a:srgbClr val="FF0000"/>
                </a:solidFill>
              </a:rPr>
              <a:t>Vitalik</a:t>
            </a:r>
            <a:r>
              <a:rPr lang="en-US" sz="1800" b="0" dirty="0">
                <a:solidFill>
                  <a:srgbClr val="FF0000"/>
                </a:solidFill>
              </a:rPr>
              <a:t> </a:t>
            </a:r>
            <a:r>
              <a:rPr lang="en-US" sz="1800" b="0" dirty="0" err="1">
                <a:solidFill>
                  <a:srgbClr val="FF0000"/>
                </a:solidFill>
              </a:rPr>
              <a:t>Buterin</a:t>
            </a:r>
            <a:r>
              <a:rPr lang="en-US" sz="1800" b="0" dirty="0">
                <a:solidFill>
                  <a:srgbClr val="FF0000"/>
                </a:solidFill>
              </a:rPr>
              <a:t> </a:t>
            </a:r>
            <a:r>
              <a:rPr lang="en-US" sz="1800" b="0" dirty="0"/>
              <a:t>on </a:t>
            </a:r>
            <a:r>
              <a:rPr lang="en-US" sz="1800" b="0" dirty="0" err="1"/>
              <a:t>youtube</a:t>
            </a:r>
            <a:r>
              <a:rPr lang="en-US" sz="1800" b="0" dirty="0"/>
              <a:t>, inventor of Ethereum, genius wizard</a:t>
            </a:r>
          </a:p>
          <a:p>
            <a:pPr marL="285750" lvl="0" indent="-285750">
              <a:buFont typeface="Arial" panose="020B0604020202020204" pitchFamily="34" charset="0"/>
              <a:buChar char="•"/>
            </a:pPr>
            <a:endParaRPr lang="en-US" sz="1800" b="0" dirty="0"/>
          </a:p>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245971404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knowledge</a:t>
            </a:r>
          </a:p>
        </p:txBody>
      </p:sp>
      <p:sp>
        <p:nvSpPr>
          <p:cNvPr id="3" name="Text Placeholder 2"/>
          <p:cNvSpPr>
            <a:spLocks noGrp="1"/>
          </p:cNvSpPr>
          <p:nvPr>
            <p:ph type="body" sz="quarter" idx="10"/>
          </p:nvPr>
        </p:nvSpPr>
        <p:spPr/>
        <p:txBody>
          <a:bodyPr/>
          <a:lstStyle/>
          <a:p>
            <a:pPr marL="457200" indent="-457200">
              <a:buFont typeface="+mj-lt"/>
              <a:buAutoNum type="arabicPeriod"/>
            </a:pPr>
            <a:r>
              <a:rPr lang="en-US" dirty="0"/>
              <a:t>Where is the blockchain </a:t>
            </a:r>
            <a:r>
              <a:rPr lang="en-US" dirty="0">
                <a:solidFill>
                  <a:srgbClr val="FF0000"/>
                </a:solidFill>
              </a:rPr>
              <a:t>stored</a:t>
            </a:r>
            <a:r>
              <a:rPr lang="en-US" dirty="0"/>
              <a:t>?</a:t>
            </a:r>
          </a:p>
          <a:p>
            <a:pPr marL="457200" indent="-457200">
              <a:buFont typeface="+mj-lt"/>
              <a:buAutoNum type="arabicPeriod"/>
            </a:pPr>
            <a:r>
              <a:rPr lang="en-US" dirty="0"/>
              <a:t>What </a:t>
            </a:r>
            <a:r>
              <a:rPr lang="en-US" dirty="0">
                <a:solidFill>
                  <a:srgbClr val="FF0000"/>
                </a:solidFill>
              </a:rPr>
              <a:t>encryption</a:t>
            </a:r>
            <a:r>
              <a:rPr lang="en-US" dirty="0"/>
              <a:t> does bitcoin use?</a:t>
            </a:r>
          </a:p>
          <a:p>
            <a:pPr marL="457200" indent="-457200">
              <a:buFont typeface="+mj-lt"/>
              <a:buAutoNum type="arabicPeriod"/>
            </a:pPr>
            <a:r>
              <a:rPr lang="en-US" dirty="0"/>
              <a:t>What is </a:t>
            </a:r>
            <a:r>
              <a:rPr lang="en-US" dirty="0">
                <a:solidFill>
                  <a:srgbClr val="FF0000"/>
                </a:solidFill>
              </a:rPr>
              <a:t>mining</a:t>
            </a:r>
            <a:r>
              <a:rPr lang="en-US" dirty="0"/>
              <a:t>? Why is it needed?</a:t>
            </a:r>
          </a:p>
          <a:p>
            <a:pPr marL="457200" indent="-457200">
              <a:buFont typeface="+mj-lt"/>
              <a:buAutoNum type="arabicPeriod"/>
            </a:pPr>
            <a:r>
              <a:rPr lang="en-US" dirty="0"/>
              <a:t>Why should you wait for 6 </a:t>
            </a:r>
            <a:r>
              <a:rPr lang="en-US" dirty="0">
                <a:solidFill>
                  <a:srgbClr val="FF0000"/>
                </a:solidFill>
              </a:rPr>
              <a:t>confirmations</a:t>
            </a:r>
            <a:r>
              <a:rPr lang="en-US" dirty="0"/>
              <a:t> for a transaction?</a:t>
            </a:r>
          </a:p>
          <a:p>
            <a:pPr marL="457200" indent="-457200">
              <a:buFont typeface="+mj-lt"/>
              <a:buAutoNum type="arabicPeriod"/>
            </a:pPr>
            <a:r>
              <a:rPr lang="en-US" dirty="0"/>
              <a:t>What </a:t>
            </a:r>
            <a:r>
              <a:rPr lang="en-US" dirty="0">
                <a:solidFill>
                  <a:srgbClr val="FF0000"/>
                </a:solidFill>
              </a:rPr>
              <a:t>happens</a:t>
            </a:r>
            <a:r>
              <a:rPr lang="en-US" dirty="0"/>
              <a:t> if a block in not mined in 10 minutes?</a:t>
            </a:r>
          </a:p>
          <a:p>
            <a:pPr marL="457200" indent="-457200">
              <a:buFont typeface="+mj-lt"/>
              <a:buAutoNum type="arabicPeriod"/>
            </a:pPr>
            <a:r>
              <a:rPr lang="en-US" dirty="0"/>
              <a:t>If there is a 51% attack on the bitcoin network, what should you do to </a:t>
            </a:r>
            <a:r>
              <a:rPr lang="en-US" dirty="0">
                <a:solidFill>
                  <a:srgbClr val="FF0000"/>
                </a:solidFill>
              </a:rPr>
              <a:t>protect</a:t>
            </a:r>
            <a:r>
              <a:rPr lang="en-US" dirty="0"/>
              <a:t> your bitcoin?</a:t>
            </a:r>
          </a:p>
          <a:p>
            <a:pPr marL="457200" indent="-457200">
              <a:buFont typeface="+mj-lt"/>
              <a:buAutoNum type="arabicPeriod"/>
            </a:pPr>
            <a:endParaRPr lang="en-US" dirty="0"/>
          </a:p>
          <a:p>
            <a:pPr marL="457200" indent="-457200">
              <a:buFont typeface="+mj-lt"/>
              <a:buAutoNum type="arabicPeriod"/>
            </a:pPr>
            <a:endParaRPr lang="en-US" dirty="0"/>
          </a:p>
        </p:txBody>
      </p:sp>
      <p:sp>
        <p:nvSpPr>
          <p:cNvPr id="4" name="Text Placeholder 3"/>
          <p:cNvSpPr>
            <a:spLocks noGrp="1"/>
          </p:cNvSpPr>
          <p:nvPr>
            <p:ph type="body" sz="quarter" idx="11"/>
          </p:nvPr>
        </p:nvSpPr>
        <p:spPr/>
        <p:txBody>
          <a:bodyPr/>
          <a:lstStyle/>
          <a:p>
            <a:pPr marL="457200" indent="-457200">
              <a:buFont typeface="+mj-lt"/>
              <a:buAutoNum type="arabicPeriod" startAt="7"/>
            </a:pPr>
            <a:r>
              <a:rPr lang="en-US" dirty="0"/>
              <a:t>Who </a:t>
            </a:r>
            <a:r>
              <a:rPr lang="en-US" dirty="0">
                <a:solidFill>
                  <a:srgbClr val="FF0000"/>
                </a:solidFill>
              </a:rPr>
              <a:t>issues</a:t>
            </a:r>
            <a:r>
              <a:rPr lang="en-US" dirty="0"/>
              <a:t> bitcoin addresses?</a:t>
            </a:r>
          </a:p>
          <a:p>
            <a:pPr marL="457200" indent="-457200">
              <a:buFont typeface="+mj-lt"/>
              <a:buAutoNum type="arabicPeriod" startAt="7"/>
            </a:pPr>
            <a:r>
              <a:rPr lang="en-US" dirty="0"/>
              <a:t>What is the </a:t>
            </a:r>
            <a:r>
              <a:rPr lang="en-US" dirty="0">
                <a:solidFill>
                  <a:srgbClr val="FF0000"/>
                </a:solidFill>
              </a:rPr>
              <a:t>name</a:t>
            </a:r>
            <a:r>
              <a:rPr lang="en-US" dirty="0"/>
              <a:t> and </a:t>
            </a:r>
            <a:r>
              <a:rPr lang="en-US" dirty="0">
                <a:solidFill>
                  <a:srgbClr val="FF0000"/>
                </a:solidFill>
              </a:rPr>
              <a:t>number</a:t>
            </a:r>
            <a:r>
              <a:rPr lang="en-US" dirty="0"/>
              <a:t> of the first block in the blockchain?</a:t>
            </a:r>
          </a:p>
          <a:p>
            <a:pPr marL="457200" indent="-457200">
              <a:buFont typeface="+mj-lt"/>
              <a:buAutoNum type="arabicPeriod" startAt="7"/>
            </a:pPr>
            <a:r>
              <a:rPr lang="en-US" dirty="0"/>
              <a:t>How can non-miners </a:t>
            </a:r>
            <a:r>
              <a:rPr lang="en-US" dirty="0">
                <a:solidFill>
                  <a:srgbClr val="FF0000"/>
                </a:solidFill>
              </a:rPr>
              <a:t>acquire</a:t>
            </a:r>
            <a:r>
              <a:rPr lang="en-US" dirty="0"/>
              <a:t> bitcoin?</a:t>
            </a:r>
          </a:p>
          <a:p>
            <a:pPr marL="457200" indent="-457200">
              <a:buFont typeface="+mj-lt"/>
              <a:buAutoNum type="arabicPeriod" startAt="7"/>
            </a:pPr>
            <a:r>
              <a:rPr lang="en-US" dirty="0"/>
              <a:t>What makes the blockchain </a:t>
            </a:r>
            <a:r>
              <a:rPr lang="en-US" dirty="0">
                <a:solidFill>
                  <a:srgbClr val="FF0000"/>
                </a:solidFill>
              </a:rPr>
              <a:t>immutable</a:t>
            </a:r>
            <a:r>
              <a:rPr lang="en-US" dirty="0"/>
              <a:t>?</a:t>
            </a:r>
          </a:p>
          <a:p>
            <a:pPr marL="457200" indent="-457200">
              <a:buFont typeface="+mj-lt"/>
              <a:buAutoNum type="arabicPeriod" startAt="7"/>
            </a:pPr>
            <a:r>
              <a:rPr lang="en-US" dirty="0"/>
              <a:t>What is a </a:t>
            </a:r>
            <a:r>
              <a:rPr lang="en-US" dirty="0">
                <a:solidFill>
                  <a:srgbClr val="FF0000"/>
                </a:solidFill>
              </a:rPr>
              <a:t>nonce</a:t>
            </a:r>
            <a:r>
              <a:rPr lang="en-US" dirty="0"/>
              <a:t>?</a:t>
            </a:r>
          </a:p>
          <a:p>
            <a:pPr marL="457200" indent="-457200">
              <a:buFont typeface="+mj-lt"/>
              <a:buAutoNum type="arabicPeriod" startAt="7"/>
            </a:pPr>
            <a:r>
              <a:rPr lang="en-US" dirty="0"/>
              <a:t>Where is your bitcoin </a:t>
            </a:r>
            <a:r>
              <a:rPr lang="en-US" dirty="0">
                <a:solidFill>
                  <a:srgbClr val="FF0000"/>
                </a:solidFill>
              </a:rPr>
              <a:t>stored</a:t>
            </a:r>
            <a:r>
              <a:rPr lang="en-US" dirty="0"/>
              <a:t>?</a:t>
            </a:r>
          </a:p>
          <a:p>
            <a:pPr marL="457200" indent="-457200">
              <a:buFont typeface="+mj-lt"/>
              <a:buAutoNum type="arabicPeriod" startAt="7"/>
            </a:pPr>
            <a:r>
              <a:rPr lang="en-US" dirty="0"/>
              <a:t>What is the balance of the address to which the first mined bitcoins were sent?</a:t>
            </a:r>
          </a:p>
        </p:txBody>
      </p:sp>
      <p:pic>
        <p:nvPicPr>
          <p:cNvPr id="5" name="Picture 4"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923624" y="158244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05983" y="3813852"/>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06590" y="4782168"/>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63485" y="6009237"/>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720172" y="1582444"/>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941308" y="273437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360031" y="3138708"/>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537517" y="3813852"/>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39416" y="4392320"/>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378965" y="4884235"/>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038534" y="2814696"/>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43898" y="2242460"/>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623242" y="6085408"/>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05565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Which team has the most number of bitcoin souvenirs in the Workshop?</a:t>
            </a:r>
          </a:p>
          <a:p>
            <a:r>
              <a:rPr lang="en-US" dirty="0"/>
              <a:t>They will now receive </a:t>
            </a:r>
            <a:r>
              <a:rPr lang="en-US" dirty="0">
                <a:solidFill>
                  <a:srgbClr val="FF0000"/>
                </a:solidFill>
              </a:rPr>
              <a:t>500000 </a:t>
            </a:r>
            <a:r>
              <a:rPr lang="en-US" dirty="0" err="1">
                <a:solidFill>
                  <a:srgbClr val="FF0000"/>
                </a:solidFill>
              </a:rPr>
              <a:t>Satoshis</a:t>
            </a:r>
            <a:r>
              <a:rPr lang="en-US" dirty="0">
                <a:solidFill>
                  <a:srgbClr val="FF0000"/>
                </a:solidFill>
              </a:rPr>
              <a:t> </a:t>
            </a:r>
            <a:r>
              <a:rPr lang="en-US" dirty="0"/>
              <a:t>from me in the form of a paper wallet!</a:t>
            </a:r>
          </a:p>
          <a:p>
            <a:r>
              <a:rPr lang="en-US" dirty="0"/>
              <a:t>They MUST safeguard that paper wallet!</a:t>
            </a:r>
          </a:p>
          <a:p>
            <a:r>
              <a:rPr lang="en-US" dirty="0"/>
              <a:t>They can install a wallet software and move the bitcoin to their software wallet if they want.</a:t>
            </a:r>
          </a:p>
        </p:txBody>
      </p:sp>
      <p:sp>
        <p:nvSpPr>
          <p:cNvPr id="2" name="Title 1"/>
          <p:cNvSpPr>
            <a:spLocks noGrp="1"/>
          </p:cNvSpPr>
          <p:nvPr>
            <p:ph type="title"/>
          </p:nvPr>
        </p:nvSpPr>
        <p:spPr/>
        <p:txBody>
          <a:bodyPr/>
          <a:lstStyle/>
          <a:p>
            <a:r>
              <a:rPr lang="en-US" dirty="0"/>
              <a:t>And </a:t>
            </a:r>
            <a:r>
              <a:rPr lang="en-US"/>
              <a:t>now … the </a:t>
            </a:r>
            <a:r>
              <a:rPr lang="en-US" dirty="0"/>
              <a:t>prize!</a:t>
            </a:r>
          </a:p>
        </p:txBody>
      </p:sp>
      <p:pic>
        <p:nvPicPr>
          <p:cNvPr id="4098" name="Picture 2" descr="Image result for bitcoin paper walle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208016" y="2344366"/>
            <a:ext cx="5661184" cy="3048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06156"/>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rap up</a:t>
            </a:r>
          </a:p>
        </p:txBody>
      </p:sp>
      <p:sp>
        <p:nvSpPr>
          <p:cNvPr id="5" name="Text Placeholder 4"/>
          <p:cNvSpPr>
            <a:spLocks noGrp="1"/>
          </p:cNvSpPr>
          <p:nvPr>
            <p:ph type="body" sz="quarter" idx="10"/>
          </p:nvPr>
        </p:nvSpPr>
        <p:spPr>
          <a:xfrm>
            <a:off x="380561" y="1568530"/>
            <a:ext cx="11545200" cy="4392043"/>
          </a:xfrm>
        </p:spPr>
        <p:txBody>
          <a:bodyPr/>
          <a:lstStyle/>
          <a:p>
            <a:pPr marL="342900" indent="-342900">
              <a:buFont typeface="Arial" panose="020B0604020202020204" pitchFamily="34" charset="0"/>
              <a:buChar char="•"/>
            </a:pPr>
            <a:r>
              <a:rPr lang="en-US" dirty="0"/>
              <a:t>I hope you found this Workshop exciting, informative, and exponential in learning.</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 </a:t>
            </a:r>
            <a:r>
              <a:rPr lang="en-US" i="1" dirty="0">
                <a:sym typeface="Wingdings" panose="05000000000000000000" pitchFamily="2" charset="2"/>
              </a:rPr>
              <a:t>TIME FOR A BITCOIN GROUP SELFIE!</a:t>
            </a:r>
            <a:endParaRPr lang="en-US" i="1" dirty="0"/>
          </a:p>
          <a:p>
            <a:endParaRPr lang="en-US" dirty="0"/>
          </a:p>
          <a:p>
            <a:endParaRPr lang="en-US" dirty="0"/>
          </a:p>
        </p:txBody>
      </p:sp>
    </p:spTree>
    <p:extLst>
      <p:ext uri="{BB962C8B-B14F-4D97-AF65-F5344CB8AC3E}">
        <p14:creationId xmlns:p14="http://schemas.microsoft.com/office/powerpoint/2010/main" val="4187396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3189" y="694543"/>
            <a:ext cx="11545200" cy="923330"/>
          </a:xfrm>
        </p:spPr>
        <p:txBody>
          <a:bodyPr/>
          <a:lstStyle/>
          <a:p>
            <a:r>
              <a:rPr lang="en-US" altLang="zh-HK" dirty="0"/>
              <a:t>Thank You!</a:t>
            </a:r>
            <a:br>
              <a:rPr lang="en-US" altLang="zh-HK" dirty="0"/>
            </a:br>
            <a:br>
              <a:rPr lang="en-US" sz="1600" b="0" dirty="0"/>
            </a:br>
            <a:br>
              <a:rPr lang="en-US" sz="1600" b="0" dirty="0"/>
            </a:br>
            <a:endParaRPr lang="en-US" sz="1600" b="0" dirty="0"/>
          </a:p>
        </p:txBody>
      </p:sp>
      <p:sp>
        <p:nvSpPr>
          <p:cNvPr id="3" name="Text Placeholder 2"/>
          <p:cNvSpPr>
            <a:spLocks noGrp="1"/>
          </p:cNvSpPr>
          <p:nvPr>
            <p:ph type="body" sz="quarter" idx="10"/>
          </p:nvPr>
        </p:nvSpPr>
        <p:spPr>
          <a:xfrm>
            <a:off x="533005" y="2382552"/>
            <a:ext cx="6756069" cy="2980704"/>
          </a:xfrm>
        </p:spPr>
        <p:txBody>
          <a:bodyPr/>
          <a:lstStyle/>
          <a:p>
            <a:endParaRPr lang="en-US" dirty="0"/>
          </a:p>
          <a:p>
            <a:r>
              <a:rPr lang="en-US" sz="2800" b="1" dirty="0"/>
              <a:t>Nitin Kalé</a:t>
            </a:r>
          </a:p>
          <a:p>
            <a:r>
              <a:rPr lang="en-US" sz="1800" dirty="0"/>
              <a:t>Associate Professor</a:t>
            </a:r>
          </a:p>
          <a:p>
            <a:r>
              <a:rPr lang="en-US" sz="1800" dirty="0"/>
              <a:t>Information Technology Program and</a:t>
            </a:r>
          </a:p>
          <a:p>
            <a:r>
              <a:rPr lang="en-US" sz="1800" dirty="0"/>
              <a:t>Epstein Department of Industrial and Systems Engineering</a:t>
            </a:r>
          </a:p>
          <a:p>
            <a:r>
              <a:rPr lang="en-US" sz="1800" dirty="0"/>
              <a:t>Viterbi School of Engineering</a:t>
            </a:r>
          </a:p>
          <a:p>
            <a:r>
              <a:rPr lang="en-US" sz="1800" dirty="0"/>
              <a:t>University of Southern California</a:t>
            </a:r>
          </a:p>
          <a:p>
            <a:r>
              <a:rPr lang="en-US" sz="1800" dirty="0"/>
              <a:t>3650 McClintock Ave, OHE412</a:t>
            </a:r>
          </a:p>
          <a:p>
            <a:r>
              <a:rPr lang="en-US" sz="1800" dirty="0"/>
              <a:t>Los Angeles, CA 90089</a:t>
            </a:r>
          </a:p>
          <a:p>
            <a:r>
              <a:rPr lang="en-US" sz="1800" dirty="0"/>
              <a:t>+01 (213) 740 – 7083</a:t>
            </a:r>
          </a:p>
          <a:p>
            <a:r>
              <a:rPr lang="en-US" sz="1800" dirty="0">
                <a:hlinkClick r:id="rId2"/>
              </a:rPr>
              <a:t>kale@usc.edu</a:t>
            </a:r>
            <a:endParaRPr lang="en-US" sz="1800" dirty="0"/>
          </a:p>
        </p:txBody>
      </p:sp>
    </p:spTree>
    <p:extLst>
      <p:ext uri="{BB962C8B-B14F-4D97-AF65-F5344CB8AC3E}">
        <p14:creationId xmlns:p14="http://schemas.microsoft.com/office/powerpoint/2010/main" val="30119746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pic>
        <p:nvPicPr>
          <p:cNvPr id="1026" name="Picture 2" descr="Image result for yap mone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45103" y="194054"/>
            <a:ext cx="7902993" cy="59367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510171" y="6388648"/>
            <a:ext cx="4360168" cy="1384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900" kern="0" dirty="0">
                <a:ea typeface="Arial Unicode MS" pitchFamily="34" charset="-128"/>
                <a:cs typeface="Arial Unicode MS" pitchFamily="34" charset="-128"/>
              </a:rPr>
              <a:t>http://www.npr.org/sections/money/2011/02/15/131934618/the-island-of-stone-money</a:t>
            </a:r>
          </a:p>
        </p:txBody>
      </p:sp>
      <p:sp>
        <p:nvSpPr>
          <p:cNvPr id="6" name="TextBox 5"/>
          <p:cNvSpPr txBox="1"/>
          <p:nvPr/>
        </p:nvSpPr>
        <p:spPr>
          <a:xfrm>
            <a:off x="8301049" y="1475107"/>
            <a:ext cx="1703993" cy="3677930"/>
          </a:xfrm>
          <a:prstGeom prst="rect">
            <a:avLst/>
          </a:prstGeom>
          <a:noFill/>
          <a:effectLst>
            <a:outerShdw blurRad="50800" dist="38100" dir="2700000" algn="tl" rotWithShape="0">
              <a:prstClr val="black">
                <a:alpha val="40000"/>
              </a:prstClr>
            </a:outerShdw>
          </a:effectLst>
        </p:spPr>
        <p:txBody>
          <a:bodyPr wrap="none" lIns="0" tIns="0" rIns="0" bIns="0" rtlCol="0">
            <a:spAutoFit/>
          </a:bodyPr>
          <a:lstStyle/>
          <a:p>
            <a:pPr fontAlgn="base">
              <a:spcBef>
                <a:spcPts val="600"/>
              </a:spcBef>
              <a:spcAft>
                <a:spcPct val="0"/>
              </a:spcAft>
              <a:buClr>
                <a:srgbClr val="F0AB00"/>
              </a:buClr>
              <a:buSzPct val="80000"/>
            </a:pPr>
            <a:r>
              <a:rPr lang="en-US" sz="23900" kern="0" dirty="0">
                <a:solidFill>
                  <a:srgbClr val="FF0000"/>
                </a:solidFill>
                <a:ea typeface="Arial Unicode MS" pitchFamily="34" charset="-128"/>
                <a:cs typeface="Arial Unicode MS" pitchFamily="34" charset="-128"/>
              </a:rPr>
              <a:t>?</a:t>
            </a:r>
          </a:p>
        </p:txBody>
      </p:sp>
    </p:spTree>
    <p:extLst>
      <p:ext uri="{BB962C8B-B14F-4D97-AF65-F5344CB8AC3E}">
        <p14:creationId xmlns:p14="http://schemas.microsoft.com/office/powerpoint/2010/main" val="2700895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400 miles from Yap to Palau</a:t>
            </a:r>
          </a:p>
        </p:txBody>
      </p:sp>
      <p:pic>
        <p:nvPicPr>
          <p:cNvPr id="2050" name="Picture 2" descr="https://islandculturearchivalsupport.files.wordpress.com/2014/05/yap-ma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3096" y="1212965"/>
            <a:ext cx="9582150" cy="532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213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mint” Rai (aka </a:t>
            </a:r>
            <a:r>
              <a:rPr lang="en-US" dirty="0" err="1"/>
              <a:t>Fei</a:t>
            </a:r>
            <a:r>
              <a:rPr lang="en-US" dirty="0"/>
              <a:t>) stones</a:t>
            </a:r>
          </a:p>
        </p:txBody>
      </p:sp>
      <p:sp>
        <p:nvSpPr>
          <p:cNvPr id="3" name="Text Placeholder 2"/>
          <p:cNvSpPr>
            <a:spLocks noGrp="1"/>
          </p:cNvSpPr>
          <p:nvPr>
            <p:ph type="body" sz="quarter" idx="10"/>
          </p:nvPr>
        </p:nvSpPr>
        <p:spPr/>
        <p:txBody>
          <a:bodyPr/>
          <a:lstStyle/>
          <a:p>
            <a:r>
              <a:rPr lang="en-US" dirty="0">
                <a:solidFill>
                  <a:srgbClr val="FF0000"/>
                </a:solidFill>
              </a:rPr>
              <a:t>Commission</a:t>
            </a:r>
            <a:r>
              <a:rPr lang="en-US" dirty="0"/>
              <a:t> (hire) workers to sail to another island</a:t>
            </a:r>
          </a:p>
          <a:p>
            <a:r>
              <a:rPr lang="en-US" dirty="0">
                <a:solidFill>
                  <a:srgbClr val="FF0000"/>
                </a:solidFill>
              </a:rPr>
              <a:t>Cooperate</a:t>
            </a:r>
            <a:r>
              <a:rPr lang="en-US" dirty="0"/>
              <a:t> with remote island’s residents to quarry their limestone</a:t>
            </a:r>
          </a:p>
          <a:p>
            <a:r>
              <a:rPr lang="en-US" dirty="0">
                <a:solidFill>
                  <a:srgbClr val="FF0000"/>
                </a:solidFill>
              </a:rPr>
              <a:t>Carve</a:t>
            </a:r>
            <a:r>
              <a:rPr lang="en-US" dirty="0"/>
              <a:t> out the stone from limestone. 1ft-12ft.</a:t>
            </a:r>
          </a:p>
          <a:p>
            <a:r>
              <a:rPr lang="en-US" dirty="0">
                <a:solidFill>
                  <a:srgbClr val="FF0000"/>
                </a:solidFill>
              </a:rPr>
              <a:t>Carry</a:t>
            </a:r>
            <a:r>
              <a:rPr lang="en-US" dirty="0"/>
              <a:t> (sail) the stone back to Yap island</a:t>
            </a:r>
          </a:p>
          <a:p>
            <a:r>
              <a:rPr lang="en-US" dirty="0">
                <a:solidFill>
                  <a:srgbClr val="FF0000"/>
                </a:solidFill>
              </a:rPr>
              <a:t>Commit</a:t>
            </a:r>
            <a:r>
              <a:rPr lang="en-US" dirty="0"/>
              <a:t> the ownership of the stone to the commissioner/owner</a:t>
            </a:r>
          </a:p>
          <a:p>
            <a:r>
              <a:rPr lang="en-US" dirty="0">
                <a:solidFill>
                  <a:srgbClr val="FF0000"/>
                </a:solidFill>
              </a:rPr>
              <a:t>Communicate</a:t>
            </a:r>
            <a:r>
              <a:rPr lang="en-US" dirty="0"/>
              <a:t> the record (ledger?) of ownership to all</a:t>
            </a:r>
          </a:p>
        </p:txBody>
      </p:sp>
      <p:pic>
        <p:nvPicPr>
          <p:cNvPr id="2050" name="Picture 2" descr="http://www.wondermondo.com/Images/Oceania/FSMicronesia/Yap/RaiYap4.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84888" y="1487487"/>
            <a:ext cx="5886450" cy="4314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9532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pic>
        <p:nvPicPr>
          <p:cNvPr id="2050" name="Picture 2" descr="http://www.pacificworlds.com/palau/native/images/bigdisk.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86013" y="1359624"/>
            <a:ext cx="6699250" cy="4868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185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pic>
        <p:nvPicPr>
          <p:cNvPr id="3074" name="Picture 2" descr="Image result for yap stone bottom of sea"/>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07062" y="463153"/>
            <a:ext cx="7465588" cy="5599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365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ant Observations about Rai stones</a:t>
            </a:r>
          </a:p>
        </p:txBody>
      </p:sp>
      <p:sp>
        <p:nvSpPr>
          <p:cNvPr id="4" name="Text Placeholder 3"/>
          <p:cNvSpPr>
            <a:spLocks noGrp="1"/>
          </p:cNvSpPr>
          <p:nvPr>
            <p:ph type="body" sz="quarter" idx="10"/>
          </p:nvPr>
        </p:nvSpPr>
        <p:spPr>
          <a:xfrm>
            <a:off x="323999" y="1692391"/>
            <a:ext cx="11606064" cy="4393017"/>
          </a:xfrm>
        </p:spPr>
        <p:txBody>
          <a:bodyPr/>
          <a:lstStyle/>
          <a:p>
            <a:pPr marL="342900" indent="-342900">
              <a:buFont typeface="Arial" panose="020B0604020202020204" pitchFamily="34" charset="0"/>
              <a:buChar char="•"/>
            </a:pPr>
            <a:r>
              <a:rPr lang="en-US" dirty="0"/>
              <a:t>No source of </a:t>
            </a:r>
            <a:r>
              <a:rPr lang="en-US" dirty="0">
                <a:solidFill>
                  <a:srgbClr val="FF0000"/>
                </a:solidFill>
              </a:rPr>
              <a:t>metal</a:t>
            </a:r>
            <a:r>
              <a:rPr lang="en-US" dirty="0"/>
              <a:t> on the island</a:t>
            </a:r>
          </a:p>
          <a:p>
            <a:pPr marL="342900" indent="-342900">
              <a:buFont typeface="Arial" panose="020B0604020202020204" pitchFamily="34" charset="0"/>
              <a:buChar char="•"/>
            </a:pPr>
            <a:r>
              <a:rPr lang="en-US" dirty="0">
                <a:solidFill>
                  <a:srgbClr val="FF0000"/>
                </a:solidFill>
              </a:rPr>
              <a:t>Scarce</a:t>
            </a:r>
          </a:p>
          <a:p>
            <a:pPr marL="342900" indent="-342900">
              <a:buFont typeface="Arial" panose="020B0604020202020204" pitchFamily="34" charset="0"/>
              <a:buChar char="•"/>
            </a:pPr>
            <a:r>
              <a:rPr lang="en-US" dirty="0"/>
              <a:t>Difficult to </a:t>
            </a:r>
            <a:r>
              <a:rPr lang="en-US" dirty="0">
                <a:solidFill>
                  <a:srgbClr val="FF0000"/>
                </a:solidFill>
              </a:rPr>
              <a:t>mine</a:t>
            </a:r>
            <a:r>
              <a:rPr lang="en-US" dirty="0"/>
              <a:t> (quarry)</a:t>
            </a:r>
          </a:p>
          <a:p>
            <a:pPr marL="342900" indent="-342900">
              <a:buFont typeface="Arial" panose="020B0604020202020204" pitchFamily="34" charset="0"/>
              <a:buChar char="•"/>
            </a:pPr>
            <a:r>
              <a:rPr lang="en-US" dirty="0"/>
              <a:t>Expend </a:t>
            </a:r>
            <a:r>
              <a:rPr lang="en-US" dirty="0">
                <a:solidFill>
                  <a:srgbClr val="FF0000"/>
                </a:solidFill>
              </a:rPr>
              <a:t>resources</a:t>
            </a:r>
            <a:r>
              <a:rPr lang="en-US" dirty="0"/>
              <a:t> to produce money</a:t>
            </a:r>
          </a:p>
          <a:p>
            <a:pPr marL="342900" indent="-342900">
              <a:buFont typeface="Arial" panose="020B0604020202020204" pitchFamily="34" charset="0"/>
              <a:buChar char="•"/>
            </a:pPr>
            <a:r>
              <a:rPr lang="en-US" dirty="0"/>
              <a:t>Hard to </a:t>
            </a:r>
            <a:r>
              <a:rPr lang="en-US" dirty="0">
                <a:solidFill>
                  <a:srgbClr val="FF0000"/>
                </a:solidFill>
              </a:rPr>
              <a:t>forge</a:t>
            </a:r>
            <a:r>
              <a:rPr lang="en-US" dirty="0"/>
              <a:t> (counterfeit)</a:t>
            </a:r>
          </a:p>
          <a:p>
            <a:pPr marL="342900" indent="-342900">
              <a:buFont typeface="Arial" panose="020B0604020202020204" pitchFamily="34" charset="0"/>
              <a:buChar char="•"/>
            </a:pPr>
            <a:r>
              <a:rPr lang="en-US" dirty="0"/>
              <a:t>Hard to </a:t>
            </a:r>
            <a:r>
              <a:rPr lang="en-US" dirty="0">
                <a:solidFill>
                  <a:srgbClr val="FF0000"/>
                </a:solidFill>
              </a:rPr>
              <a:t>divide</a:t>
            </a:r>
            <a:r>
              <a:rPr lang="en-US" dirty="0"/>
              <a:t> (destroy)</a:t>
            </a:r>
          </a:p>
          <a:p>
            <a:pPr marL="342900" indent="-342900">
              <a:buFont typeface="Arial" panose="020B0604020202020204" pitchFamily="34" charset="0"/>
              <a:buChar char="•"/>
            </a:pPr>
            <a:r>
              <a:rPr lang="en-US" dirty="0"/>
              <a:t>Hard to </a:t>
            </a:r>
            <a:r>
              <a:rPr lang="en-US" dirty="0">
                <a:solidFill>
                  <a:srgbClr val="FF0000"/>
                </a:solidFill>
              </a:rPr>
              <a:t>move</a:t>
            </a:r>
            <a:r>
              <a:rPr lang="en-US" dirty="0"/>
              <a:t> (keep a (oral) ledger of ownership instead of transferring physical possession)</a:t>
            </a:r>
          </a:p>
          <a:p>
            <a:pPr marL="342900" indent="-342900">
              <a:buFont typeface="Arial" panose="020B0604020202020204" pitchFamily="34" charset="0"/>
              <a:buChar char="•"/>
            </a:pPr>
            <a:r>
              <a:rPr lang="en-US" dirty="0"/>
              <a:t>When the Germans put a ‘</a:t>
            </a:r>
            <a:r>
              <a:rPr lang="en-US" dirty="0">
                <a:solidFill>
                  <a:srgbClr val="FF0000"/>
                </a:solidFill>
              </a:rPr>
              <a:t>cross</a:t>
            </a:r>
            <a:r>
              <a:rPr lang="en-US" dirty="0"/>
              <a:t>’ mark on stones as penalty for not repairing paths…</a:t>
            </a:r>
          </a:p>
          <a:p>
            <a:pPr marL="342900" indent="-342900">
              <a:buFont typeface="Arial" panose="020B0604020202020204" pitchFamily="34" charset="0"/>
              <a:buChar char="•"/>
            </a:pPr>
            <a:endParaRPr lang="en-US" dirty="0"/>
          </a:p>
        </p:txBody>
      </p:sp>
      <p:pic>
        <p:nvPicPr>
          <p:cNvPr id="3076" name="Picture 4"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03975" y="1416325"/>
            <a:ext cx="5020456" cy="3765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0250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HK" kern="0" dirty="0">
                <a:ea typeface="Arial Unicode MS" pitchFamily="34" charset="-128"/>
                <a:cs typeface="Arial Unicode MS" pitchFamily="34" charset="-128"/>
              </a:rPr>
              <a:t>Blockchain Basics</a:t>
            </a:r>
            <a:br>
              <a:rPr lang="en-US" altLang="zh-HK" kern="0" dirty="0">
                <a:ea typeface="Arial Unicode MS" pitchFamily="34" charset="-128"/>
                <a:cs typeface="Arial Unicode MS" pitchFamily="34" charset="-128"/>
              </a:rPr>
            </a:br>
            <a:endParaRPr lang="en-US" dirty="0"/>
          </a:p>
        </p:txBody>
      </p:sp>
      <p:sp>
        <p:nvSpPr>
          <p:cNvPr id="5" name="Text Placeholder 4"/>
          <p:cNvSpPr>
            <a:spLocks noGrp="1"/>
          </p:cNvSpPr>
          <p:nvPr>
            <p:ph type="body" sz="quarter" idx="10"/>
          </p:nvPr>
        </p:nvSpPr>
        <p:spPr/>
        <p:txBody>
          <a:bodyPr/>
          <a:lstStyle/>
          <a:p>
            <a:endParaRPr lang="en-US"/>
          </a:p>
        </p:txBody>
      </p:sp>
      <p:pic>
        <p:nvPicPr>
          <p:cNvPr id="4100" name="Picture 4" descr="Image result for blockchain fork"/>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0524" y="94203"/>
            <a:ext cx="11478676" cy="2301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513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block and chain"/>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05530" y="1490133"/>
            <a:ext cx="5154084" cy="34360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blockchain diagram"/>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62772" y="1490133"/>
            <a:ext cx="6107346" cy="34360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0258426" y="4926189"/>
            <a:ext cx="1936749" cy="261610"/>
          </a:xfrm>
          <a:prstGeom prst="rect">
            <a:avLst/>
          </a:prstGeom>
        </p:spPr>
        <p:txBody>
          <a:bodyPr wrap="none">
            <a:spAutoFit/>
          </a:bodyPr>
          <a:lstStyle/>
          <a:p>
            <a:r>
              <a:rPr lang="en-US" sz="1050" dirty="0"/>
              <a:t>https://bitcoin.org/bitcoin.pdf</a:t>
            </a:r>
          </a:p>
        </p:txBody>
      </p:sp>
    </p:spTree>
    <p:extLst>
      <p:ext uri="{BB962C8B-B14F-4D97-AF65-F5344CB8AC3E}">
        <p14:creationId xmlns:p14="http://schemas.microsoft.com/office/powerpoint/2010/main" val="2260002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pPr algn="ctr"/>
            <a:r>
              <a:rPr lang="en-US" sz="4800" dirty="0"/>
              <a:t>Download workshop materials here</a:t>
            </a:r>
          </a:p>
        </p:txBody>
      </p:sp>
      <p:sp>
        <p:nvSpPr>
          <p:cNvPr id="7" name="Text Placeholder 6"/>
          <p:cNvSpPr>
            <a:spLocks noGrp="1"/>
          </p:cNvSpPr>
          <p:nvPr>
            <p:ph type="body" sz="quarter" idx="10"/>
          </p:nvPr>
        </p:nvSpPr>
        <p:spPr/>
        <p:txBody>
          <a:bodyPr/>
          <a:lstStyle/>
          <a:p>
            <a:pPr algn="ctr"/>
            <a:r>
              <a:rPr lang="en-US" sz="9600" dirty="0">
                <a:solidFill>
                  <a:srgbClr val="FFFF00"/>
                </a:solidFill>
              </a:rPr>
              <a:t>http://bit.ly/2DhJ3gV</a:t>
            </a:r>
            <a:endParaRPr lang="en-US" sz="123400" dirty="0">
              <a:solidFill>
                <a:srgbClr val="FFFF00"/>
              </a:solidFill>
            </a:endParaRPr>
          </a:p>
        </p:txBody>
      </p:sp>
    </p:spTree>
    <p:extLst>
      <p:ext uri="{BB962C8B-B14F-4D97-AF65-F5344CB8AC3E}">
        <p14:creationId xmlns:p14="http://schemas.microsoft.com/office/powerpoint/2010/main" val="567273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ymology</a:t>
            </a:r>
          </a:p>
        </p:txBody>
      </p:sp>
      <p:sp>
        <p:nvSpPr>
          <p:cNvPr id="3" name="Text Placeholder 2"/>
          <p:cNvSpPr>
            <a:spLocks noGrp="1"/>
          </p:cNvSpPr>
          <p:nvPr>
            <p:ph type="body" sz="quarter" idx="10"/>
          </p:nvPr>
        </p:nvSpPr>
        <p:spPr/>
        <p:txBody>
          <a:bodyPr/>
          <a:lstStyle/>
          <a:p>
            <a:r>
              <a:rPr lang="en-US" dirty="0"/>
              <a:t>Blockchain is </a:t>
            </a:r>
            <a:r>
              <a:rPr lang="en-US" i="1" dirty="0"/>
              <a:t>not</a:t>
            </a:r>
            <a:r>
              <a:rPr lang="en-US" dirty="0"/>
              <a:t> mentioned in the </a:t>
            </a:r>
            <a:r>
              <a:rPr lang="en-US" dirty="0" err="1"/>
              <a:t>Nakamoto</a:t>
            </a:r>
            <a:r>
              <a:rPr lang="en-US" dirty="0"/>
              <a:t> paper.</a:t>
            </a:r>
          </a:p>
          <a:p>
            <a:r>
              <a:rPr lang="en-US" dirty="0"/>
              <a:t>Reference to it in an email from Hal Finney to </a:t>
            </a:r>
            <a:r>
              <a:rPr lang="en-US" dirty="0" err="1"/>
              <a:t>Nakamoto</a:t>
            </a:r>
            <a:r>
              <a:rPr lang="en-US" dirty="0"/>
              <a:t> </a:t>
            </a:r>
            <a:r>
              <a:rPr lang="en-US" dirty="0">
                <a:hlinkClick r:id="rId2"/>
              </a:rPr>
              <a:t>http://satoshi.nakamotoinstitute.org/emails/cryptography/6/</a:t>
            </a:r>
            <a:endParaRPr lang="en-US" dirty="0"/>
          </a:p>
          <a:p>
            <a:endParaRPr lang="en-US" dirty="0"/>
          </a:p>
        </p:txBody>
      </p:sp>
      <p:pic>
        <p:nvPicPr>
          <p:cNvPr id="5" name="Picture 4"/>
          <p:cNvPicPr>
            <a:picLocks noChangeAspect="1"/>
          </p:cNvPicPr>
          <p:nvPr/>
        </p:nvPicPr>
        <p:blipFill rotWithShape="1">
          <a:blip r:embed="rId3"/>
          <a:srcRect t="8107" r="12065" b="12517"/>
          <a:stretch/>
        </p:blipFill>
        <p:spPr>
          <a:xfrm>
            <a:off x="2502500" y="2988555"/>
            <a:ext cx="7721000" cy="3738836"/>
          </a:xfrm>
          <a:prstGeom prst="rect">
            <a:avLst/>
          </a:prstGeom>
        </p:spPr>
      </p:pic>
    </p:spTree>
    <p:extLst>
      <p:ext uri="{BB962C8B-B14F-4D97-AF65-F5344CB8AC3E}">
        <p14:creationId xmlns:p14="http://schemas.microsoft.com/office/powerpoint/2010/main" val="17392336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blogs.gartner.com/smarterwithgartner/files/2017/08/Emerging-Technology-Hype-Cycle-for-2017_Infographic_R6A.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460247" y="352839"/>
            <a:ext cx="8255113" cy="626165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4000" y="319313"/>
            <a:ext cx="11545200" cy="756175"/>
          </a:xfrm>
        </p:spPr>
        <p:txBody>
          <a:bodyPr/>
          <a:lstStyle/>
          <a:p>
            <a:r>
              <a:rPr lang="en-US" dirty="0"/>
              <a:t>Hype cycle</a:t>
            </a:r>
          </a:p>
        </p:txBody>
      </p:sp>
      <p:sp>
        <p:nvSpPr>
          <p:cNvPr id="4" name="Oval 3"/>
          <p:cNvSpPr/>
          <p:nvPr/>
        </p:nvSpPr>
        <p:spPr bwMode="gray">
          <a:xfrm>
            <a:off x="4931258" y="1463330"/>
            <a:ext cx="1304925" cy="809625"/>
          </a:xfrm>
          <a:prstGeom prst="ellipse">
            <a:avLst/>
          </a:prstGeom>
          <a:noFill/>
          <a:ln w="76200" algn="ctr">
            <a:solidFill>
              <a:srgbClr val="FF0000"/>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952182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amous Quotes</a:t>
            </a:r>
          </a:p>
        </p:txBody>
      </p:sp>
      <p:sp>
        <p:nvSpPr>
          <p:cNvPr id="5" name="Text Placeholder 4"/>
          <p:cNvSpPr>
            <a:spLocks noGrp="1"/>
          </p:cNvSpPr>
          <p:nvPr>
            <p:ph type="body" sz="quarter" idx="10"/>
          </p:nvPr>
        </p:nvSpPr>
        <p:spPr/>
        <p:txBody>
          <a:bodyPr>
            <a:normAutofit lnSpcReduction="10000"/>
          </a:bodyPr>
          <a:lstStyle/>
          <a:p>
            <a:r>
              <a:rPr lang="en-US" sz="2400" i="1" dirty="0"/>
              <a:t>"It's a terrible store of value”</a:t>
            </a:r>
          </a:p>
          <a:p>
            <a:pPr marL="285750" indent="-285750">
              <a:spcBef>
                <a:spcPts val="0"/>
              </a:spcBef>
              <a:buFont typeface="Wingdings" panose="05000000000000000000" pitchFamily="2" charset="2"/>
              <a:buChar char="§"/>
            </a:pPr>
            <a:r>
              <a:rPr lang="en-US" sz="1600" dirty="0"/>
              <a:t>Jamie </a:t>
            </a:r>
            <a:r>
              <a:rPr lang="en-US" sz="1600" dirty="0" err="1"/>
              <a:t>Dimon</a:t>
            </a:r>
            <a:r>
              <a:rPr lang="en-US" sz="1600" dirty="0"/>
              <a:t>, CEO, JP Morgan, 2014 (speaking about bitcoin)</a:t>
            </a:r>
          </a:p>
          <a:p>
            <a:pPr marL="285750" indent="-285750">
              <a:spcBef>
                <a:spcPts val="0"/>
              </a:spcBef>
              <a:buFont typeface="Wingdings" panose="05000000000000000000" pitchFamily="2" charset="2"/>
              <a:buChar char="§"/>
            </a:pPr>
            <a:endParaRPr lang="en-US" sz="1600" dirty="0"/>
          </a:p>
          <a:p>
            <a:pPr marL="285750" indent="-285750">
              <a:spcBef>
                <a:spcPts val="0"/>
              </a:spcBef>
              <a:buFont typeface="Wingdings" panose="05000000000000000000" pitchFamily="2" charset="2"/>
              <a:buChar char="§"/>
            </a:pPr>
            <a:endParaRPr lang="en-US" sz="1600" dirty="0"/>
          </a:p>
          <a:p>
            <a:pPr>
              <a:spcBef>
                <a:spcPts val="0"/>
              </a:spcBef>
            </a:pPr>
            <a:endParaRPr lang="en-US" sz="1600" dirty="0"/>
          </a:p>
          <a:p>
            <a:pPr>
              <a:spcBef>
                <a:spcPts val="0"/>
              </a:spcBef>
            </a:pPr>
            <a:r>
              <a:rPr lang="en-US" sz="2400" i="1" dirty="0"/>
              <a:t>“Bitcoin “is a fraud” and will blow up”</a:t>
            </a:r>
          </a:p>
          <a:p>
            <a:pPr marL="285750" indent="-285750">
              <a:spcBef>
                <a:spcPts val="0"/>
              </a:spcBef>
              <a:buFont typeface="Arial" panose="020B0604020202020204" pitchFamily="34" charset="0"/>
              <a:buChar char="•"/>
            </a:pPr>
            <a:r>
              <a:rPr lang="en-US" sz="1600" dirty="0"/>
              <a:t>Jamie </a:t>
            </a:r>
            <a:r>
              <a:rPr lang="en-US" sz="1600" dirty="0" err="1"/>
              <a:t>Dimon</a:t>
            </a:r>
            <a:r>
              <a:rPr lang="en-US" sz="1600" dirty="0"/>
              <a:t>, CEO, JP Morgan, 2017</a:t>
            </a:r>
          </a:p>
          <a:p>
            <a:pPr marL="285750" indent="-285750">
              <a:spcBef>
                <a:spcPts val="0"/>
              </a:spcBef>
              <a:buFont typeface="Arial" panose="020B0604020202020204" pitchFamily="34" charset="0"/>
              <a:buChar char="•"/>
            </a:pPr>
            <a:endParaRPr lang="en-US" sz="1600" dirty="0"/>
          </a:p>
          <a:p>
            <a:pPr marL="285750" indent="-285750">
              <a:spcBef>
                <a:spcPts val="0"/>
              </a:spcBef>
              <a:buFont typeface="Arial" panose="020B0604020202020204" pitchFamily="34" charset="0"/>
              <a:buChar char="•"/>
            </a:pPr>
            <a:endParaRPr lang="en-US" sz="1600" dirty="0"/>
          </a:p>
          <a:p>
            <a:pPr marL="342900" indent="-342900">
              <a:spcBef>
                <a:spcPts val="0"/>
              </a:spcBef>
              <a:buFontTx/>
              <a:buChar char="-"/>
            </a:pPr>
            <a:endParaRPr lang="en-US" sz="1600" dirty="0"/>
          </a:p>
          <a:p>
            <a:pPr>
              <a:spcBef>
                <a:spcPts val="0"/>
              </a:spcBef>
            </a:pPr>
            <a:r>
              <a:rPr lang="en-US" sz="2400" i="1" dirty="0"/>
              <a:t>“With today’s internet of information you can’t store, move, transact value without a powerful intermediary. And that’s what blockchains solve.”</a:t>
            </a:r>
          </a:p>
          <a:p>
            <a:pPr marL="285750" indent="-285750">
              <a:spcBef>
                <a:spcPts val="0"/>
              </a:spcBef>
              <a:buFont typeface="Wingdings" panose="05000000000000000000" pitchFamily="2" charset="2"/>
              <a:buChar char="§"/>
            </a:pPr>
            <a:r>
              <a:rPr lang="en-US" sz="1600" dirty="0"/>
              <a:t>Don and Alex </a:t>
            </a:r>
            <a:r>
              <a:rPr lang="en-US" sz="1600" dirty="0" err="1"/>
              <a:t>Tapscott</a:t>
            </a:r>
            <a:r>
              <a:rPr lang="en-US" sz="1600" dirty="0"/>
              <a:t>, Authors</a:t>
            </a:r>
          </a:p>
        </p:txBody>
      </p:sp>
      <p:sp>
        <p:nvSpPr>
          <p:cNvPr id="2" name="Text Placeholder 1"/>
          <p:cNvSpPr>
            <a:spLocks noGrp="1"/>
          </p:cNvSpPr>
          <p:nvPr>
            <p:ph type="body" sz="quarter" idx="11"/>
          </p:nvPr>
        </p:nvSpPr>
        <p:spPr/>
        <p:txBody>
          <a:bodyPr>
            <a:normAutofit/>
          </a:bodyPr>
          <a:lstStyle/>
          <a:p>
            <a:r>
              <a:rPr lang="en-US" sz="2400" i="1" dirty="0"/>
              <a:t>“We want to make Dubai the first blockchain-powered government in the world by 2020” </a:t>
            </a:r>
          </a:p>
          <a:p>
            <a:pPr marL="285750" indent="-285750">
              <a:spcBef>
                <a:spcPts val="0"/>
              </a:spcBef>
              <a:buFont typeface="Wingdings" panose="05000000000000000000" pitchFamily="2" charset="2"/>
              <a:buChar char="§"/>
            </a:pPr>
            <a:r>
              <a:rPr lang="en-US" sz="1600" dirty="0"/>
              <a:t>Aisha Bin </a:t>
            </a:r>
            <a:r>
              <a:rPr lang="en-US" sz="1600" dirty="0" err="1"/>
              <a:t>Bishr</a:t>
            </a:r>
            <a:r>
              <a:rPr lang="en-US" sz="1600" dirty="0"/>
              <a:t>, Director General of Smart Dubai</a:t>
            </a:r>
          </a:p>
          <a:p>
            <a:pPr marL="285750" indent="-285750">
              <a:spcBef>
                <a:spcPts val="0"/>
              </a:spcBef>
              <a:buFont typeface="Wingdings" panose="05000000000000000000" pitchFamily="2" charset="2"/>
              <a:buChar char="§"/>
            </a:pPr>
            <a:endParaRPr lang="en-US" sz="1600" i="1" dirty="0"/>
          </a:p>
          <a:p>
            <a:pPr marL="285750" indent="-285750">
              <a:spcBef>
                <a:spcPts val="0"/>
              </a:spcBef>
              <a:buFont typeface="Wingdings" panose="05000000000000000000" pitchFamily="2" charset="2"/>
              <a:buChar char="§"/>
            </a:pPr>
            <a:endParaRPr lang="en-US" sz="1600" i="1" dirty="0"/>
          </a:p>
          <a:p>
            <a:pPr marL="285750" indent="-285750">
              <a:spcBef>
                <a:spcPts val="0"/>
              </a:spcBef>
              <a:buFont typeface="Wingdings" panose="05000000000000000000" pitchFamily="2" charset="2"/>
              <a:buChar char="§"/>
            </a:pPr>
            <a:endParaRPr lang="en-US" sz="1600" i="1" dirty="0"/>
          </a:p>
          <a:p>
            <a:pPr>
              <a:spcBef>
                <a:spcPts val="0"/>
              </a:spcBef>
            </a:pPr>
            <a:r>
              <a:rPr lang="en-US" sz="2400" i="1" dirty="0"/>
              <a:t>“It’s gold for nerds”</a:t>
            </a:r>
          </a:p>
          <a:p>
            <a:pPr marL="285750" indent="-285750">
              <a:spcBef>
                <a:spcPts val="0"/>
              </a:spcBef>
              <a:buFont typeface="Wingdings" panose="05000000000000000000" pitchFamily="2" charset="2"/>
              <a:buChar char="§"/>
            </a:pPr>
            <a:r>
              <a:rPr lang="en-US" sz="1600" dirty="0"/>
              <a:t>Stephen Colbert, Comedian (about bitcoin)</a:t>
            </a:r>
          </a:p>
        </p:txBody>
      </p:sp>
    </p:spTree>
    <p:extLst>
      <p:ext uri="{BB962C8B-B14F-4D97-AF65-F5344CB8AC3E}">
        <p14:creationId xmlns:p14="http://schemas.microsoft.com/office/powerpoint/2010/main" val="3082073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blockchain cartoon"/>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296988" y="3296668"/>
            <a:ext cx="9089403" cy="275574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 - Dilbert by Scott Adam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296988" y="244337"/>
            <a:ext cx="9089403" cy="2757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624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Blockchain?</a:t>
            </a:r>
          </a:p>
        </p:txBody>
      </p:sp>
      <p:sp>
        <p:nvSpPr>
          <p:cNvPr id="3" name="Text Placeholder 2"/>
          <p:cNvSpPr>
            <a:spLocks noGrp="1"/>
          </p:cNvSpPr>
          <p:nvPr>
            <p:ph type="body" sz="quarter" idx="10"/>
          </p:nvPr>
        </p:nvSpPr>
        <p:spPr>
          <a:xfrm>
            <a:off x="324000" y="3075792"/>
            <a:ext cx="3740400" cy="2889742"/>
          </a:xfrm>
        </p:spPr>
        <p:style>
          <a:lnRef idx="1">
            <a:schemeClr val="accent1"/>
          </a:lnRef>
          <a:fillRef idx="3">
            <a:schemeClr val="accent1"/>
          </a:fillRef>
          <a:effectRef idx="2">
            <a:schemeClr val="accent1"/>
          </a:effectRef>
          <a:fontRef idx="minor">
            <a:schemeClr val="lt1"/>
          </a:fontRef>
        </p:style>
        <p:txBody>
          <a:bodyPr/>
          <a:lstStyle/>
          <a:p>
            <a:pPr algn="ctr"/>
            <a:r>
              <a:rPr lang="en-US" dirty="0">
                <a:solidFill>
                  <a:schemeClr val="bg1"/>
                </a:solidFill>
              </a:rPr>
              <a:t>Technical Definition</a:t>
            </a:r>
          </a:p>
          <a:p>
            <a:endParaRPr lang="en-US" b="0" dirty="0"/>
          </a:p>
          <a:p>
            <a:r>
              <a:rPr lang="en-US" b="0" dirty="0"/>
              <a:t>A blockchain is a </a:t>
            </a:r>
            <a:r>
              <a:rPr lang="en-US" b="0" dirty="0">
                <a:solidFill>
                  <a:srgbClr val="0070C0"/>
                </a:solidFill>
              </a:rPr>
              <a:t>linked list </a:t>
            </a:r>
            <a:r>
              <a:rPr lang="en-US" b="0" dirty="0"/>
              <a:t>that is built with </a:t>
            </a:r>
            <a:r>
              <a:rPr lang="en-US" b="0" dirty="0">
                <a:solidFill>
                  <a:srgbClr val="0070C0"/>
                </a:solidFill>
              </a:rPr>
              <a:t>hash pointers </a:t>
            </a:r>
            <a:r>
              <a:rPr lang="en-US" b="0" dirty="0"/>
              <a:t>instead of regular pointers.</a:t>
            </a:r>
          </a:p>
        </p:txBody>
      </p:sp>
      <p:sp>
        <p:nvSpPr>
          <p:cNvPr id="5" name="Text Placeholder 4"/>
          <p:cNvSpPr>
            <a:spLocks noGrp="1"/>
          </p:cNvSpPr>
          <p:nvPr>
            <p:ph type="body" sz="quarter" idx="11"/>
          </p:nvPr>
        </p:nvSpPr>
        <p:spPr>
          <a:xfrm>
            <a:off x="8133317" y="3075792"/>
            <a:ext cx="3740400" cy="2889742"/>
          </a:xfrm>
        </p:spPr>
        <p:style>
          <a:lnRef idx="1">
            <a:schemeClr val="accent1"/>
          </a:lnRef>
          <a:fillRef idx="3">
            <a:schemeClr val="accent1"/>
          </a:fillRef>
          <a:effectRef idx="2">
            <a:schemeClr val="accent1"/>
          </a:effectRef>
          <a:fontRef idx="minor">
            <a:schemeClr val="lt1"/>
          </a:fontRef>
        </p:style>
        <p:txBody>
          <a:bodyPr/>
          <a:lstStyle/>
          <a:p>
            <a:pPr algn="ctr"/>
            <a:r>
              <a:rPr lang="en-US" dirty="0">
                <a:solidFill>
                  <a:schemeClr val="bg1"/>
                </a:solidFill>
              </a:rPr>
              <a:t>Financial-accounting definition</a:t>
            </a:r>
          </a:p>
          <a:p>
            <a:r>
              <a:rPr lang="en-US" b="0" dirty="0"/>
              <a:t>A blockchain is a </a:t>
            </a:r>
            <a:r>
              <a:rPr lang="en-US" b="0" dirty="0">
                <a:solidFill>
                  <a:srgbClr val="FF0000"/>
                </a:solidFill>
              </a:rPr>
              <a:t>public</a:t>
            </a:r>
            <a:r>
              <a:rPr lang="en-US" b="0" dirty="0"/>
              <a:t>, distributed </a:t>
            </a:r>
            <a:r>
              <a:rPr lang="en-US" b="0" dirty="0">
                <a:solidFill>
                  <a:srgbClr val="0070C0"/>
                </a:solidFill>
              </a:rPr>
              <a:t>ledger</a:t>
            </a:r>
            <a:r>
              <a:rPr lang="en-US" b="0" dirty="0"/>
              <a:t> of peer-to-peer transactions</a:t>
            </a:r>
            <a:endParaRPr lang="en-US" dirty="0"/>
          </a:p>
        </p:txBody>
      </p:sp>
      <p:sp>
        <p:nvSpPr>
          <p:cNvPr id="6" name="Text Placeholder 5"/>
          <p:cNvSpPr>
            <a:spLocks noGrp="1"/>
          </p:cNvSpPr>
          <p:nvPr>
            <p:ph type="body" sz="quarter" idx="12"/>
          </p:nvPr>
        </p:nvSpPr>
        <p:spPr>
          <a:xfrm>
            <a:off x="4228658" y="3075792"/>
            <a:ext cx="3740400" cy="2889742"/>
          </a:xfrm>
        </p:spPr>
        <p:style>
          <a:lnRef idx="1">
            <a:schemeClr val="accent1"/>
          </a:lnRef>
          <a:fillRef idx="3">
            <a:schemeClr val="accent1"/>
          </a:fillRef>
          <a:effectRef idx="2">
            <a:schemeClr val="accent1"/>
          </a:effectRef>
          <a:fontRef idx="minor">
            <a:schemeClr val="lt1"/>
          </a:fontRef>
        </p:style>
        <p:txBody>
          <a:bodyPr/>
          <a:lstStyle/>
          <a:p>
            <a:pPr algn="ctr"/>
            <a:r>
              <a:rPr lang="en-US" dirty="0">
                <a:solidFill>
                  <a:schemeClr val="bg1"/>
                </a:solidFill>
              </a:rPr>
              <a:t>Socio-political-economic-semi-technical libertarian definition</a:t>
            </a:r>
          </a:p>
          <a:p>
            <a:r>
              <a:rPr lang="en-US" b="0" dirty="0"/>
              <a:t>A blockchain is an </a:t>
            </a:r>
            <a:r>
              <a:rPr lang="en-US" b="0" dirty="0">
                <a:solidFill>
                  <a:srgbClr val="FF0000"/>
                </a:solidFill>
              </a:rPr>
              <a:t>open*, borderless, decentralized, public, trustless, permissionless, </a:t>
            </a:r>
            <a:r>
              <a:rPr lang="en-US" b="0" dirty="0">
                <a:solidFill>
                  <a:srgbClr val="0070C0"/>
                </a:solidFill>
              </a:rPr>
              <a:t>immutable record of transactions</a:t>
            </a:r>
          </a:p>
          <a:p>
            <a:endParaRPr lang="en-US" dirty="0"/>
          </a:p>
        </p:txBody>
      </p:sp>
      <p:graphicFrame>
        <p:nvGraphicFramePr>
          <p:cNvPr id="4" name="Diagram 3"/>
          <p:cNvGraphicFramePr/>
          <p:nvPr>
            <p:extLst/>
          </p:nvPr>
        </p:nvGraphicFramePr>
        <p:xfrm>
          <a:off x="324000" y="1278679"/>
          <a:ext cx="10859815" cy="17185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2581275" y="6276975"/>
            <a:ext cx="4619625"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 All terms in </a:t>
            </a:r>
            <a:r>
              <a:rPr lang="en-US" sz="1800" kern="0" dirty="0">
                <a:solidFill>
                  <a:srgbClr val="FF0000"/>
                </a:solidFill>
                <a:ea typeface="Arial Unicode MS" pitchFamily="34" charset="-128"/>
                <a:cs typeface="Arial Unicode MS" pitchFamily="34" charset="-128"/>
              </a:rPr>
              <a:t>red</a:t>
            </a:r>
            <a:r>
              <a:rPr lang="en-US" sz="1800" kern="0" dirty="0">
                <a:ea typeface="Arial Unicode MS" pitchFamily="34" charset="-128"/>
                <a:cs typeface="Arial Unicode MS" pitchFamily="34" charset="-128"/>
              </a:rPr>
              <a:t> are </a:t>
            </a:r>
            <a:r>
              <a:rPr lang="en-US" sz="1800" kern="0" dirty="0" err="1">
                <a:ea typeface="Arial Unicode MS" pitchFamily="34" charset="-128"/>
                <a:cs typeface="Arial Unicode MS" pitchFamily="34" charset="-128"/>
              </a:rPr>
              <a:t>debateable</a:t>
            </a:r>
            <a:endParaRPr lang="en-US"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6583543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ypes of networks (from the viewpoint of control) </a:t>
            </a:r>
          </a:p>
        </p:txBody>
      </p:sp>
      <p:pic>
        <p:nvPicPr>
          <p:cNvPr id="1026" name="Picture 2" descr="https://maidsafeplatform.files.wordpress.com/2015/12/networksv2.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424129" y="1080250"/>
            <a:ext cx="7796261" cy="580441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900795" y="6082779"/>
            <a:ext cx="6096000" cy="261610"/>
          </a:xfrm>
          <a:prstGeom prst="rect">
            <a:avLst/>
          </a:prstGeom>
        </p:spPr>
        <p:txBody>
          <a:bodyPr>
            <a:spAutoFit/>
          </a:bodyPr>
          <a:lstStyle/>
          <a:p>
            <a:r>
              <a:rPr lang="en-US" sz="1100" dirty="0"/>
              <a:t>https://blog.maidsafe.net/2015/12/04/evolving-terminology/</a:t>
            </a:r>
          </a:p>
        </p:txBody>
      </p:sp>
    </p:spTree>
    <p:extLst>
      <p:ext uri="{BB962C8B-B14F-4D97-AF65-F5344CB8AC3E}">
        <p14:creationId xmlns:p14="http://schemas.microsoft.com/office/powerpoint/2010/main" val="3800630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B4A3-E708-45DC-B182-C4173046C3FE}"/>
              </a:ext>
            </a:extLst>
          </p:cNvPr>
          <p:cNvSpPr>
            <a:spLocks noGrp="1"/>
          </p:cNvSpPr>
          <p:nvPr>
            <p:ph type="title"/>
          </p:nvPr>
        </p:nvSpPr>
        <p:spPr/>
        <p:txBody>
          <a:bodyPr/>
          <a:lstStyle/>
          <a:p>
            <a:r>
              <a:rPr lang="en-US" dirty="0"/>
              <a:t>Client/Server to Peer-to-peer</a:t>
            </a:r>
          </a:p>
        </p:txBody>
      </p:sp>
      <p:pic>
        <p:nvPicPr>
          <p:cNvPr id="5122" name="Picture 2" descr="Image result for client server vs bitco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6289" y="1438196"/>
            <a:ext cx="10184739" cy="5038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2067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y node has a copy of the blockchain (database)</a:t>
            </a:r>
          </a:p>
        </p:txBody>
      </p:sp>
      <p:pic>
        <p:nvPicPr>
          <p:cNvPr id="6146" name="Picture 2" descr="https://media.coindesk.com/uploads/2017/03/landing_pages_image_2_horizontal-image_2-e148908915029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1917" y="1359813"/>
            <a:ext cx="10583133" cy="5058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1167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Blockchain?</a:t>
            </a:r>
          </a:p>
        </p:txBody>
      </p:sp>
      <p:sp>
        <p:nvSpPr>
          <p:cNvPr id="5" name="Text Placeholder 4"/>
          <p:cNvSpPr>
            <a:spLocks noGrp="1"/>
          </p:cNvSpPr>
          <p:nvPr>
            <p:ph type="body" sz="quarter" idx="10"/>
          </p:nvPr>
        </p:nvSpPr>
        <p:spPr/>
        <p:txBody>
          <a:bodyPr>
            <a:normAutofit fontScale="92500" lnSpcReduction="10000"/>
          </a:bodyPr>
          <a:lstStyle/>
          <a:p>
            <a:r>
              <a:rPr lang="en-US" dirty="0"/>
              <a:t>Enhanced </a:t>
            </a:r>
            <a:r>
              <a:rPr lang="en-US" dirty="0">
                <a:solidFill>
                  <a:srgbClr val="FF0000"/>
                </a:solidFill>
              </a:rPr>
              <a:t>security</a:t>
            </a:r>
            <a:r>
              <a:rPr lang="en-US" dirty="0"/>
              <a:t>. Resists hacking by decentralizing the data storage layer. Spread the data thin, make it more difficult to attack. It is easier to attack a single central database than to attack numerous copies of the decentralized database.</a:t>
            </a:r>
          </a:p>
          <a:p>
            <a:r>
              <a:rPr lang="en-US" dirty="0">
                <a:solidFill>
                  <a:srgbClr val="FF0000"/>
                </a:solidFill>
              </a:rPr>
              <a:t>Append</a:t>
            </a:r>
            <a:r>
              <a:rPr lang="en-US" dirty="0"/>
              <a:t> only. No updates and deletes. Makes it an immutable record of historical facts. Proof of State.</a:t>
            </a:r>
          </a:p>
          <a:p>
            <a:r>
              <a:rPr lang="en-US" dirty="0"/>
              <a:t>Can be used to </a:t>
            </a:r>
            <a:r>
              <a:rPr lang="en-US" dirty="0">
                <a:solidFill>
                  <a:srgbClr val="FF0000"/>
                </a:solidFill>
              </a:rPr>
              <a:t>store</a:t>
            </a:r>
            <a:r>
              <a:rPr lang="en-US" dirty="0"/>
              <a:t> anything of value that can be digitized. </a:t>
            </a:r>
          </a:p>
          <a:p>
            <a:r>
              <a:rPr lang="en-US" dirty="0"/>
              <a:t>Improves </a:t>
            </a:r>
            <a:r>
              <a:rPr lang="en-US" dirty="0">
                <a:solidFill>
                  <a:srgbClr val="FF0000"/>
                </a:solidFill>
              </a:rPr>
              <a:t>efficiencies</a:t>
            </a:r>
            <a:r>
              <a:rPr lang="en-US" dirty="0"/>
              <a:t> in transaction clearing especially when dealing with multiple agencies.</a:t>
            </a:r>
          </a:p>
        </p:txBody>
      </p:sp>
      <p:sp>
        <p:nvSpPr>
          <p:cNvPr id="2" name="Text Placeholder 1"/>
          <p:cNvSpPr>
            <a:spLocks noGrp="1"/>
          </p:cNvSpPr>
          <p:nvPr>
            <p:ph type="body" sz="quarter" idx="11"/>
          </p:nvPr>
        </p:nvSpPr>
        <p:spPr/>
        <p:txBody>
          <a:bodyPr>
            <a:normAutofit lnSpcReduction="10000"/>
          </a:bodyPr>
          <a:lstStyle/>
          <a:p>
            <a:r>
              <a:rPr lang="en-US" dirty="0">
                <a:solidFill>
                  <a:srgbClr val="FF0000"/>
                </a:solidFill>
              </a:rPr>
              <a:t>Lowers</a:t>
            </a:r>
            <a:r>
              <a:rPr lang="en-US" dirty="0"/>
              <a:t> transaction fees (?)</a:t>
            </a:r>
          </a:p>
          <a:p>
            <a:r>
              <a:rPr lang="en-US" dirty="0"/>
              <a:t>No </a:t>
            </a:r>
            <a:r>
              <a:rPr lang="en-US" dirty="0">
                <a:solidFill>
                  <a:srgbClr val="FF0000"/>
                </a:solidFill>
              </a:rPr>
              <a:t>central</a:t>
            </a:r>
            <a:r>
              <a:rPr lang="en-US" dirty="0"/>
              <a:t> authority means no central trust. The blockchain itself provides digital trust. It is trustless.</a:t>
            </a:r>
          </a:p>
          <a:p>
            <a:r>
              <a:rPr lang="en-US" dirty="0">
                <a:solidFill>
                  <a:srgbClr val="FF0000"/>
                </a:solidFill>
              </a:rPr>
              <a:t>Open</a:t>
            </a:r>
            <a:r>
              <a:rPr lang="en-US" dirty="0"/>
              <a:t> and transparent. All transactions in history can be seen, tracked, and validated by anyone.</a:t>
            </a:r>
          </a:p>
          <a:p>
            <a:r>
              <a:rPr lang="en-US" dirty="0"/>
              <a:t>May become the </a:t>
            </a:r>
            <a:r>
              <a:rPr lang="en-US" dirty="0">
                <a:solidFill>
                  <a:srgbClr val="FF0000"/>
                </a:solidFill>
              </a:rPr>
              <a:t>ultimate</a:t>
            </a:r>
            <a:r>
              <a:rPr lang="en-US" dirty="0"/>
              <a:t> proof of value ownership, bypassing governments, corporations, individuals, and criminals.</a:t>
            </a:r>
          </a:p>
          <a:p>
            <a:r>
              <a:rPr lang="en-US" dirty="0"/>
              <a:t>Provides powerful </a:t>
            </a:r>
            <a:r>
              <a:rPr lang="en-US" dirty="0">
                <a:solidFill>
                  <a:srgbClr val="FF0000"/>
                </a:solidFill>
              </a:rPr>
              <a:t>audit</a:t>
            </a:r>
            <a:r>
              <a:rPr lang="en-US" dirty="0"/>
              <a:t> trails.</a:t>
            </a:r>
          </a:p>
        </p:txBody>
      </p:sp>
    </p:spTree>
    <p:extLst>
      <p:ext uri="{BB962C8B-B14F-4D97-AF65-F5344CB8AC3E}">
        <p14:creationId xmlns:p14="http://schemas.microsoft.com/office/powerpoint/2010/main" val="13614818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definitions</a:t>
            </a:r>
          </a:p>
        </p:txBody>
      </p:sp>
      <p:sp>
        <p:nvSpPr>
          <p:cNvPr id="3" name="Text Placeholder 2"/>
          <p:cNvSpPr>
            <a:spLocks noGrp="1"/>
          </p:cNvSpPr>
          <p:nvPr>
            <p:ph type="body" sz="quarter" idx="10"/>
          </p:nvPr>
        </p:nvSpPr>
        <p:spPr/>
        <p:txBody>
          <a:bodyPr/>
          <a:lstStyle/>
          <a:p>
            <a:r>
              <a:rPr lang="en-US" dirty="0">
                <a:solidFill>
                  <a:srgbClr val="FF0000"/>
                </a:solidFill>
              </a:rPr>
              <a:t>Ledger</a:t>
            </a:r>
            <a:br>
              <a:rPr lang="en-US" dirty="0">
                <a:solidFill>
                  <a:srgbClr val="FF0000"/>
                </a:solidFill>
              </a:rPr>
            </a:br>
            <a:r>
              <a:rPr lang="en-US" dirty="0"/>
              <a:t>Records transactions</a:t>
            </a:r>
          </a:p>
          <a:p>
            <a:r>
              <a:rPr lang="en-US" dirty="0">
                <a:solidFill>
                  <a:srgbClr val="FF0000"/>
                </a:solidFill>
              </a:rPr>
              <a:t>Trustless</a:t>
            </a:r>
            <a:br>
              <a:rPr lang="en-US" dirty="0">
                <a:solidFill>
                  <a:srgbClr val="FF0000"/>
                </a:solidFill>
              </a:rPr>
            </a:br>
            <a:r>
              <a:rPr lang="en-US" dirty="0"/>
              <a:t>No requirement for a trusted intermediary. The trust is in the software/network even when peers are outright malicious.</a:t>
            </a:r>
          </a:p>
          <a:p>
            <a:r>
              <a:rPr lang="en-US" dirty="0">
                <a:solidFill>
                  <a:srgbClr val="FF0000"/>
                </a:solidFill>
              </a:rPr>
              <a:t>Cryptographic Identity</a:t>
            </a:r>
            <a:br>
              <a:rPr lang="en-US" dirty="0">
                <a:solidFill>
                  <a:srgbClr val="FF0000"/>
                </a:solidFill>
              </a:rPr>
            </a:br>
            <a:r>
              <a:rPr lang="en-US" dirty="0"/>
              <a:t>Peers assume any number of cryptographic identities. No central authority issues identity.</a:t>
            </a:r>
          </a:p>
          <a:p>
            <a:endParaRPr lang="en-US" dirty="0"/>
          </a:p>
          <a:p>
            <a:endParaRPr lang="en-US" dirty="0"/>
          </a:p>
          <a:p>
            <a:endParaRPr lang="en-US" dirty="0"/>
          </a:p>
        </p:txBody>
      </p:sp>
      <p:sp>
        <p:nvSpPr>
          <p:cNvPr id="4" name="Text Placeholder 3"/>
          <p:cNvSpPr>
            <a:spLocks noGrp="1"/>
          </p:cNvSpPr>
          <p:nvPr>
            <p:ph type="body" sz="quarter" idx="11"/>
          </p:nvPr>
        </p:nvSpPr>
        <p:spPr/>
        <p:txBody>
          <a:bodyPr/>
          <a:lstStyle/>
          <a:p>
            <a:r>
              <a:rPr lang="en-US" dirty="0">
                <a:solidFill>
                  <a:srgbClr val="FF0000"/>
                </a:solidFill>
              </a:rPr>
              <a:t>Distributed/decentralized</a:t>
            </a:r>
            <a:r>
              <a:rPr lang="en-US" dirty="0"/>
              <a:t> </a:t>
            </a:r>
          </a:p>
          <a:p>
            <a:pPr marL="342900" indent="-342900">
              <a:spcBef>
                <a:spcPts val="0"/>
              </a:spcBef>
              <a:buFont typeface="Arial" panose="020B0604020202020204" pitchFamily="34" charset="0"/>
              <a:buChar char="•"/>
            </a:pPr>
            <a:r>
              <a:rPr lang="en-US" dirty="0"/>
              <a:t>Peer-to-peer network</a:t>
            </a:r>
          </a:p>
          <a:p>
            <a:pPr marL="342900" indent="-342900">
              <a:spcBef>
                <a:spcPts val="0"/>
              </a:spcBef>
              <a:buFont typeface="Arial" panose="020B0604020202020204" pitchFamily="34" charset="0"/>
              <a:buChar char="•"/>
            </a:pPr>
            <a:r>
              <a:rPr lang="en-US" dirty="0"/>
              <a:t>No single point of control or failure</a:t>
            </a:r>
          </a:p>
          <a:p>
            <a:pPr marL="342900" indent="-342900">
              <a:spcBef>
                <a:spcPts val="0"/>
              </a:spcBef>
              <a:buFont typeface="Arial" panose="020B0604020202020204" pitchFamily="34" charset="0"/>
              <a:buChar char="•"/>
            </a:pPr>
            <a:r>
              <a:rPr lang="en-US" dirty="0"/>
              <a:t>Peers can join and leave as they wish</a:t>
            </a:r>
          </a:p>
          <a:p>
            <a:pPr marL="342900" lvl="1" indent="-342900">
              <a:buFont typeface="Arial" panose="020B0604020202020204" pitchFamily="34" charset="0"/>
              <a:buChar char="•"/>
            </a:pPr>
            <a:r>
              <a:rPr lang="en-US" b="1" dirty="0"/>
              <a:t>Network functions even when peers may be</a:t>
            </a:r>
          </a:p>
          <a:p>
            <a:pPr marL="522900" lvl="2" indent="-342900">
              <a:buFont typeface="Arial" panose="020B0604020202020204" pitchFamily="34" charset="0"/>
              <a:buChar char="•"/>
            </a:pPr>
            <a:r>
              <a:rPr lang="en-US" dirty="0"/>
              <a:t>Selfish</a:t>
            </a:r>
          </a:p>
          <a:p>
            <a:pPr marL="522900" lvl="2" indent="-342900">
              <a:buFont typeface="Arial" panose="020B0604020202020204" pitchFamily="34" charset="0"/>
              <a:buChar char="•"/>
            </a:pPr>
            <a:r>
              <a:rPr lang="en-US" dirty="0"/>
              <a:t>Competitive</a:t>
            </a:r>
          </a:p>
          <a:p>
            <a:pPr marL="522900" lvl="2" indent="-342900">
              <a:buFont typeface="Arial" panose="020B0604020202020204" pitchFamily="34" charset="0"/>
              <a:buChar char="•"/>
            </a:pPr>
            <a:r>
              <a:rPr lang="en-US" dirty="0"/>
              <a:t>Dishonest</a:t>
            </a:r>
          </a:p>
          <a:p>
            <a:pPr marL="522900" lvl="2" indent="-342900">
              <a:buFont typeface="Arial" panose="020B0604020202020204" pitchFamily="34" charset="0"/>
              <a:buChar char="•"/>
            </a:pPr>
            <a:r>
              <a:rPr lang="en-US" dirty="0"/>
              <a:t>Adversarial</a:t>
            </a:r>
          </a:p>
          <a:p>
            <a:pPr marL="522900" lvl="2" indent="-342900">
              <a:buFont typeface="Arial" panose="020B0604020202020204" pitchFamily="34" charset="0"/>
              <a:buChar char="•"/>
            </a:pPr>
            <a:r>
              <a:rPr lang="en-US" dirty="0"/>
              <a:t>Malicious	</a:t>
            </a:r>
          </a:p>
        </p:txBody>
      </p:sp>
      <p:sp>
        <p:nvSpPr>
          <p:cNvPr id="5" name="Text Placeholder 4"/>
          <p:cNvSpPr>
            <a:spLocks noGrp="1"/>
          </p:cNvSpPr>
          <p:nvPr>
            <p:ph type="body" sz="quarter" idx="12"/>
          </p:nvPr>
        </p:nvSpPr>
        <p:spPr/>
        <p:txBody>
          <a:bodyPr/>
          <a:lstStyle/>
          <a:p>
            <a:r>
              <a:rPr lang="en-US" dirty="0">
                <a:solidFill>
                  <a:srgbClr val="FF0000"/>
                </a:solidFill>
              </a:rPr>
              <a:t>Immutable</a:t>
            </a:r>
            <a:br>
              <a:rPr lang="en-US" dirty="0">
                <a:solidFill>
                  <a:srgbClr val="FF0000"/>
                </a:solidFill>
              </a:rPr>
            </a:br>
            <a:r>
              <a:rPr lang="en-US" dirty="0"/>
              <a:t>Once committed, data cannot be changed. No updates. Only append.</a:t>
            </a:r>
          </a:p>
          <a:p>
            <a:r>
              <a:rPr lang="en-US" dirty="0">
                <a:solidFill>
                  <a:srgbClr val="FF0000"/>
                </a:solidFill>
              </a:rPr>
              <a:t>Consensus</a:t>
            </a:r>
            <a:br>
              <a:rPr lang="en-US" dirty="0">
                <a:solidFill>
                  <a:srgbClr val="FF0000"/>
                </a:solidFill>
              </a:rPr>
            </a:br>
            <a:r>
              <a:rPr lang="en-US" dirty="0"/>
              <a:t>The network uses consensus (some form of agreement) to add data to the blockchain</a:t>
            </a:r>
          </a:p>
          <a:p>
            <a:r>
              <a:rPr lang="en-US" dirty="0">
                <a:solidFill>
                  <a:srgbClr val="FF0000"/>
                </a:solidFill>
              </a:rPr>
              <a:t>Censorship resistant</a:t>
            </a:r>
            <a:br>
              <a:rPr lang="en-US" dirty="0">
                <a:solidFill>
                  <a:srgbClr val="FF0000"/>
                </a:solidFill>
              </a:rPr>
            </a:br>
            <a:r>
              <a:rPr lang="en-US" dirty="0"/>
              <a:t>Anyone can join. Transactions/nodes/users cannot be censored so long as they adhere to protocol rules</a:t>
            </a:r>
          </a:p>
        </p:txBody>
      </p:sp>
    </p:spTree>
    <p:extLst>
      <p:ext uri="{BB962C8B-B14F-4D97-AF65-F5344CB8AC3E}">
        <p14:creationId xmlns:p14="http://schemas.microsoft.com/office/powerpoint/2010/main" val="3146250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ndmark technological advances</a:t>
            </a:r>
          </a:p>
        </p:txBody>
      </p:sp>
      <p:graphicFrame>
        <p:nvGraphicFramePr>
          <p:cNvPr id="11" name="Diagram 10"/>
          <p:cNvGraphicFramePr/>
          <p:nvPr>
            <p:extLst>
              <p:ext uri="{D42A27DB-BD31-4B8C-83A1-F6EECF244321}">
                <p14:modId xmlns:p14="http://schemas.microsoft.com/office/powerpoint/2010/main" val="2391355549"/>
              </p:ext>
            </p:extLst>
          </p:nvPr>
        </p:nvGraphicFramePr>
        <p:xfrm>
          <a:off x="1" y="1371600"/>
          <a:ext cx="11869200" cy="44931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319671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re is blockchain?</a:t>
            </a:r>
          </a:p>
        </p:txBody>
      </p:sp>
      <p:sp>
        <p:nvSpPr>
          <p:cNvPr id="5" name="Text Placeholder 4"/>
          <p:cNvSpPr>
            <a:spLocks noGrp="1"/>
          </p:cNvSpPr>
          <p:nvPr>
            <p:ph type="body" sz="quarter" idx="10"/>
          </p:nvPr>
        </p:nvSpPr>
        <p:spPr/>
        <p:txBody>
          <a:bodyPr/>
          <a:lstStyle/>
          <a:p>
            <a:r>
              <a:rPr lang="en-US" dirty="0"/>
              <a:t>It is </a:t>
            </a:r>
            <a:r>
              <a:rPr lang="en-US" dirty="0">
                <a:solidFill>
                  <a:srgbClr val="FF0000"/>
                </a:solidFill>
              </a:rPr>
              <a:t>decentralized</a:t>
            </a:r>
          </a:p>
          <a:p>
            <a:r>
              <a:rPr lang="en-US" dirty="0">
                <a:solidFill>
                  <a:srgbClr val="FF0000"/>
                </a:solidFill>
              </a:rPr>
              <a:t>Nodes</a:t>
            </a:r>
            <a:r>
              <a:rPr lang="en-US" dirty="0"/>
              <a:t> on the network hold copies of the blockchain (not all nodes need to have the entire copy)</a:t>
            </a:r>
          </a:p>
          <a:p>
            <a:r>
              <a:rPr lang="en-US" dirty="0"/>
              <a:t>When a new block is relayed, the other nodes </a:t>
            </a:r>
            <a:r>
              <a:rPr lang="en-US" dirty="0">
                <a:solidFill>
                  <a:srgbClr val="FF0000"/>
                </a:solidFill>
              </a:rPr>
              <a:t>validate</a:t>
            </a:r>
            <a:r>
              <a:rPr lang="en-US" dirty="0"/>
              <a:t> it and add it to their blockchain</a:t>
            </a:r>
          </a:p>
          <a:p>
            <a:endParaRPr lang="en-US" dirty="0"/>
          </a:p>
        </p:txBody>
      </p:sp>
      <p:sp>
        <p:nvSpPr>
          <p:cNvPr id="6" name="Text Placeholder 5"/>
          <p:cNvSpPr>
            <a:spLocks noGrp="1"/>
          </p:cNvSpPr>
          <p:nvPr>
            <p:ph type="body" sz="quarter" idx="11"/>
          </p:nvPr>
        </p:nvSpPr>
        <p:spPr/>
        <p:txBody>
          <a:bodyPr/>
          <a:lstStyle/>
          <a:p>
            <a:r>
              <a:rPr lang="en-US" dirty="0"/>
              <a:t>You can think of it as nodes (participants) each having a copy of the entire </a:t>
            </a:r>
            <a:r>
              <a:rPr lang="en-US" dirty="0">
                <a:solidFill>
                  <a:srgbClr val="FF0000"/>
                </a:solidFill>
              </a:rPr>
              <a:t>database</a:t>
            </a:r>
            <a:r>
              <a:rPr lang="en-US" dirty="0"/>
              <a:t> of transactions</a:t>
            </a:r>
          </a:p>
          <a:p>
            <a:r>
              <a:rPr lang="en-US" dirty="0"/>
              <a:t>Any attempt to </a:t>
            </a:r>
            <a:r>
              <a:rPr lang="en-US" dirty="0">
                <a:solidFill>
                  <a:srgbClr val="FF0000"/>
                </a:solidFill>
              </a:rPr>
              <a:t>tamper</a:t>
            </a:r>
            <a:r>
              <a:rPr lang="en-US" dirty="0"/>
              <a:t> with the history of the database will be evident to all other nodes and they will immediately reject the change</a:t>
            </a:r>
          </a:p>
          <a:p>
            <a:r>
              <a:rPr lang="en-US" dirty="0"/>
              <a:t>All nodes abide by the same </a:t>
            </a:r>
            <a:r>
              <a:rPr lang="en-US" dirty="0">
                <a:solidFill>
                  <a:srgbClr val="FF0000"/>
                </a:solidFill>
              </a:rPr>
              <a:t>consensus</a:t>
            </a:r>
            <a:r>
              <a:rPr lang="en-US" dirty="0"/>
              <a:t> rules that govern the creation and validation of transactions. Otherwise other nodes will reject the offending transaction</a:t>
            </a:r>
          </a:p>
        </p:txBody>
      </p:sp>
    </p:spTree>
    <p:extLst>
      <p:ext uri="{BB962C8B-B14F-4D97-AF65-F5344CB8AC3E}">
        <p14:creationId xmlns:p14="http://schemas.microsoft.com/office/powerpoint/2010/main" val="15854883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of of State</a:t>
            </a:r>
          </a:p>
        </p:txBody>
      </p:sp>
      <p:sp>
        <p:nvSpPr>
          <p:cNvPr id="3" name="Text Placeholder 2"/>
          <p:cNvSpPr>
            <a:spLocks noGrp="1"/>
          </p:cNvSpPr>
          <p:nvPr>
            <p:ph type="body" sz="quarter" idx="10"/>
          </p:nvPr>
        </p:nvSpPr>
        <p:spPr>
          <a:xfrm>
            <a:off x="324000" y="1692391"/>
            <a:ext cx="6395888" cy="4393017"/>
          </a:xfrm>
        </p:spPr>
        <p:txBody>
          <a:bodyPr/>
          <a:lstStyle/>
          <a:p>
            <a:pPr>
              <a:spcAft>
                <a:spcPts val="1200"/>
              </a:spcAft>
            </a:pPr>
            <a:r>
              <a:rPr lang="en-US" dirty="0"/>
              <a:t>The </a:t>
            </a:r>
            <a:r>
              <a:rPr lang="en-US" dirty="0" err="1"/>
              <a:t>blockchain</a:t>
            </a:r>
            <a:r>
              <a:rPr lang="en-US" dirty="0"/>
              <a:t> provides a Proof of State:</a:t>
            </a:r>
          </a:p>
          <a:p>
            <a:pPr marL="887288" lvl="1" indent="-342900">
              <a:buFont typeface="Arial" panose="020B0604020202020204" pitchFamily="34" charset="0"/>
              <a:buChar char="•"/>
            </a:pPr>
            <a:r>
              <a:rPr lang="en-US" dirty="0">
                <a:solidFill>
                  <a:srgbClr val="FF0000"/>
                </a:solidFill>
              </a:rPr>
              <a:t>Existence</a:t>
            </a:r>
            <a:r>
              <a:rPr lang="en-US" dirty="0"/>
              <a:t>: system of record, with timestamp</a:t>
            </a:r>
          </a:p>
          <a:p>
            <a:pPr marL="887288" lvl="1" indent="-342900">
              <a:buFont typeface="Arial" panose="020B0604020202020204" pitchFamily="34" charset="0"/>
              <a:buChar char="•"/>
            </a:pPr>
            <a:r>
              <a:rPr lang="en-US" dirty="0">
                <a:solidFill>
                  <a:srgbClr val="FF0000"/>
                </a:solidFill>
              </a:rPr>
              <a:t>Ownership</a:t>
            </a:r>
            <a:r>
              <a:rPr lang="en-US" dirty="0"/>
              <a:t>: who owns what</a:t>
            </a:r>
          </a:p>
          <a:p>
            <a:pPr marL="887288" lvl="1" indent="-342900">
              <a:buFont typeface="Arial" panose="020B0604020202020204" pitchFamily="34" charset="0"/>
              <a:buChar char="•"/>
            </a:pPr>
            <a:r>
              <a:rPr lang="en-US" dirty="0">
                <a:solidFill>
                  <a:srgbClr val="FF0000"/>
                </a:solidFill>
              </a:rPr>
              <a:t>Integrity</a:t>
            </a:r>
            <a:r>
              <a:rPr lang="en-US" dirty="0"/>
              <a:t>: no double spend of digital assets</a:t>
            </a:r>
          </a:p>
          <a:p>
            <a:pPr marL="887288" lvl="1" indent="-342900">
              <a:buFont typeface="Arial" panose="020B0604020202020204" pitchFamily="34" charset="0"/>
              <a:buChar char="•"/>
            </a:pPr>
            <a:r>
              <a:rPr lang="en-US" dirty="0">
                <a:solidFill>
                  <a:srgbClr val="FF0000"/>
                </a:solidFill>
              </a:rPr>
              <a:t>Provenance</a:t>
            </a:r>
            <a:r>
              <a:rPr lang="en-US" dirty="0"/>
              <a:t>: history of owners</a:t>
            </a:r>
          </a:p>
          <a:p>
            <a:pPr marL="887288" lvl="1" indent="-342900">
              <a:buFont typeface="Arial" panose="020B0604020202020204" pitchFamily="34" charset="0"/>
              <a:buChar char="•"/>
            </a:pPr>
            <a:r>
              <a:rPr lang="en-US" dirty="0">
                <a:solidFill>
                  <a:srgbClr val="FF0000"/>
                </a:solidFill>
              </a:rPr>
              <a:t>Traceability</a:t>
            </a:r>
            <a:r>
              <a:rPr lang="en-US" dirty="0"/>
              <a:t>: trail of movement</a:t>
            </a:r>
          </a:p>
        </p:txBody>
      </p:sp>
    </p:spTree>
    <p:extLst>
      <p:ext uri="{BB962C8B-B14F-4D97-AF65-F5344CB8AC3E}">
        <p14:creationId xmlns:p14="http://schemas.microsoft.com/office/powerpoint/2010/main" val="4012856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re is Blockchain?</a:t>
            </a:r>
          </a:p>
        </p:txBody>
      </p:sp>
      <p:sp>
        <p:nvSpPr>
          <p:cNvPr id="5" name="Text Placeholder 4"/>
          <p:cNvSpPr>
            <a:spLocks noGrp="1"/>
          </p:cNvSpPr>
          <p:nvPr>
            <p:ph type="body" sz="quarter" idx="10"/>
          </p:nvPr>
        </p:nvSpPr>
        <p:spPr/>
        <p:txBody>
          <a:bodyPr/>
          <a:lstStyle/>
          <a:p>
            <a:r>
              <a:rPr lang="en-US" dirty="0">
                <a:solidFill>
                  <a:srgbClr val="FF0000"/>
                </a:solidFill>
              </a:rPr>
              <a:t>Explorers</a:t>
            </a:r>
            <a:r>
              <a:rPr lang="en-US" dirty="0"/>
              <a:t> for Bitcoin blockchain</a:t>
            </a:r>
          </a:p>
          <a:p>
            <a:pPr marL="342900" indent="-342900">
              <a:buFont typeface="Arial" panose="020B0604020202020204" pitchFamily="34" charset="0"/>
              <a:buChar char="•"/>
            </a:pPr>
            <a:r>
              <a:rPr lang="en-US" dirty="0">
                <a:hlinkClick r:id="rId2"/>
              </a:rPr>
              <a:t>https://blockchain.info/</a:t>
            </a:r>
            <a:endParaRPr lang="en-US" dirty="0"/>
          </a:p>
          <a:p>
            <a:pPr marL="342900" indent="-342900">
              <a:buFont typeface="Arial" panose="020B0604020202020204" pitchFamily="34" charset="0"/>
              <a:buChar char="•"/>
            </a:pPr>
            <a:r>
              <a:rPr lang="en-US" dirty="0">
                <a:hlinkClick r:id="rId3"/>
              </a:rPr>
              <a:t>https://blockexplorer.com/</a:t>
            </a:r>
            <a:endParaRPr lang="en-US" dirty="0"/>
          </a:p>
          <a:p>
            <a:pPr marL="342900" indent="-342900">
              <a:buFont typeface="Arial" panose="020B0604020202020204" pitchFamily="34" charset="0"/>
              <a:buChar char="•"/>
            </a:pPr>
            <a:r>
              <a:rPr lang="en-US" dirty="0">
                <a:hlinkClick r:id="rId4"/>
              </a:rPr>
              <a:t>https://www.blocktrail.com/BTC</a:t>
            </a:r>
            <a:endParaRPr lang="en-US" dirty="0"/>
          </a:p>
          <a:p>
            <a:pPr marL="342900" indent="-342900">
              <a:buFont typeface="Arial" panose="020B0604020202020204" pitchFamily="34" charset="0"/>
              <a:buChar char="•"/>
            </a:pPr>
            <a:r>
              <a:rPr lang="en-US" dirty="0">
                <a:hlinkClick r:id="rId5"/>
              </a:rPr>
              <a:t>http://blockr.io/</a:t>
            </a:r>
            <a:r>
              <a:rPr lang="en-US" dirty="0"/>
              <a:t> </a:t>
            </a:r>
          </a:p>
        </p:txBody>
      </p:sp>
      <p:sp>
        <p:nvSpPr>
          <p:cNvPr id="2" name="Text Placeholder 1"/>
          <p:cNvSpPr>
            <a:spLocks noGrp="1"/>
          </p:cNvSpPr>
          <p:nvPr>
            <p:ph type="body" sz="quarter" idx="11"/>
          </p:nvPr>
        </p:nvSpPr>
        <p:spPr/>
        <p:txBody>
          <a:bodyPr/>
          <a:lstStyle/>
          <a:p>
            <a:r>
              <a:rPr lang="en-US" dirty="0"/>
              <a:t>You can install the bitcoin blockchain on your own computer</a:t>
            </a:r>
          </a:p>
          <a:p>
            <a:r>
              <a:rPr lang="en-US" dirty="0"/>
              <a:t>Download and install bitcoin core </a:t>
            </a:r>
            <a:r>
              <a:rPr lang="en-US" dirty="0">
                <a:hlinkClick r:id="rId6"/>
              </a:rPr>
              <a:t>https://bitcoin.org/en/download</a:t>
            </a:r>
            <a:endParaRPr lang="en-US" dirty="0"/>
          </a:p>
          <a:p>
            <a:r>
              <a:rPr lang="en-US" dirty="0"/>
              <a:t>Then let it gather the bitcoin blockchain. It validates all transaction and blocks (this can take days) in the entire history of bitcoin</a:t>
            </a:r>
          </a:p>
          <a:p>
            <a:r>
              <a:rPr lang="en-US" dirty="0"/>
              <a:t>The current bitcoin blockchain is over 150GB </a:t>
            </a:r>
            <a:r>
              <a:rPr lang="en-US" dirty="0">
                <a:hlinkClick r:id="rId7"/>
              </a:rPr>
              <a:t>https://bitinfocharts.com/</a:t>
            </a:r>
            <a:r>
              <a:rPr lang="en-US" dirty="0"/>
              <a:t> </a:t>
            </a:r>
          </a:p>
          <a:p>
            <a:r>
              <a:rPr lang="en-US" dirty="0"/>
              <a:t>Another option is to install a wallet and let it download the blockchain</a:t>
            </a:r>
          </a:p>
        </p:txBody>
      </p:sp>
    </p:spTree>
    <p:extLst>
      <p:ext uri="{BB962C8B-B14F-4D97-AF65-F5344CB8AC3E}">
        <p14:creationId xmlns:p14="http://schemas.microsoft.com/office/powerpoint/2010/main" val="2761006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25390" y="218515"/>
            <a:ext cx="2069961" cy="756175"/>
          </a:xfrm>
        </p:spPr>
        <p:txBody>
          <a:bodyPr/>
          <a:lstStyle/>
          <a:p>
            <a:r>
              <a:rPr lang="en-US" dirty="0"/>
              <a:t>Blockchain</a:t>
            </a:r>
          </a:p>
        </p:txBody>
      </p:sp>
      <p:graphicFrame>
        <p:nvGraphicFramePr>
          <p:cNvPr id="4" name="Diagram 3"/>
          <p:cNvGraphicFramePr/>
          <p:nvPr>
            <p:extLst>
              <p:ext uri="{D42A27DB-BD31-4B8C-83A1-F6EECF244321}">
                <p14:modId xmlns:p14="http://schemas.microsoft.com/office/powerpoint/2010/main" val="3075121542"/>
              </p:ext>
            </p:extLst>
          </p:nvPr>
        </p:nvGraphicFramePr>
        <p:xfrm>
          <a:off x="1684978" y="536023"/>
          <a:ext cx="821201" cy="502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973073" y="1863830"/>
            <a:ext cx="821200" cy="492720"/>
            <a:chOff x="0" y="4992"/>
            <a:chExt cx="821200" cy="492720"/>
          </a:xfrm>
        </p:grpSpPr>
        <p:sp>
          <p:nvSpPr>
            <p:cNvPr id="6" name="Rectangle 5"/>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7" name="TextBox 6"/>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2</a:t>
              </a:r>
            </a:p>
          </p:txBody>
        </p:sp>
      </p:grpSp>
      <p:grpSp>
        <p:nvGrpSpPr>
          <p:cNvPr id="8" name="Group 7"/>
          <p:cNvGrpSpPr/>
          <p:nvPr/>
        </p:nvGrpSpPr>
        <p:grpSpPr>
          <a:xfrm>
            <a:off x="240780" y="3219709"/>
            <a:ext cx="821200" cy="492720"/>
            <a:chOff x="0" y="4992"/>
            <a:chExt cx="821200" cy="492720"/>
          </a:xfrm>
        </p:grpSpPr>
        <p:sp>
          <p:nvSpPr>
            <p:cNvPr id="9" name="Rectangle 8"/>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0" name="TextBox 9"/>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3</a:t>
              </a:r>
            </a:p>
          </p:txBody>
        </p:sp>
      </p:grpSp>
      <p:grpSp>
        <p:nvGrpSpPr>
          <p:cNvPr id="11" name="Group 10"/>
          <p:cNvGrpSpPr/>
          <p:nvPr/>
        </p:nvGrpSpPr>
        <p:grpSpPr>
          <a:xfrm>
            <a:off x="695573" y="5631254"/>
            <a:ext cx="821200" cy="492720"/>
            <a:chOff x="0" y="4992"/>
            <a:chExt cx="821200" cy="492720"/>
          </a:xfrm>
        </p:grpSpPr>
        <p:sp>
          <p:nvSpPr>
            <p:cNvPr id="12" name="Rectangle 11"/>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3" name="TextBox 12"/>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5</a:t>
              </a:r>
            </a:p>
          </p:txBody>
        </p:sp>
      </p:grpSp>
      <p:grpSp>
        <p:nvGrpSpPr>
          <p:cNvPr id="14" name="Group 13"/>
          <p:cNvGrpSpPr/>
          <p:nvPr/>
        </p:nvGrpSpPr>
        <p:grpSpPr>
          <a:xfrm>
            <a:off x="1564647" y="4182542"/>
            <a:ext cx="821200" cy="492720"/>
            <a:chOff x="0" y="4992"/>
            <a:chExt cx="821200" cy="492720"/>
          </a:xfrm>
        </p:grpSpPr>
        <p:sp>
          <p:nvSpPr>
            <p:cNvPr id="15" name="Rectangle 14"/>
            <p:cNvSpPr/>
            <p:nvPr/>
          </p:nvSpPr>
          <p:spPr>
            <a:xfrm>
              <a:off x="0" y="4992"/>
              <a:ext cx="821200" cy="49272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6" name="TextBox 15"/>
            <p:cNvSpPr txBox="1"/>
            <p:nvPr/>
          </p:nvSpPr>
          <p:spPr>
            <a:xfrm>
              <a:off x="0" y="4992"/>
              <a:ext cx="821200" cy="4927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x4</a:t>
              </a:r>
            </a:p>
          </p:txBody>
        </p:sp>
      </p:grpSp>
      <p:graphicFrame>
        <p:nvGraphicFramePr>
          <p:cNvPr id="17" name="Diagram 16"/>
          <p:cNvGraphicFramePr/>
          <p:nvPr>
            <p:extLst>
              <p:ext uri="{D42A27DB-BD31-4B8C-83A1-F6EECF244321}">
                <p14:modId xmlns:p14="http://schemas.microsoft.com/office/powerpoint/2010/main" val="3134586012"/>
              </p:ext>
            </p:extLst>
          </p:nvPr>
        </p:nvGraphicFramePr>
        <p:xfrm>
          <a:off x="4722535" y="2050297"/>
          <a:ext cx="971927" cy="20344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 17"/>
          <p:cNvGraphicFramePr/>
          <p:nvPr>
            <p:extLst>
              <p:ext uri="{D42A27DB-BD31-4B8C-83A1-F6EECF244321}">
                <p14:modId xmlns:p14="http://schemas.microsoft.com/office/powerpoint/2010/main" val="2591867399"/>
              </p:ext>
            </p:extLst>
          </p:nvPr>
        </p:nvGraphicFramePr>
        <p:xfrm>
          <a:off x="10233724" y="974690"/>
          <a:ext cx="1159323" cy="554698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20" name="Straight Arrow Connector 19"/>
          <p:cNvCxnSpPr/>
          <p:nvPr/>
        </p:nvCxnSpPr>
        <p:spPr>
          <a:xfrm>
            <a:off x="2635433" y="1187364"/>
            <a:ext cx="1934993" cy="1146875"/>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1975247" y="2203786"/>
            <a:ext cx="2590299" cy="431009"/>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V="1">
            <a:off x="1223961" y="2957243"/>
            <a:ext cx="3341585" cy="415729"/>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2576513" y="3381632"/>
            <a:ext cx="1989033" cy="797120"/>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1684978" y="3746439"/>
            <a:ext cx="2880568" cy="2073336"/>
          </a:xfrm>
          <a:prstGeom prst="straightConnector1">
            <a:avLst/>
          </a:prstGeom>
          <a:ln w="95250">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6058315" y="2849492"/>
            <a:ext cx="880854" cy="12770"/>
          </a:xfrm>
          <a:prstGeom prst="straightConnector1">
            <a:avLst/>
          </a:prstGeom>
          <a:ln w="101600">
            <a:solidFill>
              <a:srgbClr val="C00000"/>
            </a:solidFill>
            <a:tailEnd type="triangle"/>
          </a:ln>
        </p:spPr>
        <p:style>
          <a:lnRef idx="1">
            <a:schemeClr val="accent6"/>
          </a:lnRef>
          <a:fillRef idx="0">
            <a:schemeClr val="accent6"/>
          </a:fillRef>
          <a:effectRef idx="0">
            <a:schemeClr val="accent6"/>
          </a:effectRef>
          <a:fontRef idx="minor">
            <a:schemeClr val="tx1"/>
          </a:fontRef>
        </p:style>
      </p:cxnSp>
      <p:graphicFrame>
        <p:nvGraphicFramePr>
          <p:cNvPr id="45" name="Diagram 44"/>
          <p:cNvGraphicFramePr/>
          <p:nvPr>
            <p:extLst>
              <p:ext uri="{D42A27DB-BD31-4B8C-83A1-F6EECF244321}">
                <p14:modId xmlns:p14="http://schemas.microsoft.com/office/powerpoint/2010/main" val="1840378049"/>
              </p:ext>
            </p:extLst>
          </p:nvPr>
        </p:nvGraphicFramePr>
        <p:xfrm>
          <a:off x="7146192" y="2101502"/>
          <a:ext cx="1842825" cy="171148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pic>
        <p:nvPicPr>
          <p:cNvPr id="49" name="Picture 4" descr="avatar,face"/>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33183" y="307622"/>
            <a:ext cx="795770" cy="79577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http://findicons.com/files/icons/1072/face_avatars/300/f04.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3021503" y="340918"/>
            <a:ext cx="795770" cy="795770"/>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Arrow Connector 52"/>
          <p:cNvCxnSpPr>
            <a:stCxn id="49" idx="3"/>
          </p:cNvCxnSpPr>
          <p:nvPr/>
        </p:nvCxnSpPr>
        <p:spPr>
          <a:xfrm>
            <a:off x="1228953" y="705507"/>
            <a:ext cx="456025" cy="0"/>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cxnSp>
        <p:nvCxnSpPr>
          <p:cNvPr id="56" name="Straight Arrow Connector 55"/>
          <p:cNvCxnSpPr>
            <a:endCxn id="50" idx="1"/>
          </p:cNvCxnSpPr>
          <p:nvPr/>
        </p:nvCxnSpPr>
        <p:spPr>
          <a:xfrm>
            <a:off x="2635433" y="738803"/>
            <a:ext cx="386070" cy="0"/>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cxnSp>
        <p:nvCxnSpPr>
          <p:cNvPr id="31" name="Straight Arrow Connector 30"/>
          <p:cNvCxnSpPr/>
          <p:nvPr/>
        </p:nvCxnSpPr>
        <p:spPr>
          <a:xfrm flipV="1">
            <a:off x="9189687" y="1457325"/>
            <a:ext cx="906813" cy="1309938"/>
          </a:xfrm>
          <a:prstGeom prst="straightConnector1">
            <a:avLst/>
          </a:prstGeom>
          <a:ln w="101600">
            <a:solidFill>
              <a:srgbClr val="C00000"/>
            </a:solidFill>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8887282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lockchain</a:t>
            </a:r>
            <a:r>
              <a:rPr lang="en-US" dirty="0"/>
              <a:t> structure</a:t>
            </a:r>
          </a:p>
        </p:txBody>
      </p:sp>
      <p:sp>
        <p:nvSpPr>
          <p:cNvPr id="4" name="Rectangle 3"/>
          <p:cNvSpPr/>
          <p:nvPr/>
        </p:nvSpPr>
        <p:spPr bwMode="gray">
          <a:xfrm>
            <a:off x="216815" y="2389695"/>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5" name="Rectangle 4"/>
          <p:cNvSpPr/>
          <p:nvPr/>
        </p:nvSpPr>
        <p:spPr>
          <a:xfrm>
            <a:off x="419493" y="4627841"/>
            <a:ext cx="2068195" cy="415498"/>
          </a:xfrm>
          <a:prstGeom prst="rect">
            <a:avLst/>
          </a:prstGeom>
        </p:spPr>
        <p:txBody>
          <a:bodyPr wrap="none">
            <a:spAutoFit/>
          </a:bodyPr>
          <a:lstStyle/>
          <a:p>
            <a:pPr lvl="0"/>
            <a:r>
              <a:rPr lang="en-US" dirty="0"/>
              <a:t>Hash of Block 0</a:t>
            </a:r>
          </a:p>
        </p:txBody>
      </p:sp>
      <p:sp>
        <p:nvSpPr>
          <p:cNvPr id="6" name="Rectangle 5"/>
          <p:cNvSpPr/>
          <p:nvPr/>
        </p:nvSpPr>
        <p:spPr bwMode="gray">
          <a:xfrm>
            <a:off x="3164262" y="2389695"/>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 name="Rectangle 6"/>
          <p:cNvSpPr/>
          <p:nvPr/>
        </p:nvSpPr>
        <p:spPr bwMode="gray">
          <a:xfrm>
            <a:off x="6130564" y="2389694"/>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7"/>
          <p:cNvSpPr/>
          <p:nvPr/>
        </p:nvSpPr>
        <p:spPr bwMode="gray">
          <a:xfrm>
            <a:off x="9225846" y="2389694"/>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Rectangle 8"/>
          <p:cNvSpPr/>
          <p:nvPr/>
        </p:nvSpPr>
        <p:spPr>
          <a:xfrm>
            <a:off x="3375536" y="4627841"/>
            <a:ext cx="2068195" cy="415498"/>
          </a:xfrm>
          <a:prstGeom prst="rect">
            <a:avLst/>
          </a:prstGeom>
        </p:spPr>
        <p:txBody>
          <a:bodyPr wrap="none">
            <a:spAutoFit/>
          </a:bodyPr>
          <a:lstStyle/>
          <a:p>
            <a:pPr lvl="0"/>
            <a:r>
              <a:rPr lang="en-US" dirty="0"/>
              <a:t>Hash of Block 1</a:t>
            </a:r>
          </a:p>
        </p:txBody>
      </p:sp>
      <p:sp>
        <p:nvSpPr>
          <p:cNvPr id="10" name="Rectangle 9"/>
          <p:cNvSpPr/>
          <p:nvPr/>
        </p:nvSpPr>
        <p:spPr>
          <a:xfrm>
            <a:off x="6431218" y="4627841"/>
            <a:ext cx="2068195" cy="415498"/>
          </a:xfrm>
          <a:prstGeom prst="rect">
            <a:avLst/>
          </a:prstGeom>
        </p:spPr>
        <p:txBody>
          <a:bodyPr wrap="square">
            <a:spAutoFit/>
          </a:bodyPr>
          <a:lstStyle/>
          <a:p>
            <a:pPr lvl="0"/>
            <a:r>
              <a:rPr lang="en-US" dirty="0"/>
              <a:t>Hash of Block 2</a:t>
            </a:r>
          </a:p>
        </p:txBody>
      </p:sp>
      <p:sp>
        <p:nvSpPr>
          <p:cNvPr id="11" name="Rectangle 10"/>
          <p:cNvSpPr/>
          <p:nvPr/>
        </p:nvSpPr>
        <p:spPr>
          <a:xfrm>
            <a:off x="9399017" y="4572493"/>
            <a:ext cx="2113079" cy="415498"/>
          </a:xfrm>
          <a:prstGeom prst="rect">
            <a:avLst/>
          </a:prstGeom>
        </p:spPr>
        <p:txBody>
          <a:bodyPr wrap="none">
            <a:spAutoFit/>
          </a:bodyPr>
          <a:lstStyle/>
          <a:p>
            <a:pPr lvl="0"/>
            <a:r>
              <a:rPr lang="en-US" dirty="0"/>
              <a:t>Hash of Block N</a:t>
            </a:r>
          </a:p>
        </p:txBody>
      </p:sp>
      <p:graphicFrame>
        <p:nvGraphicFramePr>
          <p:cNvPr id="3" name="Diagram 2"/>
          <p:cNvGraphicFramePr/>
          <p:nvPr>
            <p:extLst>
              <p:ext uri="{D42A27DB-BD31-4B8C-83A1-F6EECF244321}">
                <p14:modId xmlns:p14="http://schemas.microsoft.com/office/powerpoint/2010/main" val="2833630656"/>
              </p:ext>
            </p:extLst>
          </p:nvPr>
        </p:nvGraphicFramePr>
        <p:xfrm>
          <a:off x="324001" y="1230198"/>
          <a:ext cx="11313390" cy="4909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p:cNvSpPr txBox="1"/>
          <p:nvPr/>
        </p:nvSpPr>
        <p:spPr>
          <a:xfrm>
            <a:off x="596145" y="5453086"/>
            <a:ext cx="2542363"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kern="0" dirty="0">
                <a:ea typeface="Arial Unicode MS" pitchFamily="34" charset="-128"/>
                <a:cs typeface="Arial Unicode MS" pitchFamily="34" charset="-128"/>
              </a:rPr>
              <a:t>Hash ~ Fingerprint</a:t>
            </a:r>
          </a:p>
        </p:txBody>
      </p:sp>
    </p:spTree>
    <p:extLst>
      <p:ext uri="{BB962C8B-B14F-4D97-AF65-F5344CB8AC3E}">
        <p14:creationId xmlns:p14="http://schemas.microsoft.com/office/powerpoint/2010/main" val="35509734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is a Blockchain built</a:t>
            </a:r>
          </a:p>
        </p:txBody>
      </p:sp>
      <p:graphicFrame>
        <p:nvGraphicFramePr>
          <p:cNvPr id="4" name="Diagram 3"/>
          <p:cNvGraphicFramePr/>
          <p:nvPr>
            <p:extLst>
              <p:ext uri="{D42A27DB-BD31-4B8C-83A1-F6EECF244321}">
                <p14:modId xmlns:p14="http://schemas.microsoft.com/office/powerpoint/2010/main" val="1110844828"/>
              </p:ext>
            </p:extLst>
          </p:nvPr>
        </p:nvGraphicFramePr>
        <p:xfrm>
          <a:off x="178905" y="1262270"/>
          <a:ext cx="11690296" cy="52975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447200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Exploration</a:t>
            </a:r>
          </a:p>
        </p:txBody>
      </p:sp>
      <p:sp>
        <p:nvSpPr>
          <p:cNvPr id="3" name="Text Placeholder 2"/>
          <p:cNvSpPr>
            <a:spLocks noGrp="1"/>
          </p:cNvSpPr>
          <p:nvPr>
            <p:ph type="body" sz="quarter" idx="10"/>
          </p:nvPr>
        </p:nvSpPr>
        <p:spPr/>
        <p:txBody>
          <a:bodyPr/>
          <a:lstStyle/>
          <a:p>
            <a:r>
              <a:rPr lang="en-US" dirty="0"/>
              <a:t>Go to </a:t>
            </a:r>
            <a:r>
              <a:rPr lang="en-US" b="0" dirty="0">
                <a:hlinkClick r:id="rId2"/>
              </a:rPr>
              <a:t>https://blockchain.info/</a:t>
            </a:r>
            <a:endParaRPr lang="en-US" b="0" dirty="0"/>
          </a:p>
          <a:p>
            <a:r>
              <a:rPr lang="en-US" b="0" dirty="0"/>
              <a:t>What is the latest block number (height) you see?</a:t>
            </a:r>
          </a:p>
          <a:p>
            <a:r>
              <a:rPr lang="en-US" b="0" dirty="0"/>
              <a:t>How many transactions are in block 400000?</a:t>
            </a:r>
          </a:p>
          <a:p>
            <a:r>
              <a:rPr lang="en-US" b="0" dirty="0"/>
              <a:t>What is the size of that block (in kB)?</a:t>
            </a:r>
          </a:p>
          <a:p>
            <a:r>
              <a:rPr lang="en-US" b="0" dirty="0"/>
              <a:t>How many transactions per second were relayed in the last 24 hours?</a:t>
            </a:r>
          </a:p>
          <a:p>
            <a:r>
              <a:rPr lang="en-US" b="0" dirty="0"/>
              <a:t>Can you see all the transactions in a block? Explain</a:t>
            </a:r>
          </a:p>
        </p:txBody>
      </p:sp>
      <p:pic>
        <p:nvPicPr>
          <p:cNvPr id="5" name="Picture 8"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476250">
            <a:off x="9860448" y="639115"/>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ext uri="{D42A27DB-BD31-4B8C-83A1-F6EECF244321}">
                <p14:modId xmlns:p14="http://schemas.microsoft.com/office/powerpoint/2010/main" val="3238383008"/>
              </p:ext>
            </p:extLst>
          </p:nvPr>
        </p:nvGraphicFramePr>
        <p:xfrm>
          <a:off x="6798366" y="1908098"/>
          <a:ext cx="3781724" cy="3961601"/>
        </p:xfrm>
        <a:graphic>
          <a:graphicData uri="http://schemas.openxmlformats.org/drawingml/2006/table">
            <a:tbl>
              <a:tblPr firstRow="1" bandRow="1">
                <a:tableStyleId>{5940675A-B579-460E-94D1-54222C63F5DA}</a:tableStyleId>
              </a:tblPr>
              <a:tblGrid>
                <a:gridCol w="3781724">
                  <a:extLst>
                    <a:ext uri="{9D8B030D-6E8A-4147-A177-3AD203B41FA5}">
                      <a16:colId xmlns:a16="http://schemas.microsoft.com/office/drawing/2014/main" val="2321732246"/>
                    </a:ext>
                  </a:extLst>
                </a:gridCol>
              </a:tblGrid>
              <a:tr h="831321">
                <a:tc>
                  <a:txBody>
                    <a:bodyPr/>
                    <a:lstStyle/>
                    <a:p>
                      <a:endParaRPr lang="en-US" dirty="0"/>
                    </a:p>
                  </a:txBody>
                  <a:tcPr/>
                </a:tc>
                <a:extLst>
                  <a:ext uri="{0D108BD9-81ED-4DB2-BD59-A6C34878D82A}">
                    <a16:rowId xmlns:a16="http://schemas.microsoft.com/office/drawing/2014/main" val="3203660854"/>
                  </a:ext>
                </a:extLst>
              </a:tr>
              <a:tr h="782570">
                <a:tc>
                  <a:txBody>
                    <a:bodyPr/>
                    <a:lstStyle/>
                    <a:p>
                      <a:endParaRPr lang="en-US"/>
                    </a:p>
                  </a:txBody>
                  <a:tcPr/>
                </a:tc>
                <a:extLst>
                  <a:ext uri="{0D108BD9-81ED-4DB2-BD59-A6C34878D82A}">
                    <a16:rowId xmlns:a16="http://schemas.microsoft.com/office/drawing/2014/main" val="2020806188"/>
                  </a:ext>
                </a:extLst>
              </a:tr>
              <a:tr h="782570">
                <a:tc>
                  <a:txBody>
                    <a:bodyPr/>
                    <a:lstStyle/>
                    <a:p>
                      <a:endParaRPr lang="en-US"/>
                    </a:p>
                  </a:txBody>
                  <a:tcPr/>
                </a:tc>
                <a:extLst>
                  <a:ext uri="{0D108BD9-81ED-4DB2-BD59-A6C34878D82A}">
                    <a16:rowId xmlns:a16="http://schemas.microsoft.com/office/drawing/2014/main" val="1783079445"/>
                  </a:ext>
                </a:extLst>
              </a:tr>
              <a:tr h="782570">
                <a:tc>
                  <a:txBody>
                    <a:bodyPr/>
                    <a:lstStyle/>
                    <a:p>
                      <a:endParaRPr lang="en-US"/>
                    </a:p>
                  </a:txBody>
                  <a:tcPr/>
                </a:tc>
                <a:extLst>
                  <a:ext uri="{0D108BD9-81ED-4DB2-BD59-A6C34878D82A}">
                    <a16:rowId xmlns:a16="http://schemas.microsoft.com/office/drawing/2014/main" val="2389937363"/>
                  </a:ext>
                </a:extLst>
              </a:tr>
              <a:tr h="782570">
                <a:tc>
                  <a:txBody>
                    <a:bodyPr/>
                    <a:lstStyle/>
                    <a:p>
                      <a:endParaRPr lang="en-US" dirty="0"/>
                    </a:p>
                  </a:txBody>
                  <a:tcPr/>
                </a:tc>
                <a:extLst>
                  <a:ext uri="{0D108BD9-81ED-4DB2-BD59-A6C34878D82A}">
                    <a16:rowId xmlns:a16="http://schemas.microsoft.com/office/drawing/2014/main" val="3815066379"/>
                  </a:ext>
                </a:extLst>
              </a:tr>
            </a:tbl>
          </a:graphicData>
        </a:graphic>
      </p:graphicFrame>
      <p:pic>
        <p:nvPicPr>
          <p:cNvPr id="7" name="Picture 6"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21525" y="2159574"/>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04685" y="2827339"/>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700556" y="3434069"/>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01696" y="4088019"/>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08752" y="4946118"/>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7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w what?</a:t>
            </a:r>
          </a:p>
        </p:txBody>
      </p:sp>
      <p:sp>
        <p:nvSpPr>
          <p:cNvPr id="3" name="Text Placeholder 2"/>
          <p:cNvSpPr>
            <a:spLocks noGrp="1"/>
          </p:cNvSpPr>
          <p:nvPr>
            <p:ph type="body" sz="quarter" idx="10"/>
          </p:nvPr>
        </p:nvSpPr>
        <p:spPr/>
        <p:txBody>
          <a:bodyPr/>
          <a:lstStyle/>
          <a:p>
            <a:r>
              <a:rPr lang="en-US" dirty="0"/>
              <a:t>So now you know that the </a:t>
            </a:r>
            <a:r>
              <a:rPr lang="en-US" dirty="0" err="1"/>
              <a:t>blockchain</a:t>
            </a:r>
            <a:r>
              <a:rPr lang="en-US" dirty="0"/>
              <a:t> is an immutable, temper evident, cryptographic ledger of transactions</a:t>
            </a:r>
          </a:p>
          <a:p>
            <a:r>
              <a:rPr lang="en-US" dirty="0"/>
              <a:t>What can we do with this ledger?</a:t>
            </a:r>
          </a:p>
          <a:p>
            <a:r>
              <a:rPr lang="en-US" dirty="0"/>
              <a:t>How can you innovate on it?</a:t>
            </a:r>
          </a:p>
          <a:p>
            <a:r>
              <a:rPr lang="en-US" dirty="0"/>
              <a:t>How could it be disruptive?</a:t>
            </a:r>
          </a:p>
          <a:p>
            <a:r>
              <a:rPr lang="en-US" dirty="0"/>
              <a:t>What are its use cases?</a:t>
            </a:r>
          </a:p>
          <a:p>
            <a:r>
              <a:rPr lang="en-US" dirty="0"/>
              <a:t>What can it do better than a traditional database?</a:t>
            </a:r>
          </a:p>
        </p:txBody>
      </p:sp>
      <p:sp>
        <p:nvSpPr>
          <p:cNvPr id="4" name="Text Placeholder 3"/>
          <p:cNvSpPr>
            <a:spLocks noGrp="1"/>
          </p:cNvSpPr>
          <p:nvPr>
            <p:ph type="body" sz="quarter" idx="11"/>
          </p:nvPr>
        </p:nvSpPr>
        <p:spPr/>
        <p:txBody>
          <a:bodyPr/>
          <a:lstStyle/>
          <a:p>
            <a:r>
              <a:rPr lang="en-US" i="1" dirty="0"/>
              <a:t>Satoshi </a:t>
            </a:r>
            <a:r>
              <a:rPr lang="en-US" i="1" dirty="0" err="1"/>
              <a:t>Nakamoto</a:t>
            </a:r>
            <a:r>
              <a:rPr lang="en-US" i="1" dirty="0"/>
              <a:t> </a:t>
            </a:r>
            <a:r>
              <a:rPr lang="en-US" dirty="0"/>
              <a:t>combined the blockchain with Proof of Work consensus and clever game theory to create a cryptocurrency called </a:t>
            </a:r>
            <a:r>
              <a:rPr lang="en-US" dirty="0">
                <a:solidFill>
                  <a:srgbClr val="FF0000"/>
                </a:solidFill>
              </a:rPr>
              <a:t>bitcoin</a:t>
            </a:r>
            <a:r>
              <a:rPr lang="en-US" dirty="0"/>
              <a:t>. </a:t>
            </a:r>
          </a:p>
          <a:p>
            <a:r>
              <a:rPr lang="en-US" dirty="0"/>
              <a:t>It uses a public, </a:t>
            </a:r>
            <a:r>
              <a:rPr lang="en-US" dirty="0" err="1"/>
              <a:t>permissionless</a:t>
            </a:r>
            <a:r>
              <a:rPr lang="en-US" dirty="0"/>
              <a:t> blockchain. </a:t>
            </a:r>
          </a:p>
          <a:p>
            <a:r>
              <a:rPr lang="en-US" dirty="0"/>
              <a:t>It uses clever game theory to incentivize actors to be honest.</a:t>
            </a:r>
          </a:p>
          <a:p>
            <a:r>
              <a:rPr lang="en-US" dirty="0"/>
              <a:t>Let’s dig deep into </a:t>
            </a:r>
            <a:r>
              <a:rPr lang="en-US" dirty="0">
                <a:solidFill>
                  <a:srgbClr val="FF0000"/>
                </a:solidFill>
              </a:rPr>
              <a:t>BITCOIN</a:t>
            </a:r>
            <a:r>
              <a:rPr lang="en-US" dirty="0"/>
              <a:t>!</a:t>
            </a:r>
          </a:p>
          <a:p>
            <a:r>
              <a:rPr lang="en-US" dirty="0"/>
              <a:t>It is, so far, the best application of </a:t>
            </a:r>
            <a:r>
              <a:rPr lang="en-US" dirty="0" err="1"/>
              <a:t>blockchain</a:t>
            </a:r>
            <a:r>
              <a:rPr lang="en-US" dirty="0"/>
              <a:t> technology.</a:t>
            </a:r>
          </a:p>
        </p:txBody>
      </p:sp>
    </p:spTree>
    <p:extLst>
      <p:ext uri="{BB962C8B-B14F-4D97-AF65-F5344CB8AC3E}">
        <p14:creationId xmlns:p14="http://schemas.microsoft.com/office/powerpoint/2010/main" val="5643163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p:sp>
      <p:sp>
        <p:nvSpPr>
          <p:cNvPr id="2" name="Title 1"/>
          <p:cNvSpPr>
            <a:spLocks noGrp="1"/>
          </p:cNvSpPr>
          <p:nvPr>
            <p:ph type="ctrTitle"/>
          </p:nvPr>
        </p:nvSpPr>
        <p:spPr/>
        <p:txBody>
          <a:bodyPr/>
          <a:lstStyle/>
          <a:p>
            <a:r>
              <a:rPr lang="en-US" dirty="0"/>
              <a:t>Bitcoin</a:t>
            </a:r>
          </a:p>
        </p:txBody>
      </p:sp>
      <p:sp>
        <p:nvSpPr>
          <p:cNvPr id="4" name="Text Placeholder 3"/>
          <p:cNvSpPr>
            <a:spLocks noGrp="1"/>
          </p:cNvSpPr>
          <p:nvPr>
            <p:ph type="body" sz="quarter" idx="10"/>
          </p:nvPr>
        </p:nvSpPr>
        <p:spPr/>
        <p:txBody>
          <a:bodyPr/>
          <a:lstStyle/>
          <a:p>
            <a:endParaRPr lang="en-US" sz="2800" i="1" dirty="0"/>
          </a:p>
          <a:p>
            <a:r>
              <a:rPr lang="en-US" sz="2800" i="1" dirty="0"/>
              <a:t>“In Us We Trust”</a:t>
            </a:r>
          </a:p>
          <a:p>
            <a:endParaRPr lang="en-US" sz="2800" i="1" dirty="0"/>
          </a:p>
          <a:p>
            <a:r>
              <a:rPr lang="en-US" sz="2800" i="1" dirty="0"/>
              <a:t>“In Code We Trust”</a:t>
            </a:r>
          </a:p>
        </p:txBody>
      </p:sp>
      <p:pic>
        <p:nvPicPr>
          <p:cNvPr id="2050" name="Picture 2" descr="https://qzprod.files.wordpress.com/2017/07/china_bitcoin_006.jpg?quality=80&amp;strip=all&amp;w=1600"/>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269329" y="93861"/>
            <a:ext cx="11704667" cy="2361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189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298EE-9906-4C33-A092-D14326590489}"/>
              </a:ext>
            </a:extLst>
          </p:cNvPr>
          <p:cNvSpPr>
            <a:spLocks noGrp="1"/>
          </p:cNvSpPr>
          <p:nvPr>
            <p:ph type="title"/>
          </p:nvPr>
        </p:nvSpPr>
        <p:spPr/>
        <p:txBody>
          <a:bodyPr/>
          <a:lstStyle/>
          <a:p>
            <a:r>
              <a:rPr lang="en-US" dirty="0"/>
              <a:t>What do you get by combining these?</a:t>
            </a:r>
          </a:p>
        </p:txBody>
      </p:sp>
      <p:pic>
        <p:nvPicPr>
          <p:cNvPr id="2050" name="Picture 2" descr="Image result for ingredients for cake">
            <a:extLst>
              <a:ext uri="{FF2B5EF4-FFF2-40B4-BE49-F238E27FC236}">
                <a16:creationId xmlns:a16="http://schemas.microsoft.com/office/drawing/2014/main" id="{F0BDC734-032C-4404-9DB5-DA266B0BB56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526762" y="1504200"/>
            <a:ext cx="7139676" cy="478358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milk shake ruined">
            <a:extLst>
              <a:ext uri="{FF2B5EF4-FFF2-40B4-BE49-F238E27FC236}">
                <a16:creationId xmlns:a16="http://schemas.microsoft.com/office/drawing/2014/main" id="{859D43E5-599E-451B-BA9F-FF660FDC1C9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10350" y="1022124"/>
            <a:ext cx="8572500" cy="5715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04831F7-156E-468A-BE82-896E49C257E1}"/>
              </a:ext>
            </a:extLst>
          </p:cNvPr>
          <p:cNvSpPr txBox="1"/>
          <p:nvPr/>
        </p:nvSpPr>
        <p:spPr>
          <a:xfrm>
            <a:off x="2167847" y="416543"/>
            <a:ext cx="2454198" cy="5293757"/>
          </a:xfrm>
          <a:prstGeom prst="rect">
            <a:avLst/>
          </a:prstGeom>
          <a:noFill/>
          <a:effectLst>
            <a:outerShdw blurRad="50800" dist="38100" dir="2700000" algn="tl" rotWithShape="0">
              <a:prstClr val="black">
                <a:alpha val="40000"/>
              </a:prstClr>
            </a:outerShdw>
          </a:effectLst>
        </p:spPr>
        <p:txBody>
          <a:bodyPr wrap="none" lIns="0" tIns="0" rIns="0" bIns="0" rtlCol="0">
            <a:spAutoFit/>
          </a:bodyPr>
          <a:lstStyle/>
          <a:p>
            <a:pPr fontAlgn="base">
              <a:spcBef>
                <a:spcPct val="50000"/>
              </a:spcBef>
              <a:spcAft>
                <a:spcPct val="0"/>
              </a:spcAft>
              <a:buClr>
                <a:srgbClr val="F0AB00"/>
              </a:buClr>
              <a:buSzPct val="80000"/>
            </a:pPr>
            <a:r>
              <a:rPr lang="en-US" sz="34400" kern="0" dirty="0">
                <a:solidFill>
                  <a:srgbClr val="FFFF00"/>
                </a:solidFill>
                <a:ea typeface="Arial Unicode MS" pitchFamily="34" charset="-128"/>
                <a:cs typeface="Arial Unicode MS" pitchFamily="34" charset="-128"/>
              </a:rPr>
              <a:t>?</a:t>
            </a:r>
          </a:p>
        </p:txBody>
      </p:sp>
      <p:pic>
        <p:nvPicPr>
          <p:cNvPr id="2058" name="Picture 10" descr="Image result for cake">
            <a:extLst>
              <a:ext uri="{FF2B5EF4-FFF2-40B4-BE49-F238E27FC236}">
                <a16:creationId xmlns:a16="http://schemas.microsoft.com/office/drawing/2014/main" id="{D0D7CC97-DCFA-4972-B336-EA936DF9CEC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693373" y="959443"/>
            <a:ext cx="5782663" cy="5782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60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 calcmode="lin" valueType="num">
                                      <p:cBhvr additive="base">
                                        <p:cTn id="7" dur="500" fill="hold"/>
                                        <p:tgtEl>
                                          <p:spTgt spid="2052"/>
                                        </p:tgtEl>
                                        <p:attrNameLst>
                                          <p:attrName>ppt_x</p:attrName>
                                        </p:attrNameLst>
                                      </p:cBhvr>
                                      <p:tavLst>
                                        <p:tav tm="0">
                                          <p:val>
                                            <p:strVal val="#ppt_x"/>
                                          </p:val>
                                        </p:tav>
                                        <p:tav tm="100000">
                                          <p:val>
                                            <p:strVal val="#ppt_x"/>
                                          </p:val>
                                        </p:tav>
                                      </p:tavLst>
                                    </p:anim>
                                    <p:anim calcmode="lin" valueType="num">
                                      <p:cBhvr additive="base">
                                        <p:cTn id="8"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058"/>
                                        </p:tgtEl>
                                        <p:attrNameLst>
                                          <p:attrName>style.visibility</p:attrName>
                                        </p:attrNameLst>
                                      </p:cBhvr>
                                      <p:to>
                                        <p:strVal val="visible"/>
                                      </p:to>
                                    </p:set>
                                    <p:anim calcmode="lin" valueType="num">
                                      <p:cBhvr additive="base">
                                        <p:cTn id="13" dur="500" fill="hold"/>
                                        <p:tgtEl>
                                          <p:spTgt spid="2058"/>
                                        </p:tgtEl>
                                        <p:attrNameLst>
                                          <p:attrName>ppt_x</p:attrName>
                                        </p:attrNameLst>
                                      </p:cBhvr>
                                      <p:tavLst>
                                        <p:tav tm="0">
                                          <p:val>
                                            <p:strVal val="#ppt_x"/>
                                          </p:val>
                                        </p:tav>
                                        <p:tav tm="100000">
                                          <p:val>
                                            <p:strVal val="#ppt_x"/>
                                          </p:val>
                                        </p:tav>
                                      </p:tavLst>
                                    </p:anim>
                                    <p:anim calcmode="lin" valueType="num">
                                      <p:cBhvr additive="base">
                                        <p:cTn id="14" dur="500" fill="hold"/>
                                        <p:tgtEl>
                                          <p:spTgt spid="20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7: The year of bitcoin</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93682" y="1276349"/>
            <a:ext cx="9726732" cy="5379353"/>
          </a:xfrm>
          <a:prstGeom prst="rect">
            <a:avLst/>
          </a:prstGeom>
        </p:spPr>
      </p:pic>
      <p:sp>
        <p:nvSpPr>
          <p:cNvPr id="5" name="Oval 4"/>
          <p:cNvSpPr/>
          <p:nvPr/>
        </p:nvSpPr>
        <p:spPr bwMode="gray">
          <a:xfrm>
            <a:off x="8167688" y="3476625"/>
            <a:ext cx="1852612" cy="528638"/>
          </a:xfrm>
          <a:prstGeom prst="ellipse">
            <a:avLst/>
          </a:prstGeom>
          <a:noFill/>
          <a:ln w="76200">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850017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8170E4C-EAD3-4348-87FE-4A8D3C7FFA2C}"/>
              </a:ext>
            </a:extLst>
          </p:cNvPr>
          <p:cNvSpPr>
            <a:spLocks noGrp="1"/>
          </p:cNvSpPr>
          <p:nvPr>
            <p:ph type="title"/>
          </p:nvPr>
        </p:nvSpPr>
        <p:spPr/>
        <p:txBody>
          <a:bodyPr/>
          <a:lstStyle/>
          <a:p>
            <a:r>
              <a:rPr lang="en-US" dirty="0"/>
              <a:t>Bitcoin is like cake, it is a brilliant invention that combines several advances in technology in a totally unique way</a:t>
            </a:r>
          </a:p>
        </p:txBody>
      </p:sp>
      <p:graphicFrame>
        <p:nvGraphicFramePr>
          <p:cNvPr id="8" name="Diagram 7">
            <a:extLst>
              <a:ext uri="{FF2B5EF4-FFF2-40B4-BE49-F238E27FC236}">
                <a16:creationId xmlns:a16="http://schemas.microsoft.com/office/drawing/2014/main" id="{DE280A98-8B4F-4B1E-AFFB-2D6D875FA54F}"/>
              </a:ext>
            </a:extLst>
          </p:cNvPr>
          <p:cNvGraphicFramePr/>
          <p:nvPr>
            <p:extLst>
              <p:ext uri="{D42A27DB-BD31-4B8C-83A1-F6EECF244321}">
                <p14:modId xmlns:p14="http://schemas.microsoft.com/office/powerpoint/2010/main" val="2860494032"/>
              </p:ext>
            </p:extLst>
          </p:nvPr>
        </p:nvGraphicFramePr>
        <p:xfrm>
          <a:off x="2031541" y="1188986"/>
          <a:ext cx="8130117" cy="54200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54633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C3217-4BA3-4B21-926C-36A961979ECF}"/>
              </a:ext>
            </a:extLst>
          </p:cNvPr>
          <p:cNvSpPr>
            <a:spLocks noGrp="1"/>
          </p:cNvSpPr>
          <p:nvPr>
            <p:ph type="title"/>
          </p:nvPr>
        </p:nvSpPr>
        <p:spPr/>
        <p:txBody>
          <a:bodyPr/>
          <a:lstStyle/>
          <a:p>
            <a:r>
              <a:rPr lang="en-US" dirty="0" err="1"/>
              <a:t>Cryptoeconomics</a:t>
            </a:r>
            <a:endParaRPr lang="en-US" dirty="0"/>
          </a:p>
        </p:txBody>
      </p:sp>
      <p:graphicFrame>
        <p:nvGraphicFramePr>
          <p:cNvPr id="3" name="Diagram 2">
            <a:extLst>
              <a:ext uri="{FF2B5EF4-FFF2-40B4-BE49-F238E27FC236}">
                <a16:creationId xmlns:a16="http://schemas.microsoft.com/office/drawing/2014/main" id="{D642F705-9455-442C-A8C3-C5A83500CEE8}"/>
              </a:ext>
            </a:extLst>
          </p:cNvPr>
          <p:cNvGraphicFramePr/>
          <p:nvPr>
            <p:extLst>
              <p:ext uri="{D42A27DB-BD31-4B8C-83A1-F6EECF244321}">
                <p14:modId xmlns:p14="http://schemas.microsoft.com/office/powerpoint/2010/main" val="962469875"/>
              </p:ext>
            </p:extLst>
          </p:nvPr>
        </p:nvGraphicFramePr>
        <p:xfrm>
          <a:off x="2032529" y="1674687"/>
          <a:ext cx="8130117" cy="4465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498402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2023099111"/>
              </p:ext>
            </p:extLst>
          </p:nvPr>
        </p:nvGraphicFramePr>
        <p:xfrm>
          <a:off x="109331" y="1080250"/>
          <a:ext cx="11759869" cy="5779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p:cNvSpPr>
            <a:spLocks noGrp="1"/>
          </p:cNvSpPr>
          <p:nvPr>
            <p:ph type="title"/>
          </p:nvPr>
        </p:nvSpPr>
        <p:spPr/>
        <p:txBody>
          <a:bodyPr/>
          <a:lstStyle/>
          <a:p>
            <a:r>
              <a:rPr lang="en-US" dirty="0"/>
              <a:t>History of money</a:t>
            </a:r>
          </a:p>
        </p:txBody>
      </p:sp>
      <p:sp>
        <p:nvSpPr>
          <p:cNvPr id="2" name="Text Placeholder 1"/>
          <p:cNvSpPr>
            <a:spLocks noGrp="1"/>
          </p:cNvSpPr>
          <p:nvPr>
            <p:ph type="body" sz="quarter" idx="10"/>
          </p:nvPr>
        </p:nvSpPr>
        <p:spPr/>
        <p:txBody>
          <a:bodyPr/>
          <a:lstStyle/>
          <a:p>
            <a:r>
              <a:rPr lang="en-US" dirty="0"/>
              <a:t>The nature of money has transformed many times. Crypto is the next innovation.</a:t>
            </a:r>
          </a:p>
        </p:txBody>
      </p:sp>
      <p:pic>
        <p:nvPicPr>
          <p:cNvPr id="1026" name="Picture 2" descr="Image result for barte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406704" y="3242317"/>
            <a:ext cx="1380458" cy="87541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cowrie shells"/>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897315" y="3154133"/>
            <a:ext cx="1099161" cy="9635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greek coin"/>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313860" y="3305908"/>
            <a:ext cx="1623644" cy="81182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nedolar2009series.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466812" y="3154133"/>
            <a:ext cx="1599666" cy="69459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gold"/>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595510" y="5419724"/>
            <a:ext cx="1436678" cy="854025"/>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credit card"/>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514838" y="5419724"/>
            <a:ext cx="1422666" cy="888198"/>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Image result for paypal"/>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936484" y="5419724"/>
            <a:ext cx="920348" cy="92034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bitcoin gold"/>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327176" y="5491541"/>
            <a:ext cx="1459986" cy="7767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42123165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bitcoin logo"/>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33492" y="206290"/>
            <a:ext cx="4629142" cy="462914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thai baht"/>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8403771" y="3386118"/>
            <a:ext cx="3135408" cy="228057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3491" y="4624606"/>
            <a:ext cx="4629141" cy="1152319"/>
          </a:xfrm>
          <a:prstGeom prst="rect">
            <a:avLst/>
          </a:prstGeom>
        </p:spPr>
      </p:pic>
      <p:pic>
        <p:nvPicPr>
          <p:cNvPr id="1028" name="Picture 4" descr="Image result for thai baht logo"/>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403771" y="249746"/>
            <a:ext cx="3135408" cy="313541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6466786" y="1367520"/>
            <a:ext cx="1795807" cy="212365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3800" kern="0" dirty="0">
                <a:solidFill>
                  <a:srgbClr val="FF0000"/>
                </a:solidFill>
                <a:ea typeface="Arial Unicode MS" pitchFamily="34" charset="-128"/>
                <a:cs typeface="Arial Unicode MS" pitchFamily="34" charset="-128"/>
              </a:rPr>
              <a:t>≠</a:t>
            </a:r>
          </a:p>
        </p:txBody>
      </p:sp>
    </p:spTree>
    <p:extLst>
      <p:ext uri="{BB962C8B-B14F-4D97-AF65-F5344CB8AC3E}">
        <p14:creationId xmlns:p14="http://schemas.microsoft.com/office/powerpoint/2010/main" val="890106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ee major functions of money</a:t>
            </a:r>
          </a:p>
        </p:txBody>
      </p:sp>
      <p:sp>
        <p:nvSpPr>
          <p:cNvPr id="3" name="Text Placeholder 2"/>
          <p:cNvSpPr>
            <a:spLocks noGrp="1"/>
          </p:cNvSpPr>
          <p:nvPr>
            <p:ph type="body" sz="quarter" idx="10"/>
          </p:nvPr>
        </p:nvSpPr>
        <p:spPr/>
        <p:txBody>
          <a:bodyPr/>
          <a:lstStyle/>
          <a:p>
            <a:r>
              <a:rPr lang="en-US" dirty="0"/>
              <a:t>Any implement that satisfies these three functions can be used as money</a:t>
            </a:r>
          </a:p>
          <a:p>
            <a:pPr marL="457200" indent="-457200">
              <a:buFont typeface="Wingdings" panose="05000000000000000000" pitchFamily="2" charset="2"/>
              <a:buChar char="ü"/>
            </a:pPr>
            <a:r>
              <a:rPr lang="en-US" dirty="0"/>
              <a:t>Store of Value</a:t>
            </a:r>
          </a:p>
          <a:p>
            <a:pPr marL="457200" indent="-457200">
              <a:buFont typeface="Wingdings" panose="05000000000000000000" pitchFamily="2" charset="2"/>
              <a:buChar char="ü"/>
            </a:pPr>
            <a:r>
              <a:rPr lang="en-US" dirty="0"/>
              <a:t>Medium of Exchange</a:t>
            </a:r>
          </a:p>
          <a:p>
            <a:pPr marL="457200" indent="-457200">
              <a:buFont typeface="Wingdings" panose="05000000000000000000" pitchFamily="2" charset="2"/>
              <a:buChar char="ü"/>
            </a:pPr>
            <a:r>
              <a:rPr lang="en-US" dirty="0"/>
              <a:t>Unit of account</a:t>
            </a:r>
          </a:p>
          <a:p>
            <a:r>
              <a:rPr lang="en-US" dirty="0"/>
              <a:t>What about </a:t>
            </a:r>
            <a:r>
              <a:rPr lang="en-US" dirty="0" err="1"/>
              <a:t>fungibility</a:t>
            </a:r>
            <a:r>
              <a:rPr lang="en-US" dirty="0"/>
              <a:t>?</a:t>
            </a:r>
          </a:p>
        </p:txBody>
      </p:sp>
      <p:sp>
        <p:nvSpPr>
          <p:cNvPr id="4" name="Text Placeholder 3"/>
          <p:cNvSpPr>
            <a:spLocks noGrp="1"/>
          </p:cNvSpPr>
          <p:nvPr>
            <p:ph type="body" sz="quarter" idx="11"/>
          </p:nvPr>
        </p:nvSpPr>
        <p:spPr/>
        <p:txBody>
          <a:bodyPr/>
          <a:lstStyle/>
          <a:p>
            <a:r>
              <a:rPr lang="en-US" dirty="0"/>
              <a:t>Bitcoin satisfies all three functions. So it qualifies to be used as money.</a:t>
            </a:r>
          </a:p>
        </p:txBody>
      </p:sp>
    </p:spTree>
    <p:extLst>
      <p:ext uri="{BB962C8B-B14F-4D97-AF65-F5344CB8AC3E}">
        <p14:creationId xmlns:p14="http://schemas.microsoft.com/office/powerpoint/2010/main" val="34233184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urces of Money</a:t>
            </a:r>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a:t>(Scarce) Things found in nature</a:t>
            </a:r>
          </a:p>
          <a:p>
            <a:pPr marL="342900" indent="-342900">
              <a:buFont typeface="Arial" panose="020B0604020202020204" pitchFamily="34" charset="0"/>
              <a:buChar char="•"/>
            </a:pPr>
            <a:r>
              <a:rPr lang="en-US" dirty="0">
                <a:solidFill>
                  <a:srgbClr val="FF0000"/>
                </a:solidFill>
              </a:rPr>
              <a:t>Or</a:t>
            </a:r>
            <a:r>
              <a:rPr lang="en-US" dirty="0"/>
              <a:t> – issued by rulers, kings and emperors, through a royal treasury</a:t>
            </a:r>
          </a:p>
          <a:p>
            <a:pPr marL="342900" indent="-342900">
              <a:buFont typeface="Arial" panose="020B0604020202020204" pitchFamily="34" charset="0"/>
              <a:buChar char="•"/>
            </a:pPr>
            <a:r>
              <a:rPr lang="en-US" dirty="0">
                <a:solidFill>
                  <a:srgbClr val="FF0000"/>
                </a:solidFill>
              </a:rPr>
              <a:t>Or-</a:t>
            </a:r>
            <a:r>
              <a:rPr lang="en-US" dirty="0"/>
              <a:t> </a:t>
            </a:r>
            <a:r>
              <a:rPr lang="en-US" dirty="0" err="1"/>
              <a:t>sactioed</a:t>
            </a:r>
            <a:r>
              <a:rPr lang="en-US" dirty="0"/>
              <a:t> by sovereign nations through a treasury/mint and a central reserve bank. This bank issues cash as well as authorizes banks to issue money as </a:t>
            </a:r>
            <a:r>
              <a:rPr lang="en-US" i="1" dirty="0">
                <a:solidFill>
                  <a:srgbClr val="FF0000"/>
                </a:solidFill>
              </a:rPr>
              <a:t>I Owe You </a:t>
            </a:r>
            <a:r>
              <a:rPr lang="en-US" dirty="0"/>
              <a:t>(more on this later)</a:t>
            </a:r>
          </a:p>
          <a:p>
            <a:pPr marL="342900" indent="-342900">
              <a:buFont typeface="Arial" panose="020B0604020202020204" pitchFamily="34" charset="0"/>
              <a:buChar char="•"/>
            </a:pPr>
            <a:r>
              <a:rPr lang="en-US" dirty="0">
                <a:solidFill>
                  <a:srgbClr val="FF0000"/>
                </a:solidFill>
              </a:rPr>
              <a:t>Or</a:t>
            </a:r>
            <a:r>
              <a:rPr lang="en-US" dirty="0"/>
              <a:t> - Banks</a:t>
            </a:r>
          </a:p>
          <a:p>
            <a:pPr marL="342900" indent="-342900">
              <a:buFont typeface="Arial" panose="020B0604020202020204" pitchFamily="34" charset="0"/>
              <a:buChar char="•"/>
            </a:pPr>
            <a:r>
              <a:rPr lang="en-US" dirty="0">
                <a:solidFill>
                  <a:srgbClr val="FF0000"/>
                </a:solidFill>
              </a:rPr>
              <a:t>And</a:t>
            </a:r>
            <a:r>
              <a:rPr lang="en-US" dirty="0"/>
              <a:t> now a cryptocurrency, issued, transmitted, stored and secured by software!</a:t>
            </a:r>
          </a:p>
          <a:p>
            <a:endParaRPr lang="en-US" dirty="0"/>
          </a:p>
        </p:txBody>
      </p:sp>
    </p:spTree>
    <p:extLst>
      <p:ext uri="{BB962C8B-B14F-4D97-AF65-F5344CB8AC3E}">
        <p14:creationId xmlns:p14="http://schemas.microsoft.com/office/powerpoint/2010/main" val="38540809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Bitcoin?</a:t>
            </a:r>
          </a:p>
        </p:txBody>
      </p:sp>
      <p:sp>
        <p:nvSpPr>
          <p:cNvPr id="5" name="Text Placeholder 4"/>
          <p:cNvSpPr>
            <a:spLocks noGrp="1"/>
          </p:cNvSpPr>
          <p:nvPr>
            <p:ph type="body" sz="quarter" idx="10"/>
          </p:nvPr>
        </p:nvSpPr>
        <p:spPr/>
        <p:txBody>
          <a:bodyPr>
            <a:noAutofit/>
          </a:bodyPr>
          <a:lstStyle/>
          <a:p>
            <a:r>
              <a:rPr lang="en-US" sz="1600" dirty="0"/>
              <a:t>The online post announcing the white paper that became bitcoin </a:t>
            </a:r>
            <a:r>
              <a:rPr lang="en-US" sz="1600" dirty="0">
                <a:hlinkClick r:id="rId2"/>
              </a:rPr>
              <a:t>http://www.mail-archive.com/cryptography@metzdowd.com/msg09959.html</a:t>
            </a:r>
            <a:endParaRPr lang="en-US" sz="1600" dirty="0"/>
          </a:p>
          <a:p>
            <a:r>
              <a:rPr lang="en-US" sz="1600" dirty="0"/>
              <a:t>Created in Jan 2009 with the first bitcoin being issued (created, mined)</a:t>
            </a:r>
            <a:endParaRPr lang="en-US" sz="1600" i="1" dirty="0">
              <a:solidFill>
                <a:srgbClr val="FF0000"/>
              </a:solidFill>
            </a:endParaRPr>
          </a:p>
          <a:p>
            <a:r>
              <a:rPr lang="en-US" sz="1600" dirty="0"/>
              <a:t>It is described as a </a:t>
            </a:r>
            <a:r>
              <a:rPr lang="en-US" sz="1600" dirty="0">
                <a:solidFill>
                  <a:srgbClr val="FF0000"/>
                </a:solidFill>
              </a:rPr>
              <a:t>cryptocurrency</a:t>
            </a:r>
            <a:r>
              <a:rPr lang="en-US" sz="1600" dirty="0"/>
              <a:t>. </a:t>
            </a:r>
            <a:r>
              <a:rPr lang="en-US" sz="1600" i="1" dirty="0">
                <a:solidFill>
                  <a:srgbClr val="FFFF00"/>
                </a:solidFill>
              </a:rPr>
              <a:t>Crypto</a:t>
            </a:r>
            <a:r>
              <a:rPr lang="en-US" sz="1600" dirty="0"/>
              <a:t> – secured by advanced cryptography (in the absence of a central trusted authority). </a:t>
            </a:r>
            <a:r>
              <a:rPr lang="en-US" sz="1600" i="1" dirty="0">
                <a:solidFill>
                  <a:srgbClr val="FFFF00"/>
                </a:solidFill>
              </a:rPr>
              <a:t>Currency</a:t>
            </a:r>
            <a:r>
              <a:rPr lang="en-US" sz="1600" dirty="0"/>
              <a:t> – a medium of exchange, a system of money.</a:t>
            </a:r>
          </a:p>
          <a:p>
            <a:r>
              <a:rPr lang="en-US" sz="1600" dirty="0"/>
              <a:t>Created by </a:t>
            </a:r>
            <a:r>
              <a:rPr lang="en-US" sz="1600" dirty="0">
                <a:solidFill>
                  <a:srgbClr val="FF0000"/>
                </a:solidFill>
              </a:rPr>
              <a:t>Satoshi </a:t>
            </a:r>
            <a:r>
              <a:rPr lang="en-US" sz="1600" dirty="0" err="1">
                <a:solidFill>
                  <a:srgbClr val="FF0000"/>
                </a:solidFill>
              </a:rPr>
              <a:t>Nakamoto</a:t>
            </a:r>
            <a:r>
              <a:rPr lang="en-US" sz="1600" dirty="0">
                <a:solidFill>
                  <a:srgbClr val="FF0000"/>
                </a:solidFill>
              </a:rPr>
              <a:t>, </a:t>
            </a:r>
            <a:r>
              <a:rPr lang="en-US" sz="1600" dirty="0"/>
              <a:t>most likely a pseudonym for a person or persons.</a:t>
            </a:r>
          </a:p>
          <a:p>
            <a:r>
              <a:rPr lang="en-US" sz="1600" dirty="0"/>
              <a:t>Transact by sending and receiving bitcoins using a </a:t>
            </a:r>
            <a:r>
              <a:rPr lang="en-US" sz="1600" dirty="0">
                <a:solidFill>
                  <a:srgbClr val="FFFF00"/>
                </a:solidFill>
              </a:rPr>
              <a:t>public address </a:t>
            </a:r>
            <a:r>
              <a:rPr lang="en-US" sz="1600" dirty="0"/>
              <a:t>(like an email address)</a:t>
            </a:r>
          </a:p>
        </p:txBody>
      </p:sp>
      <p:sp>
        <p:nvSpPr>
          <p:cNvPr id="2" name="Text Placeholder 1"/>
          <p:cNvSpPr>
            <a:spLocks noGrp="1"/>
          </p:cNvSpPr>
          <p:nvPr>
            <p:ph type="body" sz="quarter" idx="11"/>
          </p:nvPr>
        </p:nvSpPr>
        <p:spPr/>
        <p:txBody>
          <a:bodyPr/>
          <a:lstStyle/>
          <a:p>
            <a:r>
              <a:rPr lang="en-US" sz="1800" dirty="0">
                <a:solidFill>
                  <a:srgbClr val="FFFF00"/>
                </a:solidFill>
              </a:rPr>
              <a:t>Private key </a:t>
            </a:r>
            <a:r>
              <a:rPr lang="en-US" sz="1800" dirty="0"/>
              <a:t>is used to unlock and sign bitcoin transactions.</a:t>
            </a:r>
          </a:p>
          <a:p>
            <a:r>
              <a:rPr lang="en-US" sz="1800" dirty="0"/>
              <a:t>Owner of the private key is the owner of the bitcoin. </a:t>
            </a:r>
            <a:r>
              <a:rPr lang="en-US" sz="1800" dirty="0">
                <a:solidFill>
                  <a:srgbClr val="FF0000"/>
                </a:solidFill>
              </a:rPr>
              <a:t>Possession (of private key) is ownership.</a:t>
            </a:r>
          </a:p>
          <a:p>
            <a:r>
              <a:rPr lang="en-US" sz="1800" dirty="0"/>
              <a:t>No concept of </a:t>
            </a:r>
            <a:r>
              <a:rPr lang="en-US" sz="1800" i="1" dirty="0"/>
              <a:t>accounts</a:t>
            </a:r>
            <a:r>
              <a:rPr lang="en-US" sz="1800" dirty="0"/>
              <a:t>. Only transactions.</a:t>
            </a:r>
          </a:p>
          <a:p>
            <a:r>
              <a:rPr lang="en-US" sz="1800" dirty="0"/>
              <a:t>It exists completely </a:t>
            </a:r>
            <a:r>
              <a:rPr lang="en-US" sz="1800" i="1" dirty="0"/>
              <a:t>digitally</a:t>
            </a:r>
            <a:r>
              <a:rPr lang="en-US" sz="1800" dirty="0"/>
              <a:t>. No </a:t>
            </a:r>
            <a:r>
              <a:rPr lang="en-US" sz="1800" i="1" dirty="0"/>
              <a:t>physical</a:t>
            </a:r>
            <a:r>
              <a:rPr lang="en-US" sz="1800" dirty="0"/>
              <a:t> manifestation of bitcoin.</a:t>
            </a:r>
          </a:p>
        </p:txBody>
      </p:sp>
    </p:spTree>
    <p:extLst>
      <p:ext uri="{BB962C8B-B14F-4D97-AF65-F5344CB8AC3E}">
        <p14:creationId xmlns:p14="http://schemas.microsoft.com/office/powerpoint/2010/main" val="41058723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is Satoshi </a:t>
            </a:r>
            <a:r>
              <a:rPr lang="en-US" dirty="0" err="1"/>
              <a:t>Nakamoto</a:t>
            </a:r>
            <a:r>
              <a:rPr lang="en-US" dirty="0"/>
              <a:t>?</a:t>
            </a:r>
          </a:p>
        </p:txBody>
      </p:sp>
      <p:sp>
        <p:nvSpPr>
          <p:cNvPr id="3" name="Text Placeholder 2"/>
          <p:cNvSpPr>
            <a:spLocks noGrp="1"/>
          </p:cNvSpPr>
          <p:nvPr>
            <p:ph type="body" sz="quarter" idx="10"/>
          </p:nvPr>
        </p:nvSpPr>
        <p:spPr/>
        <p:txBody>
          <a:bodyPr>
            <a:normAutofit fontScale="92500" lnSpcReduction="20000"/>
          </a:bodyPr>
          <a:lstStyle/>
          <a:p>
            <a:r>
              <a:rPr lang="en-US" dirty="0" err="1"/>
              <a:t>Nakamoto</a:t>
            </a:r>
            <a:r>
              <a:rPr lang="en-US" dirty="0"/>
              <a:t> starts work on bitcoin in </a:t>
            </a:r>
            <a:r>
              <a:rPr lang="en-US" dirty="0">
                <a:solidFill>
                  <a:srgbClr val="FF0000"/>
                </a:solidFill>
              </a:rPr>
              <a:t>2007</a:t>
            </a:r>
            <a:r>
              <a:rPr lang="en-US" dirty="0"/>
              <a:t>.</a:t>
            </a:r>
          </a:p>
          <a:p>
            <a:r>
              <a:rPr lang="en-US" dirty="0"/>
              <a:t>Clues that he wrote the software first. Then wrote the white paper.</a:t>
            </a:r>
          </a:p>
          <a:p>
            <a:r>
              <a:rPr lang="en-US" dirty="0"/>
              <a:t>Announces white paper on Oct 31</a:t>
            </a:r>
            <a:r>
              <a:rPr lang="en-US" baseline="30000" dirty="0"/>
              <a:t>st</a:t>
            </a:r>
            <a:r>
              <a:rPr lang="en-US" dirty="0"/>
              <a:t>,  </a:t>
            </a:r>
            <a:r>
              <a:rPr lang="en-US" dirty="0">
                <a:solidFill>
                  <a:srgbClr val="FF0000"/>
                </a:solidFill>
              </a:rPr>
              <a:t>2008</a:t>
            </a:r>
          </a:p>
          <a:p>
            <a:r>
              <a:rPr lang="en-US" dirty="0"/>
              <a:t>Mines the first coins on Jan 3</a:t>
            </a:r>
            <a:r>
              <a:rPr lang="en-US" baseline="30000" dirty="0"/>
              <a:t>rd</a:t>
            </a:r>
            <a:r>
              <a:rPr lang="en-US" dirty="0"/>
              <a:t>, </a:t>
            </a:r>
            <a:r>
              <a:rPr lang="en-US" dirty="0">
                <a:solidFill>
                  <a:srgbClr val="FF0000"/>
                </a:solidFill>
              </a:rPr>
              <a:t>2009</a:t>
            </a:r>
          </a:p>
          <a:p>
            <a:r>
              <a:rPr lang="en-US" dirty="0"/>
              <a:t>Releases v0.1 on Jan 8</a:t>
            </a:r>
            <a:r>
              <a:rPr lang="en-US" baseline="30000" dirty="0"/>
              <a:t>th</a:t>
            </a:r>
            <a:r>
              <a:rPr lang="en-US" dirty="0"/>
              <a:t>, </a:t>
            </a:r>
            <a:r>
              <a:rPr lang="en-US" dirty="0">
                <a:solidFill>
                  <a:srgbClr val="FF0000"/>
                </a:solidFill>
              </a:rPr>
              <a:t>2009</a:t>
            </a:r>
          </a:p>
          <a:p>
            <a:r>
              <a:rPr lang="en-US" dirty="0"/>
              <a:t>First transaction with Hal Finney on Jan 12</a:t>
            </a:r>
            <a:r>
              <a:rPr lang="en-US" baseline="30000" dirty="0"/>
              <a:t>th</a:t>
            </a:r>
            <a:r>
              <a:rPr lang="en-US" dirty="0"/>
              <a:t>, </a:t>
            </a:r>
            <a:r>
              <a:rPr lang="en-US" dirty="0">
                <a:solidFill>
                  <a:srgbClr val="FF0000"/>
                </a:solidFill>
              </a:rPr>
              <a:t>2009</a:t>
            </a:r>
          </a:p>
          <a:p>
            <a:r>
              <a:rPr lang="en-US" dirty="0"/>
              <a:t>Posts last public message on Dec 12</a:t>
            </a:r>
            <a:r>
              <a:rPr lang="en-US" baseline="30000" dirty="0"/>
              <a:t>th</a:t>
            </a:r>
            <a:r>
              <a:rPr lang="en-US" dirty="0"/>
              <a:t>,  </a:t>
            </a:r>
            <a:r>
              <a:rPr lang="en-US" dirty="0">
                <a:solidFill>
                  <a:srgbClr val="FF0000"/>
                </a:solidFill>
              </a:rPr>
              <a:t>2010</a:t>
            </a:r>
            <a:r>
              <a:rPr lang="en-US" dirty="0"/>
              <a:t>. Hasn’t been heard from since then.</a:t>
            </a:r>
          </a:p>
        </p:txBody>
      </p:sp>
      <p:sp>
        <p:nvSpPr>
          <p:cNvPr id="4" name="Text Placeholder 3"/>
          <p:cNvSpPr>
            <a:spLocks noGrp="1"/>
          </p:cNvSpPr>
          <p:nvPr>
            <p:ph type="body" sz="quarter" idx="11"/>
          </p:nvPr>
        </p:nvSpPr>
        <p:spPr/>
        <p:txBody>
          <a:bodyPr/>
          <a:lstStyle/>
          <a:p>
            <a:r>
              <a:rPr lang="en-US" dirty="0"/>
              <a:t>People who have been suspected to be </a:t>
            </a:r>
            <a:r>
              <a:rPr lang="en-US" dirty="0" err="1"/>
              <a:t>Nakamoto</a:t>
            </a:r>
            <a:endParaRPr lang="en-US" dirty="0"/>
          </a:p>
          <a:p>
            <a:pPr marL="342900" indent="-342900">
              <a:spcBef>
                <a:spcPts val="1200"/>
              </a:spcBef>
              <a:buFont typeface="Wingdings" panose="05000000000000000000" pitchFamily="2" charset="2"/>
              <a:buChar char="§"/>
            </a:pPr>
            <a:r>
              <a:rPr lang="en-US" dirty="0"/>
              <a:t>John Nash</a:t>
            </a:r>
          </a:p>
          <a:p>
            <a:pPr marL="342900" indent="-342900">
              <a:spcBef>
                <a:spcPts val="1200"/>
              </a:spcBef>
              <a:buFont typeface="Wingdings" panose="05000000000000000000" pitchFamily="2" charset="2"/>
              <a:buChar char="§"/>
            </a:pPr>
            <a:r>
              <a:rPr lang="en-US" dirty="0"/>
              <a:t>Hal Finney</a:t>
            </a:r>
          </a:p>
          <a:p>
            <a:pPr marL="342900" indent="-342900">
              <a:spcBef>
                <a:spcPts val="1200"/>
              </a:spcBef>
              <a:buFont typeface="Wingdings" panose="05000000000000000000" pitchFamily="2" charset="2"/>
              <a:buChar char="§"/>
            </a:pPr>
            <a:r>
              <a:rPr lang="en-US" dirty="0"/>
              <a:t>Nick Szabo</a:t>
            </a:r>
          </a:p>
          <a:p>
            <a:pPr marL="342900" indent="-342900">
              <a:spcBef>
                <a:spcPts val="1200"/>
              </a:spcBef>
              <a:buFont typeface="Wingdings" panose="05000000000000000000" pitchFamily="2" charset="2"/>
              <a:buChar char="§"/>
            </a:pPr>
            <a:r>
              <a:rPr lang="en-US" dirty="0"/>
              <a:t>Wei Dai</a:t>
            </a:r>
          </a:p>
          <a:p>
            <a:pPr marL="342900" indent="-342900">
              <a:spcBef>
                <a:spcPts val="1200"/>
              </a:spcBef>
              <a:buFont typeface="Wingdings" panose="05000000000000000000" pitchFamily="2" charset="2"/>
              <a:buChar char="§"/>
            </a:pPr>
            <a:r>
              <a:rPr lang="en-US" dirty="0"/>
              <a:t>Dorian Satoshi </a:t>
            </a:r>
            <a:r>
              <a:rPr lang="en-US" dirty="0" err="1"/>
              <a:t>Nakamoto</a:t>
            </a:r>
            <a:endParaRPr lang="en-US" dirty="0"/>
          </a:p>
          <a:p>
            <a:pPr marL="342900" indent="-342900">
              <a:spcBef>
                <a:spcPts val="1200"/>
              </a:spcBef>
              <a:buFont typeface="Wingdings" panose="05000000000000000000" pitchFamily="2" charset="2"/>
              <a:buChar char="§"/>
            </a:pPr>
            <a:r>
              <a:rPr lang="en-US" dirty="0"/>
              <a:t>Craig Wright</a:t>
            </a:r>
          </a:p>
          <a:p>
            <a:pPr marL="342900" indent="-342900">
              <a:spcBef>
                <a:spcPts val="1200"/>
              </a:spcBef>
              <a:buFont typeface="Wingdings" panose="05000000000000000000" pitchFamily="2" charset="2"/>
              <a:buChar char="§"/>
            </a:pPr>
            <a:r>
              <a:rPr lang="en-US" dirty="0"/>
              <a:t>Elon Musk</a:t>
            </a:r>
          </a:p>
          <a:p>
            <a:pPr marL="342900" indent="-342900">
              <a:spcBef>
                <a:spcPts val="1200"/>
              </a:spcBef>
              <a:buFont typeface="Wingdings" panose="05000000000000000000" pitchFamily="2" charset="2"/>
              <a:buChar char="§"/>
            </a:pPr>
            <a:r>
              <a:rPr lang="en-US" dirty="0"/>
              <a:t>NSA</a:t>
            </a:r>
          </a:p>
          <a:p>
            <a:pPr marL="342900" indent="-342900">
              <a:spcBef>
                <a:spcPts val="1200"/>
              </a:spcBef>
              <a:buFont typeface="Wingdings" panose="05000000000000000000" pitchFamily="2" charset="2"/>
              <a:buChar char="§"/>
            </a:pPr>
            <a:r>
              <a:rPr lang="en-US" dirty="0"/>
              <a:t>Aliens </a:t>
            </a:r>
          </a:p>
          <a:p>
            <a:pPr marL="342900" indent="-342900">
              <a:buFont typeface="Wingdings" panose="05000000000000000000" pitchFamily="2" charset="2"/>
              <a:buChar char="§"/>
            </a:pPr>
            <a:endParaRPr lang="en-US" dirty="0"/>
          </a:p>
        </p:txBody>
      </p:sp>
      <p:pic>
        <p:nvPicPr>
          <p:cNvPr id="2050" name="Picture 2" descr="Alien, Gesture Peace, Victory, Stand, Green, Silhouette"/>
          <p:cNvPicPr>
            <a:picLocks noChangeAspect="1" noChangeArrowheads="1"/>
          </p:cNvPicPr>
          <p:nvPr/>
        </p:nvPicPr>
        <p:blipFill rotWithShape="1">
          <a:blip r:embed="rId2">
            <a:extLst>
              <a:ext uri="{28A0092B-C50C-407E-A947-70E740481C1C}">
                <a14:useLocalDpi xmlns:a14="http://schemas.microsoft.com/office/drawing/2010/main" val="0"/>
              </a:ext>
            </a:extLst>
          </a:blip>
          <a:srcRect b="53958"/>
          <a:stretch/>
        </p:blipFill>
        <p:spPr bwMode="auto">
          <a:xfrm>
            <a:off x="7693836" y="5711710"/>
            <a:ext cx="1115202" cy="985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152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uble spend problem</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r>
              <a:rPr lang="en-US" dirty="0"/>
              <a:t>Alice sends Bob a selfie.</a:t>
            </a:r>
          </a:p>
          <a:p>
            <a:r>
              <a:rPr lang="en-US" dirty="0"/>
              <a:t>Alice sends Charlie the same selfie.</a:t>
            </a:r>
          </a:p>
          <a:p>
            <a:r>
              <a:rPr lang="en-US" dirty="0"/>
              <a:t>Alice has </a:t>
            </a:r>
            <a:r>
              <a:rPr lang="en-US" i="1" dirty="0"/>
              <a:t>double spent </a:t>
            </a:r>
            <a:r>
              <a:rPr lang="en-US" dirty="0"/>
              <a:t>her selfie jpg files!</a:t>
            </a:r>
          </a:p>
          <a:p>
            <a:r>
              <a:rPr lang="en-US" dirty="0"/>
              <a:t>For a currency to succeed, there must be no double spends. </a:t>
            </a:r>
          </a:p>
          <a:p>
            <a:r>
              <a:rPr lang="en-US" i="1" dirty="0">
                <a:solidFill>
                  <a:srgbClr val="FF0000"/>
                </a:solidFill>
              </a:rPr>
              <a:t>How can a digital asset not be double spent!</a:t>
            </a:r>
          </a:p>
        </p:txBody>
      </p:sp>
      <p:sp>
        <p:nvSpPr>
          <p:cNvPr id="4" name="Text Placeholder 3"/>
          <p:cNvSpPr>
            <a:spLocks noGrp="1"/>
          </p:cNvSpPr>
          <p:nvPr>
            <p:ph type="body" sz="quarter" idx="11"/>
          </p:nvPr>
        </p:nvSpPr>
        <p:spPr/>
        <p:txBody>
          <a:bodyPr/>
          <a:lstStyle/>
          <a:p>
            <a:r>
              <a:rPr lang="en-US" dirty="0"/>
              <a:t>The most important breakthrough in </a:t>
            </a:r>
            <a:r>
              <a:rPr lang="en-US" dirty="0" err="1"/>
              <a:t>Nakamoto’s</a:t>
            </a:r>
            <a:r>
              <a:rPr lang="en-US" dirty="0"/>
              <a:t> invention is the solution to the </a:t>
            </a:r>
            <a:r>
              <a:rPr lang="en-US" dirty="0">
                <a:solidFill>
                  <a:srgbClr val="FF0000"/>
                </a:solidFill>
              </a:rPr>
              <a:t>double spend problem </a:t>
            </a:r>
            <a:r>
              <a:rPr lang="en-US" dirty="0"/>
              <a:t>without the need for a trusted intermediary (no arbiter).</a:t>
            </a:r>
          </a:p>
          <a:p>
            <a:r>
              <a:rPr lang="en-US" dirty="0"/>
              <a:t>Previous attempts at digital currencies needed a central service to validate transactions and to prevent double spends.</a:t>
            </a:r>
          </a:p>
          <a:p>
            <a:r>
              <a:rPr lang="en-US" dirty="0"/>
              <a:t>This innovation can then be extended to other non-currency assets. E.g. land titles.</a:t>
            </a:r>
          </a:p>
        </p:txBody>
      </p:sp>
      <p:pic>
        <p:nvPicPr>
          <p:cNvPr id="2054" name="Picture 6" descr="Image result for share icon"/>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905692" y="1368984"/>
            <a:ext cx="1684655" cy="168465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94678" y="2845890"/>
            <a:ext cx="827471" cy="415498"/>
          </a:xfrm>
          <a:prstGeom prst="rect">
            <a:avLst/>
          </a:prstGeom>
        </p:spPr>
        <p:txBody>
          <a:bodyPr wrap="none">
            <a:spAutoFit/>
          </a:bodyPr>
          <a:lstStyle/>
          <a:p>
            <a:r>
              <a:rPr lang="en-US" b="1" dirty="0"/>
              <a:t>Alice</a:t>
            </a:r>
          </a:p>
        </p:txBody>
      </p:sp>
      <p:sp>
        <p:nvSpPr>
          <p:cNvPr id="8" name="Rectangle 7"/>
          <p:cNvSpPr/>
          <p:nvPr/>
        </p:nvSpPr>
        <p:spPr>
          <a:xfrm>
            <a:off x="3834759" y="1368984"/>
            <a:ext cx="708848" cy="415498"/>
          </a:xfrm>
          <a:prstGeom prst="rect">
            <a:avLst/>
          </a:prstGeom>
        </p:spPr>
        <p:txBody>
          <a:bodyPr wrap="none">
            <a:spAutoFit/>
          </a:bodyPr>
          <a:lstStyle/>
          <a:p>
            <a:r>
              <a:rPr lang="en-US" b="1" dirty="0"/>
              <a:t>Bob</a:t>
            </a:r>
          </a:p>
        </p:txBody>
      </p:sp>
      <p:sp>
        <p:nvSpPr>
          <p:cNvPr id="9" name="Rectangle 8"/>
          <p:cNvSpPr/>
          <p:nvPr/>
        </p:nvSpPr>
        <p:spPr>
          <a:xfrm>
            <a:off x="3672054" y="2645581"/>
            <a:ext cx="1096775" cy="415498"/>
          </a:xfrm>
          <a:prstGeom prst="rect">
            <a:avLst/>
          </a:prstGeom>
        </p:spPr>
        <p:txBody>
          <a:bodyPr wrap="none">
            <a:spAutoFit/>
          </a:bodyPr>
          <a:lstStyle/>
          <a:p>
            <a:r>
              <a:rPr lang="en-US" b="1" dirty="0"/>
              <a:t>Charlie</a:t>
            </a:r>
          </a:p>
        </p:txBody>
      </p:sp>
      <p:pic>
        <p:nvPicPr>
          <p:cNvPr id="2056" name="Picture 8" descr="Image result for emoji self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000" y="1504199"/>
            <a:ext cx="1186699" cy="1217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96841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562370733"/>
              </p:ext>
            </p:extLst>
          </p:nvPr>
        </p:nvGraphicFramePr>
        <p:xfrm>
          <a:off x="914399" y="324074"/>
          <a:ext cx="10148887" cy="63958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7700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i.imgur.com/odtVzFt.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238250" y="177800"/>
            <a:ext cx="9753599" cy="6424255"/>
          </a:xfrm>
          <a:prstGeom prst="rect">
            <a:avLst/>
          </a:prstGeom>
          <a:extLst>
            <a:ext uri="{909E8E84-426E-40DD-AFC4-6F175D3DCCD1}">
              <a14:hiddenFill xmlns:a14="http://schemas.microsoft.com/office/drawing/2010/main">
                <a:solidFill>
                  <a:srgbClr val="FFFFFF"/>
                </a:solidFill>
              </a14:hiddenFill>
            </a:ext>
          </a:extLst>
        </p:spPr>
      </p:pic>
      <p:sp>
        <p:nvSpPr>
          <p:cNvPr id="4" name="Oval 3"/>
          <p:cNvSpPr/>
          <p:nvPr/>
        </p:nvSpPr>
        <p:spPr bwMode="gray">
          <a:xfrm>
            <a:off x="6667500" y="5100637"/>
            <a:ext cx="1238250" cy="814388"/>
          </a:xfrm>
          <a:prstGeom prst="ellipse">
            <a:avLst/>
          </a:prstGeom>
          <a:noFill/>
          <a:ln w="76200">
            <a:solidFill>
              <a:srgbClr val="00B0F0"/>
            </a:solidFill>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238343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missioned vs </a:t>
            </a:r>
            <a:r>
              <a:rPr lang="en-US" dirty="0" err="1"/>
              <a:t>Permissionless</a:t>
            </a:r>
            <a:r>
              <a:rPr lang="en-US" dirty="0"/>
              <a:t> identify</a:t>
            </a:r>
          </a:p>
        </p:txBody>
      </p:sp>
      <p:sp>
        <p:nvSpPr>
          <p:cNvPr id="3" name="Text Placeholder 2"/>
          <p:cNvSpPr>
            <a:spLocks noGrp="1"/>
          </p:cNvSpPr>
          <p:nvPr>
            <p:ph type="body" sz="quarter" idx="10"/>
          </p:nvPr>
        </p:nvSpPr>
        <p:spPr/>
        <p:txBody>
          <a:bodyPr>
            <a:normAutofit fontScale="92500" lnSpcReduction="20000"/>
          </a:bodyPr>
          <a:lstStyle/>
          <a:p>
            <a:r>
              <a:rPr lang="en-US" dirty="0">
                <a:solidFill>
                  <a:srgbClr val="FFFF00"/>
                </a:solidFill>
              </a:rPr>
              <a:t>EMAIL</a:t>
            </a:r>
          </a:p>
          <a:p>
            <a:r>
              <a:rPr lang="en-US" dirty="0">
                <a:solidFill>
                  <a:srgbClr val="FF0000"/>
                </a:solidFill>
              </a:rPr>
              <a:t>Permissioned</a:t>
            </a:r>
            <a:r>
              <a:rPr lang="en-US" dirty="0"/>
              <a:t> identity. </a:t>
            </a:r>
            <a:r>
              <a:rPr lang="en-US" dirty="0" err="1"/>
              <a:t>E.g</a:t>
            </a:r>
            <a:r>
              <a:rPr lang="en-US" dirty="0"/>
              <a:t> Gmail (centralized authority)</a:t>
            </a:r>
          </a:p>
          <a:p>
            <a:r>
              <a:rPr lang="en-US" dirty="0"/>
              <a:t>Identity consists of two parts – </a:t>
            </a:r>
            <a:r>
              <a:rPr lang="en-US" dirty="0">
                <a:solidFill>
                  <a:srgbClr val="FF0000"/>
                </a:solidFill>
              </a:rPr>
              <a:t>public</a:t>
            </a:r>
            <a:r>
              <a:rPr lang="en-US" dirty="0"/>
              <a:t> address (</a:t>
            </a:r>
            <a:r>
              <a:rPr lang="en-US" dirty="0" err="1"/>
              <a:t>gmail</a:t>
            </a:r>
            <a:r>
              <a:rPr lang="en-US" dirty="0"/>
              <a:t> address) and a </a:t>
            </a:r>
            <a:r>
              <a:rPr lang="en-US" dirty="0">
                <a:solidFill>
                  <a:srgbClr val="FF0000"/>
                </a:solidFill>
              </a:rPr>
              <a:t>password</a:t>
            </a:r>
            <a:r>
              <a:rPr lang="en-US" dirty="0"/>
              <a:t> (chosen by the user)</a:t>
            </a:r>
          </a:p>
          <a:p>
            <a:r>
              <a:rPr lang="en-US" dirty="0"/>
              <a:t>User chooses a public email. Google checks to see </a:t>
            </a:r>
            <a:r>
              <a:rPr lang="en-US" dirty="0">
                <a:solidFill>
                  <a:srgbClr val="FF0000"/>
                </a:solidFill>
              </a:rPr>
              <a:t>uniqueness</a:t>
            </a:r>
            <a:r>
              <a:rPr lang="en-US" dirty="0"/>
              <a:t> and issues the email to you</a:t>
            </a:r>
          </a:p>
          <a:p>
            <a:r>
              <a:rPr lang="en-US" dirty="0"/>
              <a:t>You choose a </a:t>
            </a:r>
            <a:r>
              <a:rPr lang="en-US" dirty="0">
                <a:solidFill>
                  <a:srgbClr val="FF0000"/>
                </a:solidFill>
              </a:rPr>
              <a:t>password</a:t>
            </a:r>
          </a:p>
          <a:p>
            <a:r>
              <a:rPr lang="en-US" dirty="0"/>
              <a:t>In the event of password loss, user can </a:t>
            </a:r>
            <a:r>
              <a:rPr lang="en-US" dirty="0">
                <a:solidFill>
                  <a:srgbClr val="FF0000"/>
                </a:solidFill>
              </a:rPr>
              <a:t>reset</a:t>
            </a:r>
            <a:r>
              <a:rPr lang="en-US" dirty="0"/>
              <a:t> the password at Google (using other secondary authentication)</a:t>
            </a:r>
          </a:p>
        </p:txBody>
      </p:sp>
      <p:sp>
        <p:nvSpPr>
          <p:cNvPr id="4" name="Text Placeholder 3"/>
          <p:cNvSpPr>
            <a:spLocks noGrp="1"/>
          </p:cNvSpPr>
          <p:nvPr>
            <p:ph type="body" sz="quarter" idx="11"/>
          </p:nvPr>
        </p:nvSpPr>
        <p:spPr/>
        <p:txBody>
          <a:bodyPr>
            <a:noAutofit/>
          </a:bodyPr>
          <a:lstStyle/>
          <a:p>
            <a:r>
              <a:rPr lang="en-US" sz="1800" dirty="0">
                <a:solidFill>
                  <a:srgbClr val="FFFF00"/>
                </a:solidFill>
              </a:rPr>
              <a:t>BITCOIN</a:t>
            </a:r>
            <a:endParaRPr lang="en-US" dirty="0">
              <a:solidFill>
                <a:srgbClr val="FFFF00"/>
              </a:solidFill>
            </a:endParaRPr>
          </a:p>
          <a:p>
            <a:r>
              <a:rPr lang="en-US" sz="1600" dirty="0"/>
              <a:t>We use </a:t>
            </a:r>
            <a:r>
              <a:rPr lang="en-US" sz="1600" dirty="0">
                <a:solidFill>
                  <a:srgbClr val="FF0000"/>
                </a:solidFill>
              </a:rPr>
              <a:t>cryptography</a:t>
            </a:r>
            <a:r>
              <a:rPr lang="en-US" sz="1600" dirty="0"/>
              <a:t> to generate a digital identity in a decentralized network (there is no central authority such as google)</a:t>
            </a:r>
          </a:p>
          <a:p>
            <a:r>
              <a:rPr lang="en-US" sz="1600" dirty="0"/>
              <a:t>User starts by choosing any </a:t>
            </a:r>
            <a:r>
              <a:rPr lang="en-US" sz="1600" dirty="0">
                <a:solidFill>
                  <a:srgbClr val="FF0000"/>
                </a:solidFill>
              </a:rPr>
              <a:t>private</a:t>
            </a:r>
            <a:r>
              <a:rPr lang="en-US" sz="1600" dirty="0"/>
              <a:t> key</a:t>
            </a:r>
          </a:p>
          <a:p>
            <a:r>
              <a:rPr lang="en-US" sz="1600" dirty="0"/>
              <a:t>Then uses cryptography to generate from the private key a </a:t>
            </a:r>
            <a:r>
              <a:rPr lang="en-US" sz="1600" dirty="0">
                <a:solidFill>
                  <a:srgbClr val="FF0000"/>
                </a:solidFill>
              </a:rPr>
              <a:t>public</a:t>
            </a:r>
            <a:r>
              <a:rPr lang="en-US" sz="1600" dirty="0"/>
              <a:t> </a:t>
            </a:r>
            <a:r>
              <a:rPr lang="en-US" sz="1600" dirty="0">
                <a:solidFill>
                  <a:srgbClr val="FF0000"/>
                </a:solidFill>
              </a:rPr>
              <a:t>key</a:t>
            </a:r>
            <a:r>
              <a:rPr lang="en-US" sz="1600" dirty="0"/>
              <a:t>. </a:t>
            </a:r>
          </a:p>
          <a:p>
            <a:r>
              <a:rPr lang="en-US" sz="1600" dirty="0"/>
              <a:t>The public key is then converted to a </a:t>
            </a:r>
            <a:r>
              <a:rPr lang="en-US" sz="1600" dirty="0">
                <a:solidFill>
                  <a:srgbClr val="FF0000"/>
                </a:solidFill>
              </a:rPr>
              <a:t>public</a:t>
            </a:r>
            <a:r>
              <a:rPr lang="en-US" sz="1600" dirty="0"/>
              <a:t> </a:t>
            </a:r>
            <a:r>
              <a:rPr lang="en-US" sz="1600" dirty="0">
                <a:solidFill>
                  <a:srgbClr val="FF0000"/>
                </a:solidFill>
              </a:rPr>
              <a:t>address</a:t>
            </a:r>
            <a:r>
              <a:rPr lang="en-US" sz="1600" dirty="0"/>
              <a:t>. This address is the user’s public </a:t>
            </a:r>
            <a:r>
              <a:rPr lang="en-US" sz="1600" dirty="0">
                <a:solidFill>
                  <a:srgbClr val="FF0000"/>
                </a:solidFill>
              </a:rPr>
              <a:t>identity</a:t>
            </a:r>
            <a:r>
              <a:rPr lang="en-US" sz="1600" dirty="0"/>
              <a:t> for transacting.</a:t>
            </a:r>
          </a:p>
          <a:p>
            <a:r>
              <a:rPr lang="en-US" sz="1600" dirty="0"/>
              <a:t>User uses private key to </a:t>
            </a:r>
            <a:r>
              <a:rPr lang="en-US" sz="1600" dirty="0">
                <a:solidFill>
                  <a:srgbClr val="FF0000"/>
                </a:solidFill>
              </a:rPr>
              <a:t>unlock</a:t>
            </a:r>
            <a:r>
              <a:rPr lang="en-US" sz="1600" dirty="0"/>
              <a:t> transactions. And </a:t>
            </a:r>
            <a:r>
              <a:rPr lang="en-US" sz="1600" dirty="0">
                <a:solidFill>
                  <a:srgbClr val="FF0000"/>
                </a:solidFill>
              </a:rPr>
              <a:t>sign</a:t>
            </a:r>
            <a:r>
              <a:rPr lang="en-US" sz="1600" dirty="0"/>
              <a:t> transactions.</a:t>
            </a:r>
          </a:p>
          <a:p>
            <a:r>
              <a:rPr lang="en-US" sz="1600" dirty="0"/>
              <a:t>Any </a:t>
            </a:r>
            <a:r>
              <a:rPr lang="en-US" sz="1600" dirty="0">
                <a:solidFill>
                  <a:srgbClr val="FF0000"/>
                </a:solidFill>
              </a:rPr>
              <a:t>number</a:t>
            </a:r>
            <a:r>
              <a:rPr lang="en-US" sz="1600" dirty="0"/>
              <a:t> of such identities can be assumed by a user without permission</a:t>
            </a:r>
          </a:p>
          <a:p>
            <a:endParaRPr lang="en-US" dirty="0"/>
          </a:p>
        </p:txBody>
      </p:sp>
    </p:spTree>
    <p:extLst>
      <p:ext uri="{BB962C8B-B14F-4D97-AF65-F5344CB8AC3E}">
        <p14:creationId xmlns:p14="http://schemas.microsoft.com/office/powerpoint/2010/main" val="36603226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ies of Bitcoin</a:t>
            </a:r>
          </a:p>
        </p:txBody>
      </p:sp>
      <p:graphicFrame>
        <p:nvGraphicFramePr>
          <p:cNvPr id="4" name="Diagram 3"/>
          <p:cNvGraphicFramePr/>
          <p:nvPr>
            <p:extLst>
              <p:ext uri="{D42A27DB-BD31-4B8C-83A1-F6EECF244321}">
                <p14:modId xmlns:p14="http://schemas.microsoft.com/office/powerpoint/2010/main" val="2685011159"/>
              </p:ext>
            </p:extLst>
          </p:nvPr>
        </p:nvGraphicFramePr>
        <p:xfrm>
          <a:off x="122520" y="1292351"/>
          <a:ext cx="11948159" cy="46207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77650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a:t>
            </a:r>
            <a:r>
              <a:rPr lang="en-US" strike="sngStrike" dirty="0"/>
              <a:t>sordid surprising </a:t>
            </a:r>
            <a:r>
              <a:rPr lang="en-US" dirty="0"/>
              <a:t>History of Bitcoin</a:t>
            </a:r>
          </a:p>
        </p:txBody>
      </p:sp>
      <p:sp>
        <p:nvSpPr>
          <p:cNvPr id="2" name="Text Placeholder 1"/>
          <p:cNvSpPr>
            <a:spLocks noGrp="1"/>
          </p:cNvSpPr>
          <p:nvPr>
            <p:ph type="body" sz="quarter" idx="10"/>
          </p:nvPr>
        </p:nvSpPr>
        <p:spPr>
          <a:xfrm>
            <a:off x="324000" y="1691079"/>
            <a:ext cx="11545200" cy="1137466"/>
          </a:xfrm>
        </p:spPr>
        <p:txBody>
          <a:bodyPr/>
          <a:lstStyle/>
          <a:p>
            <a:r>
              <a:rPr lang="en-US" dirty="0"/>
              <a:t>Event history - </a:t>
            </a:r>
            <a:r>
              <a:rPr lang="en-US" dirty="0">
                <a:hlinkClick r:id="rId2"/>
              </a:rPr>
              <a:t>http://historyofbitcoin.org/</a:t>
            </a:r>
            <a:endParaRPr lang="en-US" dirty="0"/>
          </a:p>
          <a:p>
            <a:r>
              <a:rPr lang="en-US" dirty="0"/>
              <a:t>Price history - </a:t>
            </a:r>
            <a:r>
              <a:rPr lang="en-US" dirty="0">
                <a:hlinkClick r:id="rId3"/>
              </a:rPr>
              <a:t>https://99bitcoins.com/price-chart-history/</a:t>
            </a:r>
            <a:r>
              <a:rPr lang="en-US" dirty="0"/>
              <a:t> </a:t>
            </a:r>
          </a:p>
        </p:txBody>
      </p:sp>
    </p:spTree>
    <p:extLst>
      <p:ext uri="{BB962C8B-B14F-4D97-AF65-F5344CB8AC3E}">
        <p14:creationId xmlns:p14="http://schemas.microsoft.com/office/powerpoint/2010/main" val="4738059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654187439"/>
              </p:ext>
            </p:extLst>
          </p:nvPr>
        </p:nvGraphicFramePr>
        <p:xfrm>
          <a:off x="0" y="-402336"/>
          <a:ext cx="12195175" cy="72619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773851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rate with Fiat</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69815" y="1435038"/>
            <a:ext cx="10053569" cy="4429431"/>
          </a:xfrm>
          <a:prstGeom prst="rect">
            <a:avLst/>
          </a:prstGeom>
        </p:spPr>
      </p:pic>
      <p:sp>
        <p:nvSpPr>
          <p:cNvPr id="4" name="Oval 3"/>
          <p:cNvSpPr/>
          <p:nvPr/>
        </p:nvSpPr>
        <p:spPr bwMode="gray">
          <a:xfrm>
            <a:off x="9644064" y="2147888"/>
            <a:ext cx="1719262" cy="2843212"/>
          </a:xfrm>
          <a:prstGeom prst="ellipse">
            <a:avLst/>
          </a:prstGeom>
          <a:noFill/>
          <a:ln w="57150">
            <a:solidFill>
              <a:srgbClr val="FF0000"/>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5" name="TextBox 4"/>
          <p:cNvSpPr txBox="1"/>
          <p:nvPr/>
        </p:nvSpPr>
        <p:spPr>
          <a:xfrm>
            <a:off x="8734425" y="250842"/>
            <a:ext cx="3057525" cy="7386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kern="0" dirty="0">
                <a:solidFill>
                  <a:srgbClr val="FFFF00"/>
                </a:solidFill>
                <a:ea typeface="Arial Unicode MS" pitchFamily="34" charset="-128"/>
                <a:cs typeface="Arial Unicode MS" pitchFamily="34" charset="-128"/>
              </a:rPr>
              <a:t>2017, aka the bubble, irrational exuberance?</a:t>
            </a:r>
          </a:p>
        </p:txBody>
      </p:sp>
    </p:spTree>
    <p:extLst>
      <p:ext uri="{BB962C8B-B14F-4D97-AF65-F5344CB8AC3E}">
        <p14:creationId xmlns:p14="http://schemas.microsoft.com/office/powerpoint/2010/main" val="40683356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ment Bubbles</a:t>
            </a:r>
          </a:p>
        </p:txBody>
      </p:sp>
      <p:sp>
        <p:nvSpPr>
          <p:cNvPr id="3" name="Text Placeholder 2"/>
          <p:cNvSpPr>
            <a:spLocks noGrp="1"/>
          </p:cNvSpPr>
          <p:nvPr>
            <p:ph type="body" sz="quarter" idx="10"/>
          </p:nvPr>
        </p:nvSpPr>
        <p:spPr/>
        <p:txBody>
          <a:bodyPr/>
          <a:lstStyle/>
          <a:p>
            <a:r>
              <a:rPr lang="en-US" dirty="0">
                <a:hlinkClick r:id="rId2"/>
              </a:rPr>
              <a:t>https://papers.ssrn.com/sol3/papers.cfm?abstract_id=3079712</a:t>
            </a:r>
            <a:r>
              <a:rPr lang="en-US" dirty="0"/>
              <a:t> – Bitcoin bubble</a:t>
            </a:r>
          </a:p>
          <a:p>
            <a:r>
              <a:rPr lang="en-US" dirty="0"/>
              <a:t>Irrational exuberance?</a:t>
            </a:r>
          </a:p>
          <a:p>
            <a:endParaRPr lang="en-US" dirty="0"/>
          </a:p>
        </p:txBody>
      </p:sp>
      <p:sp>
        <p:nvSpPr>
          <p:cNvPr id="4" name="Text Placeholder 3"/>
          <p:cNvSpPr>
            <a:spLocks noGrp="1"/>
          </p:cNvSpPr>
          <p:nvPr>
            <p:ph type="body" sz="quarter" idx="11"/>
          </p:nvPr>
        </p:nvSpPr>
        <p:spPr/>
        <p:txBody>
          <a:bodyPr/>
          <a:lstStyle/>
          <a:p>
            <a:r>
              <a:rPr lang="en-US" dirty="0"/>
              <a:t>Famous bubbles in history</a:t>
            </a:r>
          </a:p>
          <a:p>
            <a:pPr marL="342900" indent="-342900">
              <a:spcBef>
                <a:spcPts val="600"/>
              </a:spcBef>
              <a:buFont typeface="Arial" panose="020B0604020202020204" pitchFamily="34" charset="0"/>
              <a:buChar char="•"/>
            </a:pPr>
            <a:r>
              <a:rPr lang="en-US" dirty="0"/>
              <a:t>Dutch tulip mania 1634</a:t>
            </a:r>
          </a:p>
          <a:p>
            <a:pPr marL="342900" indent="-342900">
              <a:spcBef>
                <a:spcPts val="600"/>
              </a:spcBef>
              <a:buFont typeface="Arial" panose="020B0604020202020204" pitchFamily="34" charset="0"/>
              <a:buChar char="•"/>
            </a:pPr>
            <a:r>
              <a:rPr lang="en-US" dirty="0"/>
              <a:t>South Sea bubble 1716</a:t>
            </a:r>
          </a:p>
          <a:p>
            <a:pPr marL="342900" indent="-342900">
              <a:spcBef>
                <a:spcPts val="600"/>
              </a:spcBef>
              <a:buFont typeface="Arial" panose="020B0604020202020204" pitchFamily="34" charset="0"/>
              <a:buChar char="•"/>
            </a:pPr>
            <a:r>
              <a:rPr lang="en-US" dirty="0"/>
              <a:t>Mississippi bubble 1716</a:t>
            </a:r>
          </a:p>
          <a:p>
            <a:pPr marL="342900" indent="-342900">
              <a:spcBef>
                <a:spcPts val="600"/>
              </a:spcBef>
              <a:buFont typeface="Arial" panose="020B0604020202020204" pitchFamily="34" charset="0"/>
              <a:buChar char="•"/>
            </a:pPr>
            <a:r>
              <a:rPr lang="en-US" dirty="0"/>
              <a:t>Railway mania 1840</a:t>
            </a:r>
          </a:p>
          <a:p>
            <a:pPr marL="342900" indent="-342900">
              <a:spcBef>
                <a:spcPts val="600"/>
              </a:spcBef>
              <a:buFont typeface="Arial" panose="020B0604020202020204" pitchFamily="34" charset="0"/>
              <a:buChar char="•"/>
            </a:pPr>
            <a:r>
              <a:rPr lang="en-US" dirty="0"/>
              <a:t>Florida real estate 1920</a:t>
            </a:r>
          </a:p>
          <a:p>
            <a:pPr marL="342900" indent="-342900">
              <a:spcBef>
                <a:spcPts val="600"/>
              </a:spcBef>
              <a:buFont typeface="Arial" panose="020B0604020202020204" pitchFamily="34" charset="0"/>
              <a:buChar char="•"/>
            </a:pPr>
            <a:r>
              <a:rPr lang="en-US" dirty="0"/>
              <a:t>Kuwait souk al-</a:t>
            </a:r>
            <a:r>
              <a:rPr lang="en-US" dirty="0" err="1"/>
              <a:t>manakh</a:t>
            </a:r>
            <a:r>
              <a:rPr lang="en-US" dirty="0"/>
              <a:t> 1980</a:t>
            </a:r>
          </a:p>
          <a:p>
            <a:pPr marL="342900" indent="-342900">
              <a:spcBef>
                <a:spcPts val="600"/>
              </a:spcBef>
              <a:buFont typeface="Arial" panose="020B0604020202020204" pitchFamily="34" charset="0"/>
              <a:buChar char="•"/>
            </a:pPr>
            <a:r>
              <a:rPr lang="en-US" dirty="0"/>
              <a:t>Japan 1980</a:t>
            </a:r>
          </a:p>
          <a:p>
            <a:pPr marL="342900" indent="-342900">
              <a:spcBef>
                <a:spcPts val="600"/>
              </a:spcBef>
              <a:buFont typeface="Arial" panose="020B0604020202020204" pitchFamily="34" charset="0"/>
              <a:buChar char="•"/>
            </a:pPr>
            <a:r>
              <a:rPr lang="en-US" dirty="0"/>
              <a:t>Dot com 1999</a:t>
            </a:r>
          </a:p>
          <a:p>
            <a:pPr marL="342900" indent="-342900">
              <a:spcBef>
                <a:spcPts val="600"/>
              </a:spcBef>
              <a:buFont typeface="Arial" panose="020B0604020202020204" pitchFamily="34" charset="0"/>
              <a:buChar char="•"/>
            </a:pPr>
            <a:r>
              <a:rPr lang="en-US" dirty="0"/>
              <a:t>Beanie babies 1999</a:t>
            </a:r>
          </a:p>
          <a:p>
            <a:pPr marL="342900" indent="-342900">
              <a:spcBef>
                <a:spcPts val="600"/>
              </a:spcBef>
              <a:buFont typeface="Arial" panose="020B0604020202020204" pitchFamily="34" charset="0"/>
              <a:buChar char="•"/>
            </a:pPr>
            <a:r>
              <a:rPr lang="en-US" dirty="0"/>
              <a:t>Bitcoin 2017?</a:t>
            </a:r>
          </a:p>
        </p:txBody>
      </p:sp>
    </p:spTree>
    <p:extLst>
      <p:ext uri="{BB962C8B-B14F-4D97-AF65-F5344CB8AC3E}">
        <p14:creationId xmlns:p14="http://schemas.microsoft.com/office/powerpoint/2010/main" val="2279765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nzi </a:t>
            </a:r>
            <a:r>
              <a:rPr lang="en-US"/>
              <a:t>or Metcalfe or …</a:t>
            </a:r>
            <a:r>
              <a:rPr lang="en-US" dirty="0"/>
              <a:t>	</a:t>
            </a:r>
          </a:p>
        </p:txBody>
      </p:sp>
      <p:sp>
        <p:nvSpPr>
          <p:cNvPr id="3" name="Text Placeholder 2"/>
          <p:cNvSpPr>
            <a:spLocks noGrp="1"/>
          </p:cNvSpPr>
          <p:nvPr>
            <p:ph type="body" sz="quarter" idx="10"/>
          </p:nvPr>
        </p:nvSpPr>
        <p:spPr/>
        <p:txBody>
          <a:bodyPr/>
          <a:lstStyle/>
          <a:p>
            <a:r>
              <a:rPr lang="en-US" dirty="0">
                <a:solidFill>
                  <a:srgbClr val="FF0000"/>
                </a:solidFill>
              </a:rPr>
              <a:t>Ponzi</a:t>
            </a:r>
            <a:r>
              <a:rPr lang="en-US" dirty="0"/>
              <a:t> Scheme</a:t>
            </a:r>
          </a:p>
          <a:p>
            <a:r>
              <a:rPr lang="en-US" dirty="0"/>
              <a:t>A fraudulent investment operation where the operator generates returns for older investors through revenue paid by new investors, rather than from legitimate business activities or profit of financial trading.</a:t>
            </a:r>
          </a:p>
          <a:p>
            <a:endParaRPr lang="en-US" dirty="0"/>
          </a:p>
        </p:txBody>
      </p:sp>
      <mc:AlternateContent xmlns:mc="http://schemas.openxmlformats.org/markup-compatibility/2006" xmlns:a14="http://schemas.microsoft.com/office/drawing/2010/main">
        <mc:Choice Requires="a14">
          <p:sp>
            <p:nvSpPr>
              <p:cNvPr id="4" name="Text Placeholder 3"/>
              <p:cNvSpPr>
                <a:spLocks noGrp="1"/>
              </p:cNvSpPr>
              <p:nvPr>
                <p:ph type="body" sz="quarter" idx="11"/>
              </p:nvPr>
            </p:nvSpPr>
            <p:spPr/>
            <p:txBody>
              <a:bodyPr/>
              <a:lstStyle/>
              <a:p>
                <a:r>
                  <a:rPr lang="en-US" dirty="0">
                    <a:solidFill>
                      <a:srgbClr val="FF0000"/>
                    </a:solidFill>
                  </a:rPr>
                  <a:t>Metcalfe’s</a:t>
                </a:r>
                <a:r>
                  <a:rPr lang="en-US" dirty="0"/>
                  <a:t> Law</a:t>
                </a:r>
              </a:p>
              <a:p>
                <a:r>
                  <a:rPr lang="en-US" dirty="0"/>
                  <a:t>Value of a network is O(</a:t>
                </a:r>
                <a14:m>
                  <m:oMath xmlns:m="http://schemas.openxmlformats.org/officeDocument/2006/math">
                    <m:sSup>
                      <m:sSupPr>
                        <m:ctrlPr>
                          <a:rPr lang="en-US" i="1" smtClean="0">
                            <a:latin typeface="Cambria Math" panose="02040503050406030204" pitchFamily="18" charset="0"/>
                          </a:rPr>
                        </m:ctrlPr>
                      </m:sSupPr>
                      <m:e>
                        <m:r>
                          <a:rPr lang="en-US" b="1" i="1" smtClean="0">
                            <a:latin typeface="Cambria Math" panose="02040503050406030204" pitchFamily="18" charset="0"/>
                          </a:rPr>
                          <m:t>𝒏</m:t>
                        </m:r>
                      </m:e>
                      <m:sup>
                        <m:r>
                          <a:rPr lang="en-US" b="1" i="1" smtClean="0">
                            <a:latin typeface="Cambria Math" panose="02040503050406030204" pitchFamily="18" charset="0"/>
                          </a:rPr>
                          <m:t>𝟐</m:t>
                        </m:r>
                      </m:sup>
                    </m:sSup>
                  </m:oMath>
                </a14:m>
                <a:r>
                  <a:rPr lang="en-US" dirty="0"/>
                  <a:t>) where </a:t>
                </a:r>
                <a:r>
                  <a:rPr lang="en-US" i="1" dirty="0"/>
                  <a:t>n</a:t>
                </a:r>
                <a:r>
                  <a:rPr lang="en-US" dirty="0"/>
                  <a:t> is the number of devices (users)</a:t>
                </a:r>
              </a:p>
              <a:p>
                <a:r>
                  <a:rPr lang="en-US" dirty="0"/>
                  <a:t>Is bitcoin the next example of the ‘network effect’? </a:t>
                </a:r>
              </a:p>
              <a:p>
                <a:r>
                  <a:rPr lang="en-US" dirty="0"/>
                  <a:t>Is the value reflective of the number of number of users joining the network?</a:t>
                </a:r>
              </a:p>
              <a:p>
                <a:endParaRPr lang="en-US" dirty="0"/>
              </a:p>
            </p:txBody>
          </p:sp>
        </mc:Choice>
        <mc:Fallback xmlns="">
          <p:sp>
            <p:nvSpPr>
              <p:cNvPr id="4" name="Text Placeholder 3"/>
              <p:cNvSpPr>
                <a:spLocks noGrp="1" noRot="1" noChangeAspect="1" noMove="1" noResize="1" noEditPoints="1" noAdjustHandles="1" noChangeArrowheads="1" noChangeShapeType="1" noTextEdit="1"/>
              </p:cNvSpPr>
              <p:nvPr>
                <p:ph type="body" sz="quarter" idx="11"/>
              </p:nvPr>
            </p:nvSpPr>
            <p:spPr>
              <a:blipFill>
                <a:blip r:embed="rId2"/>
                <a:stretch>
                  <a:fillRect l="-2691" t="-1667" r="-3552"/>
                </a:stretch>
              </a:blipFill>
            </p:spPr>
            <p:txBody>
              <a:bodyPr/>
              <a:lstStyle/>
              <a:p>
                <a:r>
                  <a:rPr lang="en-US">
                    <a:noFill/>
                  </a:rPr>
                  <a:t> </a:t>
                </a:r>
              </a:p>
            </p:txBody>
          </p:sp>
        </mc:Fallback>
      </mc:AlternateContent>
    </p:spTree>
    <p:extLst>
      <p:ext uri="{BB962C8B-B14F-4D97-AF65-F5344CB8AC3E}">
        <p14:creationId xmlns:p14="http://schemas.microsoft.com/office/powerpoint/2010/main" val="5132883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ep dive into bitcoin</a:t>
            </a:r>
          </a:p>
        </p:txBody>
      </p:sp>
      <p:sp>
        <p:nvSpPr>
          <p:cNvPr id="3" name="Text Placeholder 2"/>
          <p:cNvSpPr>
            <a:spLocks noGrp="1"/>
          </p:cNvSpPr>
          <p:nvPr>
            <p:ph type="body" sz="quarter" idx="10"/>
          </p:nvPr>
        </p:nvSpPr>
        <p:spPr/>
        <p:txBody>
          <a:bodyPr/>
          <a:lstStyle/>
          <a:p>
            <a:r>
              <a:rPr lang="en-US" dirty="0"/>
              <a:t>Technology behind bitcoin</a:t>
            </a:r>
          </a:p>
        </p:txBody>
      </p:sp>
    </p:spTree>
    <p:extLst>
      <p:ext uri="{BB962C8B-B14F-4D97-AF65-F5344CB8AC3E}">
        <p14:creationId xmlns:p14="http://schemas.microsoft.com/office/powerpoint/2010/main" val="24339935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ing</a:t>
            </a:r>
          </a:p>
        </p:txBody>
      </p:sp>
      <p:sp>
        <p:nvSpPr>
          <p:cNvPr id="3" name="Text Placeholder 2"/>
          <p:cNvSpPr>
            <a:spLocks noGrp="1"/>
          </p:cNvSpPr>
          <p:nvPr>
            <p:ph type="body" sz="quarter" idx="10"/>
          </p:nvPr>
        </p:nvSpPr>
        <p:spPr>
          <a:xfrm>
            <a:off x="324000" y="1730835"/>
            <a:ext cx="11545200" cy="4392043"/>
          </a:xfrm>
        </p:spPr>
        <p:txBody>
          <a:bodyPr/>
          <a:lstStyle/>
          <a:p>
            <a:r>
              <a:rPr lang="en-US" dirty="0"/>
              <a:t>Hashing is the conversion of data of </a:t>
            </a:r>
            <a:r>
              <a:rPr lang="en-US" i="1" dirty="0"/>
              <a:t>any</a:t>
            </a:r>
            <a:r>
              <a:rPr lang="en-US" dirty="0"/>
              <a:t> size through a hash function into data of fixed size</a:t>
            </a:r>
          </a:p>
          <a:p>
            <a:r>
              <a:rPr lang="en-US" dirty="0"/>
              <a:t>e.g. SHA256 is one example of hash function (created by NSA). It generates a 256 bit hash of 1s and 0s. The binary hash can then be converted to other bases such as hexadecimal etc.</a:t>
            </a:r>
          </a:p>
          <a:p>
            <a:endParaRPr lang="en-US" dirty="0"/>
          </a:p>
        </p:txBody>
      </p:sp>
      <p:graphicFrame>
        <p:nvGraphicFramePr>
          <p:cNvPr id="4" name="Diagram 3"/>
          <p:cNvGraphicFramePr/>
          <p:nvPr>
            <p:extLst>
              <p:ext uri="{D42A27DB-BD31-4B8C-83A1-F6EECF244321}">
                <p14:modId xmlns:p14="http://schemas.microsoft.com/office/powerpoint/2010/main" val="3459991174"/>
              </p:ext>
            </p:extLst>
          </p:nvPr>
        </p:nvGraphicFramePr>
        <p:xfrm>
          <a:off x="324000" y="2730777"/>
          <a:ext cx="10728313" cy="4055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020500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Hashes</a:t>
            </a:r>
          </a:p>
        </p:txBody>
      </p:sp>
      <p:sp>
        <p:nvSpPr>
          <p:cNvPr id="7" name="Text Placeholder 6"/>
          <p:cNvSpPr>
            <a:spLocks noGrp="1"/>
          </p:cNvSpPr>
          <p:nvPr>
            <p:ph type="body" sz="quarter" idx="11"/>
          </p:nvPr>
        </p:nvSpPr>
        <p:spPr>
          <a:xfrm>
            <a:off x="569216" y="1716203"/>
            <a:ext cx="5662800" cy="4393017"/>
          </a:xfrm>
        </p:spPr>
        <p:txBody>
          <a:bodyPr/>
          <a:lstStyle/>
          <a:p>
            <a:endParaRPr lang="en-US" dirty="0"/>
          </a:p>
          <a:p>
            <a:r>
              <a:rPr lang="en-US" dirty="0"/>
              <a:t>How large is the set of inputs to a hash function?</a:t>
            </a:r>
          </a:p>
          <a:p>
            <a:r>
              <a:rPr lang="en-US" dirty="0"/>
              <a:t>How large is the set of outputs from a hash function?</a:t>
            </a:r>
          </a:p>
          <a:p>
            <a:r>
              <a:rPr lang="en-US" dirty="0"/>
              <a:t>Is it possible for two different input puts to have the same hash?</a:t>
            </a:r>
          </a:p>
          <a:p>
            <a:endParaRPr lang="en-US" dirty="0"/>
          </a:p>
        </p:txBody>
      </p:sp>
      <p:pic>
        <p:nvPicPr>
          <p:cNvPr id="4" name="Picture 3"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64043" y="4117172"/>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476250">
            <a:off x="9860448" y="639115"/>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98030" y="3235262"/>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64044" y="2229775"/>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4130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789903" y="91004"/>
            <a:ext cx="5006435" cy="6640627"/>
          </a:xfrm>
          <a:prstGeom prst="rect">
            <a:avLst/>
          </a:prstGeom>
        </p:spPr>
      </p:pic>
      <p:sp>
        <p:nvSpPr>
          <p:cNvPr id="5" name="Oval 4"/>
          <p:cNvSpPr/>
          <p:nvPr/>
        </p:nvSpPr>
        <p:spPr bwMode="gray">
          <a:xfrm>
            <a:off x="6667499" y="3895725"/>
            <a:ext cx="1319213" cy="2835906"/>
          </a:xfrm>
          <a:prstGeom prst="ellipse">
            <a:avLst/>
          </a:prstGeom>
          <a:noFill/>
          <a:ln w="76200">
            <a:solidFill>
              <a:srgbClr val="FF0000"/>
            </a:solidFill>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7437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9313"/>
            <a:ext cx="11545200" cy="756175"/>
          </a:xfrm>
        </p:spPr>
        <p:txBody>
          <a:bodyPr/>
          <a:lstStyle/>
          <a:p>
            <a:r>
              <a:rPr lang="en-US" dirty="0"/>
              <a:t>Let’s try some hash</a:t>
            </a:r>
          </a:p>
        </p:txBody>
      </p:sp>
      <p:sp>
        <p:nvSpPr>
          <p:cNvPr id="3" name="Text Placeholder 2"/>
          <p:cNvSpPr>
            <a:spLocks noGrp="1"/>
          </p:cNvSpPr>
          <p:nvPr>
            <p:ph type="body" sz="quarter" idx="10"/>
          </p:nvPr>
        </p:nvSpPr>
        <p:spPr/>
        <p:txBody>
          <a:bodyPr/>
          <a:lstStyle/>
          <a:p>
            <a:r>
              <a:rPr lang="en-US" dirty="0">
                <a:hlinkClick r:id="rId2"/>
              </a:rPr>
              <a:t>https://anders.com/blockchain/hash.html</a:t>
            </a:r>
            <a:endParaRPr lang="en-US" dirty="0"/>
          </a:p>
          <a:p>
            <a:pPr marL="342900" indent="-342900">
              <a:buFont typeface="Arial" panose="020B0604020202020204" pitchFamily="34" charset="0"/>
              <a:buChar char="•"/>
            </a:pPr>
            <a:r>
              <a:rPr lang="en-US" dirty="0"/>
              <a:t>Enter Data: </a:t>
            </a:r>
            <a:r>
              <a:rPr lang="en-US" i="1" dirty="0">
                <a:solidFill>
                  <a:srgbClr val="FFFF00"/>
                </a:solidFill>
              </a:rPr>
              <a:t>Alice sends Bob a token</a:t>
            </a:r>
          </a:p>
          <a:p>
            <a:r>
              <a:rPr lang="en-US" dirty="0"/>
              <a:t>What are the last three characters of the hash?</a:t>
            </a:r>
          </a:p>
          <a:p>
            <a:pPr marL="342900" indent="-342900">
              <a:buFont typeface="Arial" panose="020B0604020202020204" pitchFamily="34" charset="0"/>
              <a:buChar char="•"/>
            </a:pPr>
            <a:r>
              <a:rPr lang="en-US" dirty="0"/>
              <a:t>Go to the Block tab</a:t>
            </a:r>
          </a:p>
          <a:p>
            <a:r>
              <a:rPr lang="en-US" dirty="0"/>
              <a:t>Enter Data: </a:t>
            </a:r>
            <a:r>
              <a:rPr lang="en-US" i="1" dirty="0">
                <a:solidFill>
                  <a:srgbClr val="FFFF00"/>
                </a:solidFill>
              </a:rPr>
              <a:t>Alice sends Bob a token</a:t>
            </a:r>
          </a:p>
          <a:p>
            <a:r>
              <a:rPr lang="en-US" dirty="0"/>
              <a:t>What is the hash?</a:t>
            </a:r>
          </a:p>
          <a:p>
            <a:r>
              <a:rPr lang="en-US" dirty="0"/>
              <a:t>Why is it different than the previous hash?</a:t>
            </a:r>
          </a:p>
          <a:p>
            <a:endParaRPr lang="en-US" dirty="0"/>
          </a:p>
        </p:txBody>
      </p:sp>
      <p:pic>
        <p:nvPicPr>
          <p:cNvPr id="4" name="Picture 8"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476250">
            <a:off x="9860448" y="639115"/>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6" name="Picture 5"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30623" y="2812644"/>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968285" y="4636074"/>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Related imag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850642" y="5215633"/>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10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ies of Hash function</a:t>
            </a:r>
          </a:p>
        </p:txBody>
      </p:sp>
      <p:sp>
        <p:nvSpPr>
          <p:cNvPr id="3" name="Text Placeholder 2"/>
          <p:cNvSpPr>
            <a:spLocks noGrp="1"/>
          </p:cNvSpPr>
          <p:nvPr>
            <p:ph type="body" sz="quarter" idx="10"/>
          </p:nvPr>
        </p:nvSpPr>
        <p:spPr>
          <a:xfrm>
            <a:off x="324000" y="1691078"/>
            <a:ext cx="4754896" cy="4392043"/>
          </a:xfrm>
        </p:spPr>
        <p:txBody>
          <a:bodyPr>
            <a:normAutofit fontScale="92500"/>
          </a:bodyPr>
          <a:lstStyle/>
          <a:p>
            <a:r>
              <a:rPr lang="en-US" dirty="0">
                <a:solidFill>
                  <a:srgbClr val="FF0000"/>
                </a:solidFill>
              </a:rPr>
              <a:t>Deterministic</a:t>
            </a:r>
            <a:r>
              <a:rPr lang="en-US" dirty="0"/>
              <a:t> – same input yields same output. This can be used to verify that two documents are the same</a:t>
            </a:r>
          </a:p>
          <a:p>
            <a:r>
              <a:rPr lang="en-US" dirty="0">
                <a:solidFill>
                  <a:srgbClr val="FF0000"/>
                </a:solidFill>
              </a:rPr>
              <a:t>Non-invertible</a:t>
            </a:r>
            <a:r>
              <a:rPr lang="en-US" dirty="0"/>
              <a:t> – Given the hash, one cannot discover the input</a:t>
            </a:r>
          </a:p>
          <a:p>
            <a:r>
              <a:rPr lang="en-US" dirty="0">
                <a:solidFill>
                  <a:srgbClr val="FF0000"/>
                </a:solidFill>
              </a:rPr>
              <a:t>Uniform</a:t>
            </a:r>
            <a:r>
              <a:rPr lang="en-US" dirty="0"/>
              <a:t> – the probability of a  hash value is the same as any other. This helps in creating a puzzle that has no solving strategy except brute force.  Big data analytics cannot help here.</a:t>
            </a:r>
          </a:p>
          <a:p>
            <a:r>
              <a:rPr lang="en-US" dirty="0">
                <a:solidFill>
                  <a:srgbClr val="FF0000"/>
                </a:solidFill>
              </a:rPr>
              <a:t>Collision resistance </a:t>
            </a:r>
            <a:r>
              <a:rPr lang="en-US" dirty="0"/>
              <a:t>– it is infeasible to find two inputs that yield the same hash</a:t>
            </a:r>
          </a:p>
          <a:p>
            <a:endParaRPr lang="en-US" dirty="0"/>
          </a:p>
          <a:p>
            <a:endParaRPr lang="en-US" dirty="0"/>
          </a:p>
          <a:p>
            <a:endParaRPr lang="en-US" dirty="0"/>
          </a:p>
        </p:txBody>
      </p:sp>
      <p:graphicFrame>
        <p:nvGraphicFramePr>
          <p:cNvPr id="4" name="Diagram 3"/>
          <p:cNvGraphicFramePr/>
          <p:nvPr>
            <p:extLst>
              <p:ext uri="{D42A27DB-BD31-4B8C-83A1-F6EECF244321}">
                <p14:modId xmlns:p14="http://schemas.microsoft.com/office/powerpoint/2010/main" val="2835165676"/>
              </p:ext>
            </p:extLst>
          </p:nvPr>
        </p:nvGraphicFramePr>
        <p:xfrm>
          <a:off x="5387008" y="1331843"/>
          <a:ext cx="6728791" cy="49894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640431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 functions and hashes</a:t>
            </a:r>
          </a:p>
        </p:txBody>
      </p:sp>
      <p:sp>
        <p:nvSpPr>
          <p:cNvPr id="3" name="Content Placeholder 2"/>
          <p:cNvSpPr>
            <a:spLocks noGrp="1"/>
          </p:cNvSpPr>
          <p:nvPr>
            <p:ph type="body" sz="quarter" idx="10"/>
          </p:nvPr>
        </p:nvSpPr>
        <p:spPr/>
        <p:txBody>
          <a:bodyPr>
            <a:normAutofit fontScale="92500" lnSpcReduction="10000"/>
          </a:bodyPr>
          <a:lstStyle/>
          <a:p>
            <a:r>
              <a:rPr lang="en-US" dirty="0">
                <a:solidFill>
                  <a:srgbClr val="FF0000"/>
                </a:solidFill>
              </a:rPr>
              <a:t>Collision resistance </a:t>
            </a:r>
            <a:r>
              <a:rPr lang="en-US" dirty="0"/>
              <a:t>– it is infeasible to find two inputs that yield the same hash. </a:t>
            </a:r>
          </a:p>
          <a:p>
            <a:pPr lvl="1"/>
            <a:r>
              <a:rPr lang="en-US" dirty="0"/>
              <a:t>Explain how can we use this for transcript verification?</a:t>
            </a:r>
          </a:p>
          <a:p>
            <a:r>
              <a:rPr lang="en-US" dirty="0">
                <a:solidFill>
                  <a:srgbClr val="FF0000"/>
                </a:solidFill>
              </a:rPr>
              <a:t>Hiding</a:t>
            </a:r>
            <a:r>
              <a:rPr lang="en-US" dirty="0"/>
              <a:t> – So lets say Alice wanted to hide a message, either Yes or No to Bob.</a:t>
            </a:r>
          </a:p>
          <a:p>
            <a:pPr lvl="1"/>
            <a:r>
              <a:rPr lang="en-US" dirty="0"/>
              <a:t>Can she simply hash Yes and send it to Bob? Will Charlie be able to guess the message?</a:t>
            </a:r>
          </a:p>
          <a:p>
            <a:pPr lvl="1"/>
            <a:r>
              <a:rPr lang="en-US" dirty="0"/>
              <a:t>What Alice can do is to combine the word Yes with some text that is very well spread out (large number of uniformly distributed strings)</a:t>
            </a:r>
          </a:p>
          <a:p>
            <a:pPr lvl="1"/>
            <a:r>
              <a:rPr lang="en-US" dirty="0"/>
              <a:t>Alice can use this to make a </a:t>
            </a:r>
            <a:r>
              <a:rPr lang="en-US" i="1" dirty="0"/>
              <a:t>commitment</a:t>
            </a:r>
            <a:r>
              <a:rPr lang="en-US" dirty="0"/>
              <a:t> to Bob</a:t>
            </a:r>
          </a:p>
          <a:p>
            <a:r>
              <a:rPr lang="en-US" dirty="0">
                <a:solidFill>
                  <a:srgbClr val="FF0000"/>
                </a:solidFill>
              </a:rPr>
              <a:t>Puzzle friendly </a:t>
            </a:r>
            <a:r>
              <a:rPr lang="en-US" dirty="0"/>
              <a:t>– Alice wants to challenge Bob to find the value of A given the value of B (by Alice) such that the hash C of A combines with B has a certain structure (number of leading zeroes)</a:t>
            </a:r>
          </a:p>
          <a:p>
            <a:pPr lvl="1"/>
            <a:r>
              <a:rPr lang="en-US" dirty="0" err="1"/>
              <a:t>E.g</a:t>
            </a:r>
            <a:r>
              <a:rPr lang="en-US" dirty="0"/>
              <a:t> Alice give the word Hello to Bob and asks Bob to find value A such that A combined with Hello yields a hash C with 20 leading zeroes.</a:t>
            </a:r>
          </a:p>
          <a:p>
            <a:pPr lvl="1"/>
            <a:r>
              <a:rPr lang="en-US" dirty="0"/>
              <a:t>A is called a nonce. More on this later</a:t>
            </a:r>
          </a:p>
        </p:txBody>
      </p:sp>
    </p:spTree>
    <p:extLst>
      <p:ext uri="{BB962C8B-B14F-4D97-AF65-F5344CB8AC3E}">
        <p14:creationId xmlns:p14="http://schemas.microsoft.com/office/powerpoint/2010/main" val="1130840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es in blockchain</a:t>
            </a:r>
          </a:p>
        </p:txBody>
      </p:sp>
      <p:sp>
        <p:nvSpPr>
          <p:cNvPr id="3" name="Content Placeholder 2"/>
          <p:cNvSpPr>
            <a:spLocks noGrp="1"/>
          </p:cNvSpPr>
          <p:nvPr>
            <p:ph type="body" sz="quarter" idx="10"/>
          </p:nvPr>
        </p:nvSpPr>
        <p:spPr/>
        <p:txBody>
          <a:bodyPr>
            <a:normAutofit/>
          </a:bodyPr>
          <a:lstStyle/>
          <a:p>
            <a:r>
              <a:rPr lang="en-US" dirty="0"/>
              <a:t>Hashes are used to create a digest or fingerprint of each block in the blockchain</a:t>
            </a:r>
          </a:p>
          <a:p>
            <a:r>
              <a:rPr lang="en-US" dirty="0"/>
              <a:t>This hash is included in the next block</a:t>
            </a:r>
          </a:p>
          <a:p>
            <a:r>
              <a:rPr lang="en-US" dirty="0"/>
              <a:t>The next block’s data along with the hash of the previous is hashed again </a:t>
            </a:r>
          </a:p>
          <a:p>
            <a:r>
              <a:rPr lang="en-US" dirty="0"/>
              <a:t>That hash is then included in the next block</a:t>
            </a:r>
          </a:p>
          <a:p>
            <a:r>
              <a:rPr lang="en-US" dirty="0"/>
              <a:t>This is what a blockchain is</a:t>
            </a:r>
          </a:p>
          <a:p>
            <a:r>
              <a:rPr lang="en-US" dirty="0"/>
              <a:t>The chain of hashes serves as a digest of all transactions</a:t>
            </a:r>
          </a:p>
        </p:txBody>
      </p:sp>
      <p:sp>
        <p:nvSpPr>
          <p:cNvPr id="4" name="Content Placeholder 3"/>
          <p:cNvSpPr>
            <a:spLocks noGrp="1"/>
          </p:cNvSpPr>
          <p:nvPr>
            <p:ph type="body" sz="quarter" idx="11"/>
          </p:nvPr>
        </p:nvSpPr>
        <p:spPr/>
        <p:txBody>
          <a:bodyPr>
            <a:normAutofit/>
          </a:bodyPr>
          <a:lstStyle/>
          <a:p>
            <a:r>
              <a:rPr lang="en-US" dirty="0"/>
              <a:t>What would happen if one of the transactions was changed? </a:t>
            </a:r>
          </a:p>
          <a:p>
            <a:r>
              <a:rPr lang="en-US" dirty="0"/>
              <a:t>Any tampering of a block will change its hash which will change the hash of the next block and so on. This makes blockchain tamper evident.</a:t>
            </a:r>
          </a:p>
          <a:p>
            <a:endParaRPr lang="en-US" dirty="0"/>
          </a:p>
        </p:txBody>
      </p:sp>
    </p:spTree>
    <p:extLst>
      <p:ext uri="{BB962C8B-B14F-4D97-AF65-F5344CB8AC3E}">
        <p14:creationId xmlns:p14="http://schemas.microsoft.com/office/powerpoint/2010/main" val="17181592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lockchain</a:t>
            </a:r>
            <a:r>
              <a:rPr lang="en-US" dirty="0"/>
              <a:t> structure</a:t>
            </a:r>
          </a:p>
        </p:txBody>
      </p:sp>
      <p:sp>
        <p:nvSpPr>
          <p:cNvPr id="4" name="Rectangle 3"/>
          <p:cNvSpPr/>
          <p:nvPr/>
        </p:nvSpPr>
        <p:spPr bwMode="gray">
          <a:xfrm>
            <a:off x="216815" y="2389695"/>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5" name="Rectangle 4"/>
          <p:cNvSpPr/>
          <p:nvPr/>
        </p:nvSpPr>
        <p:spPr>
          <a:xfrm>
            <a:off x="419493" y="4627841"/>
            <a:ext cx="2068195" cy="415498"/>
          </a:xfrm>
          <a:prstGeom prst="rect">
            <a:avLst/>
          </a:prstGeom>
        </p:spPr>
        <p:txBody>
          <a:bodyPr wrap="none">
            <a:spAutoFit/>
          </a:bodyPr>
          <a:lstStyle/>
          <a:p>
            <a:pPr lvl="0"/>
            <a:r>
              <a:rPr lang="en-US" dirty="0"/>
              <a:t>Hash of Block 0</a:t>
            </a:r>
          </a:p>
        </p:txBody>
      </p:sp>
      <p:sp>
        <p:nvSpPr>
          <p:cNvPr id="6" name="Rectangle 5"/>
          <p:cNvSpPr/>
          <p:nvPr/>
        </p:nvSpPr>
        <p:spPr bwMode="gray">
          <a:xfrm>
            <a:off x="3164262" y="2389695"/>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 name="Rectangle 6"/>
          <p:cNvSpPr/>
          <p:nvPr/>
        </p:nvSpPr>
        <p:spPr bwMode="gray">
          <a:xfrm>
            <a:off x="6130564" y="2389694"/>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7"/>
          <p:cNvSpPr/>
          <p:nvPr/>
        </p:nvSpPr>
        <p:spPr bwMode="gray">
          <a:xfrm>
            <a:off x="9225846" y="2389694"/>
            <a:ext cx="2540524" cy="265364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Rectangle 8"/>
          <p:cNvSpPr/>
          <p:nvPr/>
        </p:nvSpPr>
        <p:spPr>
          <a:xfrm>
            <a:off x="3375536" y="4627841"/>
            <a:ext cx="2068195" cy="415498"/>
          </a:xfrm>
          <a:prstGeom prst="rect">
            <a:avLst/>
          </a:prstGeom>
        </p:spPr>
        <p:txBody>
          <a:bodyPr wrap="none">
            <a:spAutoFit/>
          </a:bodyPr>
          <a:lstStyle/>
          <a:p>
            <a:pPr lvl="0"/>
            <a:r>
              <a:rPr lang="en-US" dirty="0"/>
              <a:t>Hash of Block 1</a:t>
            </a:r>
          </a:p>
        </p:txBody>
      </p:sp>
      <p:sp>
        <p:nvSpPr>
          <p:cNvPr id="10" name="Rectangle 9"/>
          <p:cNvSpPr/>
          <p:nvPr/>
        </p:nvSpPr>
        <p:spPr>
          <a:xfrm>
            <a:off x="6431218" y="4627841"/>
            <a:ext cx="2068195" cy="415498"/>
          </a:xfrm>
          <a:prstGeom prst="rect">
            <a:avLst/>
          </a:prstGeom>
        </p:spPr>
        <p:txBody>
          <a:bodyPr wrap="square">
            <a:spAutoFit/>
          </a:bodyPr>
          <a:lstStyle/>
          <a:p>
            <a:pPr lvl="0"/>
            <a:r>
              <a:rPr lang="en-US" dirty="0"/>
              <a:t>Hash of Block 2</a:t>
            </a:r>
          </a:p>
        </p:txBody>
      </p:sp>
      <p:sp>
        <p:nvSpPr>
          <p:cNvPr id="11" name="Rectangle 10"/>
          <p:cNvSpPr/>
          <p:nvPr/>
        </p:nvSpPr>
        <p:spPr>
          <a:xfrm>
            <a:off x="9399017" y="4572493"/>
            <a:ext cx="2113079" cy="415498"/>
          </a:xfrm>
          <a:prstGeom prst="rect">
            <a:avLst/>
          </a:prstGeom>
        </p:spPr>
        <p:txBody>
          <a:bodyPr wrap="none">
            <a:spAutoFit/>
          </a:bodyPr>
          <a:lstStyle/>
          <a:p>
            <a:pPr lvl="0"/>
            <a:r>
              <a:rPr lang="en-US" dirty="0"/>
              <a:t>Hash of Block N</a:t>
            </a:r>
          </a:p>
        </p:txBody>
      </p:sp>
      <p:graphicFrame>
        <p:nvGraphicFramePr>
          <p:cNvPr id="3" name="Diagram 2"/>
          <p:cNvGraphicFramePr/>
          <p:nvPr>
            <p:extLst/>
          </p:nvPr>
        </p:nvGraphicFramePr>
        <p:xfrm>
          <a:off x="324001" y="1230198"/>
          <a:ext cx="11313390" cy="4909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p:cNvSpPr txBox="1"/>
          <p:nvPr/>
        </p:nvSpPr>
        <p:spPr>
          <a:xfrm>
            <a:off x="596145" y="5453086"/>
            <a:ext cx="2542363"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kern="0" dirty="0">
                <a:ea typeface="Arial Unicode MS" pitchFamily="34" charset="-128"/>
                <a:cs typeface="Arial Unicode MS" pitchFamily="34" charset="-128"/>
              </a:rPr>
              <a:t>Hash ~ Fingerprint</a:t>
            </a:r>
          </a:p>
        </p:txBody>
      </p:sp>
    </p:spTree>
    <p:extLst>
      <p:ext uri="{BB962C8B-B14F-4D97-AF65-F5344CB8AC3E}">
        <p14:creationId xmlns:p14="http://schemas.microsoft.com/office/powerpoint/2010/main" val="29438381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9312"/>
            <a:ext cx="11545200" cy="756175"/>
          </a:xfrm>
        </p:spPr>
        <p:txBody>
          <a:bodyPr/>
          <a:lstStyle/>
          <a:p>
            <a:r>
              <a:rPr lang="en-US" dirty="0"/>
              <a:t>Identity in bitcoin</a:t>
            </a:r>
          </a:p>
        </p:txBody>
      </p:sp>
      <p:sp>
        <p:nvSpPr>
          <p:cNvPr id="3" name="Text Placeholder 2"/>
          <p:cNvSpPr>
            <a:spLocks noGrp="1"/>
          </p:cNvSpPr>
          <p:nvPr>
            <p:ph type="body" sz="quarter" idx="10"/>
          </p:nvPr>
        </p:nvSpPr>
        <p:spPr>
          <a:xfrm>
            <a:off x="324000" y="1691078"/>
            <a:ext cx="9336510" cy="4392043"/>
          </a:xfrm>
        </p:spPr>
        <p:txBody>
          <a:bodyPr>
            <a:normAutofit fontScale="77500" lnSpcReduction="20000"/>
          </a:bodyPr>
          <a:lstStyle/>
          <a:p>
            <a:r>
              <a:rPr lang="en-US" dirty="0"/>
              <a:t>There is no central authority that issues identity. You can make up identity without permission or checking for prior usage. It is decentralized.</a:t>
            </a:r>
          </a:p>
          <a:p>
            <a:r>
              <a:rPr lang="en-US" dirty="0"/>
              <a:t>You generate a bitcoin address which becomes your identity.</a:t>
            </a:r>
          </a:p>
          <a:p>
            <a:r>
              <a:rPr lang="en-US" dirty="0"/>
              <a:t>You can make as many addresses as you like. New address for every transaction?</a:t>
            </a:r>
          </a:p>
          <a:p>
            <a:r>
              <a:rPr lang="en-US" dirty="0"/>
              <a:t>The bitcoin network is </a:t>
            </a:r>
            <a:r>
              <a:rPr lang="en-US" i="1" dirty="0">
                <a:solidFill>
                  <a:srgbClr val="FF0000"/>
                </a:solidFill>
              </a:rPr>
              <a:t>pseudonymous</a:t>
            </a:r>
            <a:r>
              <a:rPr lang="en-US" dirty="0"/>
              <a:t>. </a:t>
            </a:r>
          </a:p>
          <a:p>
            <a:r>
              <a:rPr lang="en-US" dirty="0"/>
              <a:t>	Your public address is not linked to your real world identity</a:t>
            </a:r>
          </a:p>
          <a:p>
            <a:r>
              <a:rPr lang="en-US" dirty="0"/>
              <a:t>	However all transactions are publicly viewable in the </a:t>
            </a:r>
            <a:r>
              <a:rPr lang="en-US" dirty="0" err="1"/>
              <a:t>blockchain</a:t>
            </a:r>
            <a:r>
              <a:rPr lang="en-US" dirty="0"/>
              <a:t> so anyone can lookup all transactions involving an address</a:t>
            </a:r>
          </a:p>
          <a:p>
            <a:r>
              <a:rPr lang="en-US" dirty="0"/>
              <a:t>	Exchanges know your real world identity! Privacy?</a:t>
            </a:r>
          </a:p>
          <a:p>
            <a:r>
              <a:rPr lang="en-US" dirty="0"/>
              <a:t>Bitcoin is pseudonymous. What are the pros and cons of this feature? Compare this to printed fiat cash.</a:t>
            </a:r>
          </a:p>
          <a:p>
            <a:endParaRPr lang="en-US" dirty="0"/>
          </a:p>
        </p:txBody>
      </p:sp>
      <p:pic>
        <p:nvPicPr>
          <p:cNvPr id="4" name="Picture 3" descr="Related imag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702873" y="5487193"/>
            <a:ext cx="491915" cy="4919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Related 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819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ting public address and private key</a:t>
            </a:r>
          </a:p>
        </p:txBody>
      </p:sp>
      <p:sp>
        <p:nvSpPr>
          <p:cNvPr id="3" name="Text Placeholder 2"/>
          <p:cNvSpPr>
            <a:spLocks noGrp="1"/>
          </p:cNvSpPr>
          <p:nvPr>
            <p:ph type="body" sz="quarter" idx="10"/>
          </p:nvPr>
        </p:nvSpPr>
        <p:spPr/>
        <p:txBody>
          <a:bodyPr/>
          <a:lstStyle/>
          <a:p>
            <a:r>
              <a:rPr lang="en-US" dirty="0"/>
              <a:t>The </a:t>
            </a:r>
            <a:r>
              <a:rPr lang="en-US" dirty="0">
                <a:solidFill>
                  <a:srgbClr val="FF0000"/>
                </a:solidFill>
              </a:rPr>
              <a:t>private key </a:t>
            </a:r>
            <a:r>
              <a:rPr lang="en-US" dirty="0"/>
              <a:t>is similar to a password.</a:t>
            </a:r>
          </a:p>
          <a:p>
            <a:r>
              <a:rPr lang="en-US" dirty="0"/>
              <a:t>The </a:t>
            </a:r>
            <a:r>
              <a:rPr lang="en-US" dirty="0">
                <a:solidFill>
                  <a:srgbClr val="FF0000"/>
                </a:solidFill>
              </a:rPr>
              <a:t>public key </a:t>
            </a:r>
            <a:r>
              <a:rPr lang="en-US" dirty="0"/>
              <a:t>is generated from the private key through a one way transformation. It uses </a:t>
            </a:r>
            <a:r>
              <a:rPr lang="en-US" dirty="0">
                <a:solidFill>
                  <a:srgbClr val="FFFF00"/>
                </a:solidFill>
              </a:rPr>
              <a:t>ECDSA – Elliptic Curve Digital Signature Algorithm </a:t>
            </a:r>
            <a:r>
              <a:rPr lang="en-US" dirty="0"/>
              <a:t>(lot of math).</a:t>
            </a:r>
          </a:p>
          <a:p>
            <a:r>
              <a:rPr lang="en-US" dirty="0"/>
              <a:t>The public key is then hashed to create a </a:t>
            </a:r>
            <a:r>
              <a:rPr lang="en-US" dirty="0">
                <a:solidFill>
                  <a:srgbClr val="FF0000"/>
                </a:solidFill>
              </a:rPr>
              <a:t>public address</a:t>
            </a:r>
            <a:r>
              <a:rPr lang="en-US" dirty="0"/>
              <a:t>.</a:t>
            </a:r>
          </a:p>
        </p:txBody>
      </p:sp>
      <p:sp>
        <p:nvSpPr>
          <p:cNvPr id="4" name="Text Placeholder 3"/>
          <p:cNvSpPr>
            <a:spLocks noGrp="1"/>
          </p:cNvSpPr>
          <p:nvPr>
            <p:ph type="body" sz="quarter" idx="11"/>
          </p:nvPr>
        </p:nvSpPr>
        <p:spPr/>
        <p:txBody>
          <a:bodyPr/>
          <a:lstStyle/>
          <a:p>
            <a:r>
              <a:rPr lang="en-US" dirty="0"/>
              <a:t>Go to bitaddress.org</a:t>
            </a:r>
          </a:p>
          <a:p>
            <a:r>
              <a:rPr lang="en-US" dirty="0"/>
              <a:t>Move your mouse to generate a public address and private key to ‘unlock’</a:t>
            </a:r>
          </a:p>
          <a:p>
            <a:r>
              <a:rPr lang="en-US" dirty="0"/>
              <a:t>You now see a pair of public address and private key</a:t>
            </a:r>
          </a:p>
          <a:p>
            <a:r>
              <a:rPr lang="en-US" dirty="0"/>
              <a:t>Click on paper wallet where you can generate a printed version of the wallet</a:t>
            </a:r>
          </a:p>
          <a:p>
            <a:r>
              <a:rPr lang="en-US" dirty="0"/>
              <a:t>Enter the public address on blockchain.info to see if that address has been used before. Was it? Why? Why not?</a:t>
            </a:r>
          </a:p>
          <a:p>
            <a:endParaRPr lang="en-US" dirty="0"/>
          </a:p>
        </p:txBody>
      </p:sp>
      <p:pic>
        <p:nvPicPr>
          <p:cNvPr id="5" name="Picture 8" descr="Related imag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rot="1476250">
            <a:off x="9860448" y="629689"/>
            <a:ext cx="1808814" cy="1354891"/>
          </a:xfrm>
          <a:prstGeom prst="rect">
            <a:avLst/>
          </a:prstGeom>
          <a:noFill/>
          <a:ln w="76200">
            <a:solidFill>
              <a:srgbClr val="FF0000"/>
            </a:solidFill>
            <a:prstDash val="sysDash"/>
          </a:ln>
          <a:extLst>
            <a:ext uri="{909E8E84-426E-40DD-AFC4-6F175D3DCCD1}">
              <a14:hiddenFill xmlns:a14="http://schemas.microsoft.com/office/drawing/2010/main">
                <a:solidFill>
                  <a:srgbClr val="FFFFFF"/>
                </a:solidFill>
              </a14:hiddenFill>
            </a:ext>
          </a:extLst>
        </p:spPr>
      </p:pic>
      <p:pic>
        <p:nvPicPr>
          <p:cNvPr id="6" name="Picture 5" descr="Related imag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793458" y="5705506"/>
            <a:ext cx="491915" cy="491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9413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s</a:t>
            </a:r>
          </a:p>
        </p:txBody>
      </p:sp>
      <p:graphicFrame>
        <p:nvGraphicFramePr>
          <p:cNvPr id="5" name="Diagram 4"/>
          <p:cNvGraphicFramePr/>
          <p:nvPr>
            <p:extLst>
              <p:ext uri="{D42A27DB-BD31-4B8C-83A1-F6EECF244321}">
                <p14:modId xmlns:p14="http://schemas.microsoft.com/office/powerpoint/2010/main" val="678982912"/>
              </p:ext>
            </p:extLst>
          </p:nvPr>
        </p:nvGraphicFramePr>
        <p:xfrm>
          <a:off x="324000" y="1533525"/>
          <a:ext cx="11591775" cy="46063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3600455" y="2900363"/>
            <a:ext cx="1128712"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ECDSA</a:t>
            </a:r>
          </a:p>
        </p:txBody>
      </p:sp>
      <p:sp>
        <p:nvSpPr>
          <p:cNvPr id="7" name="TextBox 6"/>
          <p:cNvSpPr txBox="1"/>
          <p:nvPr/>
        </p:nvSpPr>
        <p:spPr>
          <a:xfrm>
            <a:off x="7943855" y="2957513"/>
            <a:ext cx="1123950"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a:ea typeface="Arial Unicode MS" pitchFamily="34" charset="-128"/>
                <a:cs typeface="Arial Unicode MS" pitchFamily="34" charset="-128"/>
              </a:rPr>
              <a:t>HASH</a:t>
            </a:r>
          </a:p>
        </p:txBody>
      </p:sp>
    </p:spTree>
    <p:extLst>
      <p:ext uri="{BB962C8B-B14F-4D97-AF65-F5344CB8AC3E}">
        <p14:creationId xmlns:p14="http://schemas.microsoft.com/office/powerpoint/2010/main" val="520296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ansactions</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252525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tcoin Transaction</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endParaRPr lang="en-US" dirty="0"/>
          </a:p>
          <a:p>
            <a:r>
              <a:rPr lang="en-US" dirty="0"/>
              <a:t>“Alice sends Bob a token” </a:t>
            </a:r>
            <a:r>
              <a:rPr lang="en-US" i="1" dirty="0"/>
              <a:t>Translation</a:t>
            </a:r>
            <a:r>
              <a:rPr lang="en-US" dirty="0"/>
              <a:t>: A user that controls the private key of a public address sends to another public address a token that is the sum of their UTXOs</a:t>
            </a:r>
          </a:p>
          <a:p>
            <a:r>
              <a:rPr lang="en-US" dirty="0"/>
              <a:t>UTXO: Unspent transaction output</a:t>
            </a:r>
          </a:p>
          <a:p>
            <a:r>
              <a:rPr lang="en-US" dirty="0"/>
              <a:t>No concept of account which means that a user can spend the total of all UTXOs for which they have the private keys (for the public address to which the transaction was sent)</a:t>
            </a:r>
          </a:p>
        </p:txBody>
      </p:sp>
      <p:graphicFrame>
        <p:nvGraphicFramePr>
          <p:cNvPr id="4" name="Diagram 3"/>
          <p:cNvGraphicFramePr/>
          <p:nvPr>
            <p:extLst>
              <p:ext uri="{D42A27DB-BD31-4B8C-83A1-F6EECF244321}">
                <p14:modId xmlns:p14="http://schemas.microsoft.com/office/powerpoint/2010/main" val="2202989779"/>
              </p:ext>
            </p:extLst>
          </p:nvPr>
        </p:nvGraphicFramePr>
        <p:xfrm>
          <a:off x="3689785" y="1953697"/>
          <a:ext cx="2029978" cy="970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avatar,face"/>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33182" y="1269652"/>
            <a:ext cx="2072995" cy="20729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http://findicons.com/files/icons/1072/face_avatars/300/f04.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423090" y="1262824"/>
            <a:ext cx="2086649" cy="208664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a:stCxn id="5" idx="3"/>
          </p:cNvCxnSpPr>
          <p:nvPr/>
        </p:nvCxnSpPr>
        <p:spPr>
          <a:xfrm flipV="1">
            <a:off x="2506177" y="2306148"/>
            <a:ext cx="1146661" cy="2"/>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Arrow Connector 7"/>
          <p:cNvCxnSpPr/>
          <p:nvPr/>
        </p:nvCxnSpPr>
        <p:spPr>
          <a:xfrm flipV="1">
            <a:off x="5184534" y="2306148"/>
            <a:ext cx="1535354" cy="1"/>
          </a:xfrm>
          <a:prstGeom prst="straightConnector1">
            <a:avLst/>
          </a:prstGeom>
          <a:ln w="101600">
            <a:solidFill>
              <a:srgbClr val="0070C0"/>
            </a:solidFill>
            <a:tailEnd type="triangle"/>
          </a:ln>
        </p:spPr>
        <p:style>
          <a:lnRef idx="1">
            <a:schemeClr val="accent6"/>
          </a:lnRef>
          <a:fillRef idx="0">
            <a:schemeClr val="accent6"/>
          </a:fillRef>
          <a:effectRef idx="0">
            <a:schemeClr val="accent6"/>
          </a:effectRef>
          <a:fontRef idx="minor">
            <a:schemeClr val="tx1"/>
          </a:fontRef>
        </p:style>
      </p:cxnSp>
      <p:grpSp>
        <p:nvGrpSpPr>
          <p:cNvPr id="14" name="Group 13"/>
          <p:cNvGrpSpPr/>
          <p:nvPr/>
        </p:nvGrpSpPr>
        <p:grpSpPr>
          <a:xfrm>
            <a:off x="562016" y="3288220"/>
            <a:ext cx="2134900" cy="461302"/>
            <a:chOff x="312179" y="0"/>
            <a:chExt cx="1174667" cy="704800"/>
          </a:xfrm>
        </p:grpSpPr>
        <p:sp>
          <p:nvSpPr>
            <p:cNvPr id="15" name="Rectangle 14"/>
            <p:cNvSpPr/>
            <p:nvPr/>
          </p:nvSpPr>
          <p:spPr>
            <a:xfrm>
              <a:off x="312179" y="0"/>
              <a:ext cx="1174667" cy="70480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sp>
        <p:sp>
          <p:nvSpPr>
            <p:cNvPr id="16" name="TextBox 15"/>
            <p:cNvSpPr txBox="1"/>
            <p:nvPr/>
          </p:nvSpPr>
          <p:spPr>
            <a:xfrm>
              <a:off x="312179" y="0"/>
              <a:ext cx="1174667" cy="4374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marL="0" lvl="1" algn="l" defTabSz="533400">
                <a:lnSpc>
                  <a:spcPct val="90000"/>
                </a:lnSpc>
                <a:spcBef>
                  <a:spcPct val="0"/>
                </a:spcBef>
                <a:spcAft>
                  <a:spcPct val="15000"/>
                </a:spcAft>
                <a:buNone/>
              </a:pPr>
              <a:r>
                <a:rPr lang="en-US" sz="2400" kern="1200" dirty="0"/>
                <a:t>Owns</a:t>
              </a:r>
              <a:r>
                <a:rPr lang="en-US" sz="1100" kern="1200" dirty="0"/>
                <a:t> </a:t>
              </a:r>
              <a:r>
                <a:rPr lang="en-US" sz="2000" kern="1200" dirty="0"/>
                <a:t>1BTC</a:t>
              </a:r>
              <a:endParaRPr lang="en-US" sz="1100" kern="1200" dirty="0"/>
            </a:p>
          </p:txBody>
        </p:sp>
      </p:grpSp>
    </p:spTree>
    <p:extLst>
      <p:ext uri="{BB962C8B-B14F-4D97-AF65-F5344CB8AC3E}">
        <p14:creationId xmlns:p14="http://schemas.microsoft.com/office/powerpoint/2010/main" val="1083637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475288" y="124190"/>
            <a:ext cx="7425572" cy="6735398"/>
          </a:xfrm>
          <a:prstGeom prst="rect">
            <a:avLst/>
          </a:prstGeom>
        </p:spPr>
      </p:pic>
      <p:sp>
        <p:nvSpPr>
          <p:cNvPr id="5" name="Oval 4"/>
          <p:cNvSpPr/>
          <p:nvPr/>
        </p:nvSpPr>
        <p:spPr bwMode="gray">
          <a:xfrm>
            <a:off x="5395911" y="862013"/>
            <a:ext cx="1762127" cy="1443038"/>
          </a:xfrm>
          <a:prstGeom prst="ellipse">
            <a:avLst/>
          </a:prstGeom>
          <a:noFill/>
          <a:ln w="76200">
            <a:solidFill>
              <a:srgbClr val="FF0000"/>
            </a:solidFill>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807054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tcoin Transaction structure</a:t>
            </a:r>
          </a:p>
        </p:txBody>
      </p:sp>
      <p:sp>
        <p:nvSpPr>
          <p:cNvPr id="5" name="Text Placeholder 4"/>
          <p:cNvSpPr>
            <a:spLocks noGrp="1"/>
          </p:cNvSpPr>
          <p:nvPr>
            <p:ph type="body" sz="quarter" idx="10"/>
          </p:nvPr>
        </p:nvSpPr>
        <p:spPr/>
        <p:txBody>
          <a:bodyPr/>
          <a:lstStyle/>
          <a:p>
            <a:r>
              <a:rPr lang="en-US" dirty="0"/>
              <a:t>Alice wants to send Bob 0.9 BTC</a:t>
            </a:r>
          </a:p>
          <a:p>
            <a:r>
              <a:rPr lang="en-US" dirty="0"/>
              <a:t>Alice uses her private key to digitally sign the transaction</a:t>
            </a:r>
          </a:p>
          <a:p>
            <a:r>
              <a:rPr lang="en-US" dirty="0"/>
              <a:t>Alice broadcasts the transaction to the network.</a:t>
            </a:r>
          </a:p>
          <a:p>
            <a:r>
              <a:rPr lang="en-US" dirty="0"/>
              <a:t>Bob verifies that Alice was the owner and signer of the transaction by using Alice’s public address and the UTXO of the transaction which Alice claims to be controlled by her.</a:t>
            </a:r>
          </a:p>
        </p:txBody>
      </p:sp>
      <p:sp>
        <p:nvSpPr>
          <p:cNvPr id="3" name="Text Placeholder 2"/>
          <p:cNvSpPr>
            <a:spLocks noGrp="1"/>
          </p:cNvSpPr>
          <p:nvPr>
            <p:ph type="body" sz="quarter" idx="11"/>
          </p:nvPr>
        </p:nvSpPr>
        <p:spPr/>
        <p:txBody>
          <a:bodyPr/>
          <a:lstStyle/>
          <a:p>
            <a:r>
              <a:rPr lang="en-US" dirty="0"/>
              <a:t>In other words, Alice must have the private key of a the public address to which a previous transaction sent BTC and are unspent</a:t>
            </a:r>
          </a:p>
          <a:p>
            <a:r>
              <a:rPr lang="en-US" dirty="0"/>
              <a:t>The private key is needed to sign transactions and for spending UTXO </a:t>
            </a:r>
            <a:r>
              <a:rPr lang="en-US" i="1" dirty="0">
                <a:solidFill>
                  <a:srgbClr val="FF0000"/>
                </a:solidFill>
              </a:rPr>
              <a:t>(unspent transaction outputs)</a:t>
            </a:r>
          </a:p>
          <a:p>
            <a:r>
              <a:rPr lang="en-US" dirty="0"/>
              <a:t>In other words, knowing the public address and private key pair is all that is needed to ‘</a:t>
            </a:r>
            <a:r>
              <a:rPr lang="en-US" dirty="0">
                <a:solidFill>
                  <a:srgbClr val="FF0000"/>
                </a:solidFill>
              </a:rPr>
              <a:t>steal</a:t>
            </a:r>
            <a:r>
              <a:rPr lang="en-US" dirty="0"/>
              <a:t>’ bitcoin</a:t>
            </a:r>
          </a:p>
        </p:txBody>
      </p:sp>
    </p:spTree>
    <p:extLst>
      <p:ext uri="{BB962C8B-B14F-4D97-AF65-F5344CB8AC3E}">
        <p14:creationId xmlns:p14="http://schemas.microsoft.com/office/powerpoint/2010/main" val="16310670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81176" y="278696"/>
            <a:ext cx="8512172" cy="6271328"/>
          </a:xfrm>
          <a:prstGeom prst="rect">
            <a:avLst/>
          </a:prstGeom>
        </p:spPr>
      </p:pic>
    </p:spTree>
    <p:extLst>
      <p:ext uri="{BB962C8B-B14F-4D97-AF65-F5344CB8AC3E}">
        <p14:creationId xmlns:p14="http://schemas.microsoft.com/office/powerpoint/2010/main" val="31020269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toshis</a:t>
            </a:r>
            <a:endParaRPr lang="en-US" dirty="0"/>
          </a:p>
        </p:txBody>
      </p:sp>
      <p:sp>
        <p:nvSpPr>
          <p:cNvPr id="3" name="Text Placeholder 2"/>
          <p:cNvSpPr>
            <a:spLocks noGrp="1"/>
          </p:cNvSpPr>
          <p:nvPr>
            <p:ph type="body" sz="quarter" idx="10"/>
          </p:nvPr>
        </p:nvSpPr>
        <p:spPr/>
        <p:txBody>
          <a:bodyPr/>
          <a:lstStyle/>
          <a:p>
            <a:r>
              <a:rPr lang="en-US" dirty="0"/>
              <a:t>Value of a transaction is measured in </a:t>
            </a:r>
            <a:r>
              <a:rPr lang="en-US" dirty="0" err="1"/>
              <a:t>satoshis</a:t>
            </a:r>
            <a:r>
              <a:rPr lang="en-US" dirty="0"/>
              <a:t>. </a:t>
            </a:r>
          </a:p>
          <a:p>
            <a:r>
              <a:rPr lang="en-US" dirty="0"/>
              <a:t>Each transaction can have multiple inputs and multiple outputs. This means that a transaction can combine the UTXOs of several transactions and then send them to multiple other public addresses.</a:t>
            </a:r>
          </a:p>
          <a:p>
            <a:r>
              <a:rPr lang="en-US" dirty="0"/>
              <a:t>100,000,000 </a:t>
            </a:r>
            <a:r>
              <a:rPr lang="en-US" dirty="0" err="1"/>
              <a:t>satoshis</a:t>
            </a:r>
            <a:r>
              <a:rPr lang="en-US" dirty="0"/>
              <a:t> = 1 bitcoin</a:t>
            </a:r>
          </a:p>
        </p:txBody>
      </p:sp>
    </p:spTree>
    <p:extLst>
      <p:ext uri="{BB962C8B-B14F-4D97-AF65-F5344CB8AC3E}">
        <p14:creationId xmlns:p14="http://schemas.microsoft.com/office/powerpoint/2010/main" val="7008392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visibility (granularity)</a:t>
            </a:r>
          </a:p>
        </p:txBody>
      </p:sp>
      <p:sp>
        <p:nvSpPr>
          <p:cNvPr id="3" name="Text Placeholder 2"/>
          <p:cNvSpPr>
            <a:spLocks noGrp="1"/>
          </p:cNvSpPr>
          <p:nvPr>
            <p:ph type="body" sz="quarter" idx="10"/>
          </p:nvPr>
        </p:nvSpPr>
        <p:spPr/>
        <p:txBody>
          <a:bodyPr/>
          <a:lstStyle/>
          <a:p>
            <a:r>
              <a:rPr lang="en-US" dirty="0"/>
              <a:t>1 Bitcoin is (currently) divisible to eight decimal places.</a:t>
            </a:r>
          </a:p>
          <a:p>
            <a:r>
              <a:rPr lang="en-US" dirty="0"/>
              <a:t>1 bitcoin = 100,000,000 </a:t>
            </a:r>
            <a:r>
              <a:rPr lang="en-US" dirty="0" err="1">
                <a:solidFill>
                  <a:srgbClr val="FF0000"/>
                </a:solidFill>
              </a:rPr>
              <a:t>satoshis</a:t>
            </a:r>
            <a:endParaRPr lang="en-US" dirty="0">
              <a:solidFill>
                <a:srgbClr val="FF0000"/>
              </a:solidFill>
            </a:endParaRPr>
          </a:p>
          <a:p>
            <a:r>
              <a:rPr lang="en-US" dirty="0"/>
              <a:t>With over 16 million bitcoins mined so far, that is 1,600,000,000,000,000 = 1.6 quadrillion </a:t>
            </a:r>
            <a:r>
              <a:rPr lang="en-US" dirty="0" err="1"/>
              <a:t>satoshis</a:t>
            </a:r>
            <a:r>
              <a:rPr lang="en-US" dirty="0"/>
              <a:t>. The value of a </a:t>
            </a:r>
            <a:r>
              <a:rPr lang="en-US" dirty="0" err="1"/>
              <a:t>satoshi</a:t>
            </a:r>
            <a:r>
              <a:rPr lang="en-US" dirty="0"/>
              <a:t> will adjust to accommodate the bitcoin economy (just as other fiat currencies).</a:t>
            </a:r>
          </a:p>
          <a:p>
            <a:r>
              <a:rPr lang="en-US" dirty="0"/>
              <a:t>A transaction can send any amount of bitcoin (no upper or lower limit)</a:t>
            </a:r>
          </a:p>
          <a:p>
            <a:endParaRPr lang="en-US" dirty="0"/>
          </a:p>
          <a:p>
            <a:endParaRPr lang="en-US" dirty="0"/>
          </a:p>
        </p:txBody>
      </p:sp>
    </p:spTree>
    <p:extLst>
      <p:ext uri="{BB962C8B-B14F-4D97-AF65-F5344CB8AC3E}">
        <p14:creationId xmlns:p14="http://schemas.microsoft.com/office/powerpoint/2010/main" val="2018237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Address</a:t>
            </a:r>
          </a:p>
        </p:txBody>
      </p:sp>
      <p:sp>
        <p:nvSpPr>
          <p:cNvPr id="3" name="Text Placeholder 2"/>
          <p:cNvSpPr>
            <a:spLocks noGrp="1"/>
          </p:cNvSpPr>
          <p:nvPr>
            <p:ph type="body" sz="quarter" idx="10"/>
          </p:nvPr>
        </p:nvSpPr>
        <p:spPr/>
        <p:txBody>
          <a:bodyPr>
            <a:normAutofit fontScale="85000" lnSpcReduction="20000"/>
          </a:bodyPr>
          <a:lstStyle/>
          <a:p>
            <a:r>
              <a:rPr lang="en-US" dirty="0"/>
              <a:t>When the output of a transaction is used as the input of another transaction, it must be spent in its </a:t>
            </a:r>
            <a:r>
              <a:rPr lang="en-US" dirty="0">
                <a:solidFill>
                  <a:srgbClr val="FF0000"/>
                </a:solidFill>
              </a:rPr>
              <a:t>entirety</a:t>
            </a:r>
            <a:r>
              <a:rPr lang="en-US" dirty="0"/>
              <a:t>. </a:t>
            </a:r>
          </a:p>
          <a:p>
            <a:r>
              <a:rPr lang="en-US" dirty="0"/>
              <a:t>Sometimes the coin value of the output is higher than what the user wishes to pay. </a:t>
            </a:r>
          </a:p>
          <a:p>
            <a:r>
              <a:rPr lang="en-US" dirty="0"/>
              <a:t>In this case, the client generates a </a:t>
            </a:r>
            <a:r>
              <a:rPr lang="en-US" dirty="0">
                <a:solidFill>
                  <a:srgbClr val="FF0000"/>
                </a:solidFill>
              </a:rPr>
              <a:t>new</a:t>
            </a:r>
            <a:r>
              <a:rPr lang="en-US" dirty="0"/>
              <a:t> Bitcoin address, and sends the difference back to this address. This is known as </a:t>
            </a:r>
            <a:r>
              <a:rPr lang="en-US" dirty="0">
                <a:solidFill>
                  <a:srgbClr val="FF0000"/>
                </a:solidFill>
              </a:rPr>
              <a:t>change address (the address to which the left over change is sent)</a:t>
            </a:r>
            <a:r>
              <a:rPr lang="en-US" dirty="0"/>
              <a:t>.</a:t>
            </a:r>
          </a:p>
          <a:p>
            <a:r>
              <a:rPr lang="en-US" dirty="0"/>
              <a:t>In fact, when you spend bitcoin, you must use the entire amount of the unspent output of a previous transaction and make it the input of a new transaction.</a:t>
            </a:r>
          </a:p>
          <a:p>
            <a:r>
              <a:rPr lang="en-US" dirty="0"/>
              <a:t>When Alice owns the private key to the address that has a UTXO 1 BTC, and sends .9 BTC to Bob, the entire 1 BTC is destroyed and a new .9 is sent to Bob and a new .1 is sent to a new address (controlled by Alice)</a:t>
            </a:r>
          </a:p>
          <a:p>
            <a:r>
              <a:rPr lang="en-US" dirty="0"/>
              <a:t>This way the 1 BTC is </a:t>
            </a:r>
            <a:r>
              <a:rPr lang="en-US" dirty="0">
                <a:solidFill>
                  <a:srgbClr val="FF0000"/>
                </a:solidFill>
              </a:rPr>
              <a:t>destroyed</a:t>
            </a:r>
            <a:r>
              <a:rPr lang="en-US" dirty="0"/>
              <a:t> and cannot be double spent. The new BTCs are the .9 and the .1 (controlled by Bob and Alice respectively)</a:t>
            </a:r>
          </a:p>
          <a:p>
            <a:r>
              <a:rPr lang="en-US" dirty="0"/>
              <a:t>See this famous transaction. Sender lost private key to change address!!!! </a:t>
            </a:r>
            <a:r>
              <a:rPr lang="en-US" dirty="0">
                <a:hlinkClick r:id="rId2"/>
              </a:rPr>
              <a:t>https://blockchain.info/tx/eb5b761c7380ed4c6adf688f9e5ab94953dcabeda47d9eeabd77261902fccccf</a:t>
            </a:r>
            <a:r>
              <a:rPr lang="en-US" dirty="0"/>
              <a:t> </a:t>
            </a:r>
          </a:p>
        </p:txBody>
      </p:sp>
    </p:spTree>
    <p:extLst>
      <p:ext uri="{BB962C8B-B14F-4D97-AF65-F5344CB8AC3E}">
        <p14:creationId xmlns:p14="http://schemas.microsoft.com/office/powerpoint/2010/main" val="1007847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digital signature</a:t>
            </a:r>
          </a:p>
        </p:txBody>
      </p:sp>
      <p:pic>
        <p:nvPicPr>
          <p:cNvPr id="1026" name="Picture 2" descr="Image result for sealed envelope"/>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tretch>
            <a:fillRect/>
          </a:stretch>
        </p:blipFill>
        <p:spPr bwMode="auto">
          <a:xfrm>
            <a:off x="324000" y="2000251"/>
            <a:ext cx="5389825" cy="356393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7"/>
          <p:cNvSpPr>
            <a:spLocks noGrp="1"/>
          </p:cNvSpPr>
          <p:nvPr>
            <p:ph sz="half" idx="4294967295"/>
          </p:nvPr>
        </p:nvSpPr>
        <p:spPr>
          <a:xfrm>
            <a:off x="5843588" y="1733549"/>
            <a:ext cx="6351587" cy="4638675"/>
          </a:xfrm>
        </p:spPr>
        <p:txBody>
          <a:bodyPr>
            <a:normAutofit fontScale="77500" lnSpcReduction="20000"/>
          </a:bodyPr>
          <a:lstStyle/>
          <a:p>
            <a:r>
              <a:rPr lang="en-US" dirty="0"/>
              <a:t>We would like to have a protocol that allows Alice to send a message to Bob (and to everyone else)</a:t>
            </a:r>
          </a:p>
          <a:p>
            <a:r>
              <a:rPr lang="en-US" dirty="0"/>
              <a:t>The message is </a:t>
            </a:r>
            <a:r>
              <a:rPr lang="en-US" i="1" dirty="0"/>
              <a:t>“Alice sent Bob a token”</a:t>
            </a:r>
          </a:p>
          <a:p>
            <a:r>
              <a:rPr lang="en-US" dirty="0"/>
              <a:t>This message is put inside an envelope</a:t>
            </a:r>
          </a:p>
          <a:p>
            <a:r>
              <a:rPr lang="en-US" dirty="0"/>
              <a:t>Then the envelope is sealed with Alice’s unique seal</a:t>
            </a:r>
          </a:p>
          <a:p>
            <a:r>
              <a:rPr lang="en-US" dirty="0"/>
              <a:t>Anyone can open the envelope and verify that</a:t>
            </a:r>
          </a:p>
          <a:p>
            <a:pPr lvl="1"/>
            <a:r>
              <a:rPr lang="en-US" dirty="0"/>
              <a:t>Alice sent the message (Alice cannot deny sending)</a:t>
            </a:r>
          </a:p>
          <a:p>
            <a:pPr lvl="1"/>
            <a:r>
              <a:rPr lang="en-US" dirty="0"/>
              <a:t>The message was signed by Alice (seal)</a:t>
            </a:r>
          </a:p>
          <a:p>
            <a:pPr lvl="1"/>
            <a:r>
              <a:rPr lang="en-US" dirty="0"/>
              <a:t>The message was not tampered with (because the seal is not broken)</a:t>
            </a:r>
          </a:p>
          <a:p>
            <a:pPr lvl="1"/>
            <a:r>
              <a:rPr lang="en-US" dirty="0"/>
              <a:t>The message was not sent by Sybil (since only Alice has Alice’s seal)</a:t>
            </a:r>
          </a:p>
          <a:p>
            <a:r>
              <a:rPr lang="en-US" dirty="0"/>
              <a:t>We would like to have a digital version of this – </a:t>
            </a:r>
            <a:r>
              <a:rPr lang="en-US" i="1" dirty="0">
                <a:solidFill>
                  <a:srgbClr val="FF0000"/>
                </a:solidFill>
              </a:rPr>
              <a:t>digital signature</a:t>
            </a:r>
          </a:p>
        </p:txBody>
      </p:sp>
    </p:spTree>
    <p:extLst>
      <p:ext uri="{BB962C8B-B14F-4D97-AF65-F5344CB8AC3E}">
        <p14:creationId xmlns:p14="http://schemas.microsoft.com/office/powerpoint/2010/main" val="17823014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we need digital signature</a:t>
            </a:r>
          </a:p>
        </p:txBody>
      </p:sp>
      <p:sp>
        <p:nvSpPr>
          <p:cNvPr id="3" name="Content Placeholder 2"/>
          <p:cNvSpPr>
            <a:spLocks noGrp="1"/>
          </p:cNvSpPr>
          <p:nvPr>
            <p:ph type="body" sz="quarter" idx="10"/>
          </p:nvPr>
        </p:nvSpPr>
        <p:spPr/>
        <p:txBody>
          <a:bodyPr/>
          <a:lstStyle/>
          <a:p>
            <a:r>
              <a:rPr lang="en-US" dirty="0"/>
              <a:t>To endorse a message or document</a:t>
            </a:r>
          </a:p>
          <a:p>
            <a:r>
              <a:rPr lang="en-US" dirty="0"/>
              <a:t>To make it such that no one else can forge it</a:t>
            </a:r>
          </a:p>
          <a:p>
            <a:r>
              <a:rPr lang="en-US" dirty="0"/>
              <a:t>And to not be able to retract/redact</a:t>
            </a:r>
          </a:p>
        </p:txBody>
      </p:sp>
      <p:sp>
        <p:nvSpPr>
          <p:cNvPr id="4" name="Content Placeholder 3"/>
          <p:cNvSpPr>
            <a:spLocks noGrp="1"/>
          </p:cNvSpPr>
          <p:nvPr>
            <p:ph type="body" sz="quarter" idx="11"/>
          </p:nvPr>
        </p:nvSpPr>
        <p:spPr/>
        <p:txBody>
          <a:bodyPr/>
          <a:lstStyle/>
          <a:p>
            <a:r>
              <a:rPr lang="en-US" dirty="0"/>
              <a:t>Just like in real life ink signatures that endorse checks, letters, offers, contracts, purchases </a:t>
            </a:r>
            <a:r>
              <a:rPr lang="en-US" dirty="0" err="1"/>
              <a:t>etc</a:t>
            </a:r>
            <a:endParaRPr lang="en-US" dirty="0"/>
          </a:p>
          <a:p>
            <a:endParaRPr lang="en-US" dirty="0"/>
          </a:p>
        </p:txBody>
      </p:sp>
    </p:spTree>
    <p:extLst>
      <p:ext uri="{BB962C8B-B14F-4D97-AF65-F5344CB8AC3E}">
        <p14:creationId xmlns:p14="http://schemas.microsoft.com/office/powerpoint/2010/main" val="29626075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a pair of public KEY and private key</a:t>
            </a:r>
          </a:p>
        </p:txBody>
      </p:sp>
      <p:sp>
        <p:nvSpPr>
          <p:cNvPr id="3" name="Content Placeholder 2"/>
          <p:cNvSpPr>
            <a:spLocks noGrp="1"/>
          </p:cNvSpPr>
          <p:nvPr>
            <p:ph type="body" sz="quarter" idx="10"/>
          </p:nvPr>
        </p:nvSpPr>
        <p:spPr/>
        <p:txBody>
          <a:bodyPr>
            <a:normAutofit/>
          </a:bodyPr>
          <a:lstStyle/>
          <a:p>
            <a:r>
              <a:rPr lang="en-US" dirty="0"/>
              <a:t>In public key cryptography we use a public key and a private key pair to implement the digital signature protocol</a:t>
            </a:r>
          </a:p>
          <a:p>
            <a:r>
              <a:rPr lang="en-US" dirty="0"/>
              <a:t>The public key is used to verify (by others) that the owner of the private key (which is paired with the public key) signed the document. No one else forged the digital signature. And it was only that document that was signed.</a:t>
            </a:r>
          </a:p>
          <a:p>
            <a:r>
              <a:rPr lang="en-US" dirty="0"/>
              <a:t>So each document has a unique signature (created using the private key)</a:t>
            </a:r>
          </a:p>
        </p:txBody>
      </p:sp>
      <p:sp>
        <p:nvSpPr>
          <p:cNvPr id="4" name="Content Placeholder 3"/>
          <p:cNvSpPr>
            <a:spLocks noGrp="1"/>
          </p:cNvSpPr>
          <p:nvPr>
            <p:ph type="body" sz="quarter" idx="11"/>
          </p:nvPr>
        </p:nvSpPr>
        <p:spPr/>
        <p:txBody>
          <a:bodyPr>
            <a:normAutofit/>
          </a:bodyPr>
          <a:lstStyle/>
          <a:p>
            <a:r>
              <a:rPr lang="en-US" dirty="0"/>
              <a:t>The private key is private to Alice, the signer. She should never share the key with anyone. No central authority knows the private key nor can they retrieve it if lost</a:t>
            </a:r>
          </a:p>
          <a:p>
            <a:r>
              <a:rPr lang="en-US" dirty="0"/>
              <a:t>The public key is public and can be shared with everyone</a:t>
            </a:r>
          </a:p>
        </p:txBody>
      </p:sp>
    </p:spTree>
    <p:extLst>
      <p:ext uri="{BB962C8B-B14F-4D97-AF65-F5344CB8AC3E}">
        <p14:creationId xmlns:p14="http://schemas.microsoft.com/office/powerpoint/2010/main" val="127225861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the digital signature work</a:t>
            </a:r>
          </a:p>
        </p:txBody>
      </p:sp>
      <p:graphicFrame>
        <p:nvGraphicFramePr>
          <p:cNvPr id="8" name="Diagram 7"/>
          <p:cNvGraphicFramePr/>
          <p:nvPr>
            <p:extLst/>
          </p:nvPr>
        </p:nvGraphicFramePr>
        <p:xfrm>
          <a:off x="457482" y="1950549"/>
          <a:ext cx="11273989" cy="4237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78362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al Signature</a:t>
            </a:r>
          </a:p>
        </p:txBody>
      </p:sp>
      <p:sp>
        <p:nvSpPr>
          <p:cNvPr id="6" name="Text Placeholder 5"/>
          <p:cNvSpPr>
            <a:spLocks noGrp="1"/>
          </p:cNvSpPr>
          <p:nvPr>
            <p:ph type="body" sz="quarter" idx="10"/>
          </p:nvPr>
        </p:nvSpPr>
        <p:spPr>
          <a:xfrm>
            <a:off x="324000" y="1692391"/>
            <a:ext cx="3338363" cy="4393017"/>
          </a:xfrm>
        </p:spPr>
        <p:txBody>
          <a:bodyPr/>
          <a:lstStyle/>
          <a:p>
            <a:r>
              <a:rPr lang="en-US" dirty="0"/>
              <a:t>The private key is used to establish ownership of the bitcoin</a:t>
            </a:r>
          </a:p>
          <a:p>
            <a:r>
              <a:rPr lang="en-US" dirty="0"/>
              <a:t>It is also used to sign the transaction to spend the bitcoin</a:t>
            </a:r>
          </a:p>
          <a:p>
            <a:r>
              <a:rPr lang="en-US" dirty="0"/>
              <a:t>The receiver uses the public address and the signature to verify the transaction (</a:t>
            </a:r>
            <a:r>
              <a:rPr lang="en-US" dirty="0" err="1"/>
              <a:t>i.e</a:t>
            </a:r>
            <a:r>
              <a:rPr lang="en-US" dirty="0"/>
              <a:t> that the sender owned coin and authorized the spend)</a:t>
            </a:r>
          </a:p>
        </p:txBody>
      </p:sp>
      <p:sp>
        <p:nvSpPr>
          <p:cNvPr id="7" name="Text Placeholder 6"/>
          <p:cNvSpPr>
            <a:spLocks noGrp="1"/>
          </p:cNvSpPr>
          <p:nvPr>
            <p:ph type="body" sz="quarter" idx="11"/>
          </p:nvPr>
        </p:nvSpPr>
        <p:spPr/>
        <p:txBody>
          <a:bodyPr/>
          <a:lstStyle/>
          <a:p>
            <a:endParaRPr lang="en-US"/>
          </a:p>
        </p:txBody>
      </p:sp>
      <p:pic>
        <p:nvPicPr>
          <p:cNvPr id="2050" name="Picture 2" descr="digital signatur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834832" y="1376361"/>
            <a:ext cx="8093651" cy="504349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068763" y="6474278"/>
            <a:ext cx="6096000" cy="261610"/>
          </a:xfrm>
          <a:prstGeom prst="rect">
            <a:avLst/>
          </a:prstGeom>
        </p:spPr>
        <p:txBody>
          <a:bodyPr>
            <a:spAutoFit/>
          </a:bodyPr>
          <a:lstStyle/>
          <a:p>
            <a:r>
              <a:rPr lang="en-US" sz="1100" dirty="0"/>
              <a:t>https://www.cryptocompare.com/wallets/guides/how-do-digital-signatures-in-bitcoin-work/</a:t>
            </a:r>
          </a:p>
        </p:txBody>
      </p:sp>
    </p:spTree>
    <p:extLst>
      <p:ext uri="{BB962C8B-B14F-4D97-AF65-F5344CB8AC3E}">
        <p14:creationId xmlns:p14="http://schemas.microsoft.com/office/powerpoint/2010/main" val="9663378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wannacry bitcoin"/>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746251" y="106362"/>
            <a:ext cx="8683624" cy="6487908"/>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p:cNvSpPr/>
          <p:nvPr/>
        </p:nvSpPr>
        <p:spPr bwMode="gray">
          <a:xfrm>
            <a:off x="4043361" y="4914900"/>
            <a:ext cx="5619752" cy="1300163"/>
          </a:xfrm>
          <a:prstGeom prst="ellipse">
            <a:avLst/>
          </a:prstGeom>
          <a:noFill/>
          <a:ln w="76200">
            <a:solidFill>
              <a:srgbClr val="FFFF00"/>
            </a:solidFill>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29056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ress as identity</a:t>
            </a:r>
          </a:p>
        </p:txBody>
      </p:sp>
      <p:sp>
        <p:nvSpPr>
          <p:cNvPr id="3" name="Content Placeholder 2"/>
          <p:cNvSpPr>
            <a:spLocks noGrp="1"/>
          </p:cNvSpPr>
          <p:nvPr>
            <p:ph type="body" sz="quarter" idx="10"/>
          </p:nvPr>
        </p:nvSpPr>
        <p:spPr/>
        <p:txBody>
          <a:bodyPr/>
          <a:lstStyle/>
          <a:p>
            <a:r>
              <a:rPr lang="en-US" dirty="0"/>
              <a:t>Each unique private key generates a unique public key from which we can generate a unique hash, we can use the hash as an identity for Alice</a:t>
            </a:r>
          </a:p>
          <a:p>
            <a:r>
              <a:rPr lang="en-US" dirty="0"/>
              <a:t>The hash of the public key is called a public address (related to but different from the public key)</a:t>
            </a:r>
          </a:p>
          <a:p>
            <a:r>
              <a:rPr lang="en-US" dirty="0"/>
              <a:t>So for Bob to send a message to Alice, he can send the message to Alice’s public address.</a:t>
            </a:r>
          </a:p>
          <a:p>
            <a:r>
              <a:rPr lang="en-US" dirty="0"/>
              <a:t>The public address, therefore, becomes an identity for Alice.</a:t>
            </a:r>
          </a:p>
          <a:p>
            <a:r>
              <a:rPr lang="en-US" dirty="0"/>
              <a:t>It even provides some amount of anonymity since Alice real identity is not included in the digital signature.</a:t>
            </a:r>
          </a:p>
          <a:p>
            <a:r>
              <a:rPr lang="en-US" dirty="0"/>
              <a:t>Alice can generate as many identities as she likes. (any </a:t>
            </a:r>
            <a:r>
              <a:rPr lang="en-US" i="1" dirty="0"/>
              <a:t>actor</a:t>
            </a:r>
            <a:r>
              <a:rPr lang="en-US" dirty="0"/>
              <a:t> you know?)</a:t>
            </a:r>
          </a:p>
        </p:txBody>
      </p:sp>
    </p:spTree>
    <p:extLst>
      <p:ext uri="{BB962C8B-B14F-4D97-AF65-F5344CB8AC3E}">
        <p14:creationId xmlns:p14="http://schemas.microsoft.com/office/powerpoint/2010/main" val="27715580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reate a private key and a public key pair</a:t>
            </a:r>
          </a:p>
        </p:txBody>
      </p:sp>
      <p:sp>
        <p:nvSpPr>
          <p:cNvPr id="3" name="Content Placeholder 2"/>
          <p:cNvSpPr>
            <a:spLocks noGrp="1"/>
          </p:cNvSpPr>
          <p:nvPr>
            <p:ph idx="4294967295"/>
          </p:nvPr>
        </p:nvSpPr>
        <p:spPr>
          <a:xfrm>
            <a:off x="661988" y="1692275"/>
            <a:ext cx="10883900" cy="4392613"/>
          </a:xfrm>
        </p:spPr>
        <p:txBody>
          <a:bodyPr/>
          <a:lstStyle/>
          <a:p>
            <a:r>
              <a:rPr lang="en-US" dirty="0"/>
              <a:t>Go to bitcoinaddress.org</a:t>
            </a:r>
          </a:p>
          <a:p>
            <a:r>
              <a:rPr lang="en-US" dirty="0"/>
              <a:t>Move your mouse around the screen until it reaches 100%</a:t>
            </a:r>
          </a:p>
          <a:p>
            <a:r>
              <a:rPr lang="en-US" dirty="0"/>
              <a:t>This is to generate sufficient randomness in the keys</a:t>
            </a:r>
          </a:p>
          <a:p>
            <a:r>
              <a:rPr lang="en-US" dirty="0"/>
              <a:t>Now you see a pair of private (secret) key and the associated public address!</a:t>
            </a:r>
          </a:p>
          <a:p>
            <a:endParaRPr lang="en-US" dirty="0"/>
          </a:p>
        </p:txBody>
      </p:sp>
      <p:pic>
        <p:nvPicPr>
          <p:cNvPr id="7" name="Picture 6"/>
          <p:cNvPicPr>
            <a:picLocks noChangeAspect="1"/>
          </p:cNvPicPr>
          <p:nvPr/>
        </p:nvPicPr>
        <p:blipFill>
          <a:blip r:embed="rId2"/>
          <a:stretch>
            <a:fillRect/>
          </a:stretch>
        </p:blipFill>
        <p:spPr>
          <a:xfrm>
            <a:off x="2177141" y="4039756"/>
            <a:ext cx="7840890" cy="2343692"/>
          </a:xfrm>
          <a:prstGeom prst="rect">
            <a:avLst/>
          </a:prstGeom>
        </p:spPr>
      </p:pic>
    </p:spTree>
    <p:extLst>
      <p:ext uri="{BB962C8B-B14F-4D97-AF65-F5344CB8AC3E}">
        <p14:creationId xmlns:p14="http://schemas.microsoft.com/office/powerpoint/2010/main" val="26394675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s</a:t>
            </a:r>
          </a:p>
        </p:txBody>
      </p:sp>
      <p:sp>
        <p:nvSpPr>
          <p:cNvPr id="3" name="Content Placeholder 2"/>
          <p:cNvSpPr>
            <a:spLocks noGrp="1"/>
          </p:cNvSpPr>
          <p:nvPr>
            <p:ph type="body" sz="quarter" idx="10"/>
          </p:nvPr>
        </p:nvSpPr>
        <p:spPr/>
        <p:txBody>
          <a:bodyPr/>
          <a:lstStyle/>
          <a:p>
            <a:r>
              <a:rPr lang="en-US" dirty="0"/>
              <a:t>Private key : L5oL1a12g7oupYUcTXh9qrgcnYUN4AGXsxZTrTCn33ip1i9ZpPUG (there is also a QR code to make sharing easier) </a:t>
            </a:r>
            <a:r>
              <a:rPr lang="en-US" b="1" dirty="0">
                <a:solidFill>
                  <a:srgbClr val="FF0000"/>
                </a:solidFill>
              </a:rPr>
              <a:t>KEEP THIS PRIVATE and SECURE!</a:t>
            </a:r>
          </a:p>
          <a:p>
            <a:r>
              <a:rPr lang="en-US" dirty="0"/>
              <a:t>Public address: 1EsnvCCPUZiYgppGbaa5X5bb5omX1J6Rdd </a:t>
            </a:r>
            <a:r>
              <a:rPr lang="en-US" b="1" dirty="0">
                <a:solidFill>
                  <a:srgbClr val="FF0000"/>
                </a:solidFill>
              </a:rPr>
              <a:t>SHARE THIS TO RECEIVE MESSAGES</a:t>
            </a:r>
          </a:p>
          <a:p>
            <a:r>
              <a:rPr lang="en-US" dirty="0"/>
              <a:t>Click on Wallet Details</a:t>
            </a:r>
          </a:p>
          <a:p>
            <a:pPr lvl="1"/>
            <a:r>
              <a:rPr lang="en-US" dirty="0"/>
              <a:t>Enter your private key</a:t>
            </a:r>
          </a:p>
          <a:p>
            <a:pPr lvl="1"/>
            <a:r>
              <a:rPr lang="en-US" dirty="0"/>
              <a:t>View the private key in various formats</a:t>
            </a:r>
          </a:p>
          <a:p>
            <a:r>
              <a:rPr lang="en-US" dirty="0"/>
              <a:t>Here is a list of ALL private keys! </a:t>
            </a:r>
            <a:r>
              <a:rPr lang="en-US" dirty="0">
                <a:hlinkClick r:id="rId2"/>
              </a:rPr>
              <a:t>http://directory.io/</a:t>
            </a:r>
            <a:r>
              <a:rPr lang="en-US" dirty="0"/>
              <a:t> </a:t>
            </a:r>
          </a:p>
        </p:txBody>
      </p:sp>
    </p:spTree>
    <p:extLst>
      <p:ext uri="{BB962C8B-B14F-4D97-AF65-F5344CB8AC3E}">
        <p14:creationId xmlns:p14="http://schemas.microsoft.com/office/powerpoint/2010/main" val="41618168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would you store keys?</a:t>
            </a:r>
          </a:p>
        </p:txBody>
      </p:sp>
      <p:sp>
        <p:nvSpPr>
          <p:cNvPr id="3" name="Content Placeholder 2"/>
          <p:cNvSpPr>
            <a:spLocks noGrp="1"/>
          </p:cNvSpPr>
          <p:nvPr>
            <p:ph type="body" sz="quarter" idx="10"/>
          </p:nvPr>
        </p:nvSpPr>
        <p:spPr/>
        <p:txBody>
          <a:bodyPr/>
          <a:lstStyle/>
          <a:p>
            <a:r>
              <a:rPr lang="en-US" dirty="0"/>
              <a:t>In real life you store keys on a keychain</a:t>
            </a:r>
          </a:p>
          <a:p>
            <a:r>
              <a:rPr lang="en-US" dirty="0"/>
              <a:t>In bitcoin they are stored in a </a:t>
            </a:r>
            <a:r>
              <a:rPr lang="en-US" i="1" dirty="0"/>
              <a:t>wallet</a:t>
            </a:r>
            <a:r>
              <a:rPr lang="en-US" dirty="0"/>
              <a:t> (app for your device)</a:t>
            </a:r>
          </a:p>
          <a:p>
            <a:r>
              <a:rPr lang="en-US" dirty="0"/>
              <a:t>It should really be called a bitcoin keychain but…</a:t>
            </a:r>
          </a:p>
          <a:p>
            <a:endParaRPr lang="en-US" dirty="0"/>
          </a:p>
        </p:txBody>
      </p:sp>
    </p:spTree>
    <p:extLst>
      <p:ext uri="{BB962C8B-B14F-4D97-AF65-F5344CB8AC3E}">
        <p14:creationId xmlns:p14="http://schemas.microsoft.com/office/powerpoint/2010/main" val="3369718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 of transactions</a:t>
            </a:r>
          </a:p>
        </p:txBody>
      </p:sp>
      <p:sp>
        <p:nvSpPr>
          <p:cNvPr id="3" name="Text Placeholder 2"/>
          <p:cNvSpPr>
            <a:spLocks noGrp="1"/>
          </p:cNvSpPr>
          <p:nvPr>
            <p:ph type="body" sz="quarter" idx="10"/>
          </p:nvPr>
        </p:nvSpPr>
        <p:spPr/>
        <p:txBody>
          <a:bodyPr>
            <a:normAutofit fontScale="85000" lnSpcReduction="10000"/>
          </a:bodyPr>
          <a:lstStyle/>
          <a:p>
            <a:r>
              <a:rPr lang="en-US" dirty="0"/>
              <a:t>Transaction fees are paid by the </a:t>
            </a:r>
            <a:r>
              <a:rPr lang="en-US" dirty="0">
                <a:solidFill>
                  <a:srgbClr val="FF0000"/>
                </a:solidFill>
              </a:rPr>
              <a:t>sender</a:t>
            </a:r>
            <a:r>
              <a:rPr lang="en-US" dirty="0"/>
              <a:t> and are voluntary</a:t>
            </a:r>
          </a:p>
          <a:p>
            <a:r>
              <a:rPr lang="en-US" dirty="0"/>
              <a:t>Transactions are broadcast to the entire bitcoin network but are only confirmed when it is included in a block</a:t>
            </a:r>
          </a:p>
          <a:p>
            <a:r>
              <a:rPr lang="en-US" dirty="0"/>
              <a:t>The fees are </a:t>
            </a:r>
            <a:r>
              <a:rPr lang="en-US" dirty="0">
                <a:solidFill>
                  <a:srgbClr val="FF0000"/>
                </a:solidFill>
              </a:rPr>
              <a:t>collected</a:t>
            </a:r>
            <a:r>
              <a:rPr lang="en-US" dirty="0"/>
              <a:t> by the miner who mines the block in which the transaction is included</a:t>
            </a:r>
          </a:p>
          <a:p>
            <a:r>
              <a:rPr lang="en-US" dirty="0"/>
              <a:t>The sender can </a:t>
            </a:r>
            <a:r>
              <a:rPr lang="en-US" dirty="0">
                <a:solidFill>
                  <a:srgbClr val="FF0000"/>
                </a:solidFill>
              </a:rPr>
              <a:t>incentivize</a:t>
            </a:r>
            <a:r>
              <a:rPr lang="en-US" dirty="0"/>
              <a:t> the miner to include their block by including higher transaction fee</a:t>
            </a:r>
          </a:p>
          <a:p>
            <a:r>
              <a:rPr lang="en-US" dirty="0"/>
              <a:t>A low fee transaction may have to wait for several blocks before it is included into to a block by a miner</a:t>
            </a:r>
          </a:p>
          <a:p>
            <a:r>
              <a:rPr lang="en-US" dirty="0"/>
              <a:t>As mining reward reduces and bitcoin participation increases, the transaction fees will be the </a:t>
            </a:r>
            <a:r>
              <a:rPr lang="en-US" dirty="0">
                <a:solidFill>
                  <a:srgbClr val="FF0000"/>
                </a:solidFill>
              </a:rPr>
              <a:t>majority</a:t>
            </a:r>
            <a:r>
              <a:rPr lang="en-US" dirty="0"/>
              <a:t> incentive for miners</a:t>
            </a:r>
          </a:p>
          <a:p>
            <a:r>
              <a:rPr lang="en-US" dirty="0"/>
              <a:t>Total inputs &gt;= Total outputs</a:t>
            </a:r>
          </a:p>
          <a:p>
            <a:r>
              <a:rPr lang="en-US" dirty="0"/>
              <a:t>Total inputs – Total outputs = Transaction Fees</a:t>
            </a:r>
          </a:p>
          <a:p>
            <a:endParaRPr lang="en-US" dirty="0"/>
          </a:p>
          <a:p>
            <a:endParaRPr lang="en-US" dirty="0"/>
          </a:p>
          <a:p>
            <a:endParaRPr lang="en-US" dirty="0"/>
          </a:p>
        </p:txBody>
      </p:sp>
    </p:spTree>
    <p:extLst>
      <p:ext uri="{BB962C8B-B14F-4D97-AF65-F5344CB8AC3E}">
        <p14:creationId xmlns:p14="http://schemas.microsoft.com/office/powerpoint/2010/main" val="13233905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locks</a:t>
            </a:r>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9339668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transactions to blocks</a:t>
            </a:r>
          </a:p>
        </p:txBody>
      </p:sp>
      <p:sp>
        <p:nvSpPr>
          <p:cNvPr id="3" name="Text Placeholder 2"/>
          <p:cNvSpPr>
            <a:spLocks noGrp="1"/>
          </p:cNvSpPr>
          <p:nvPr>
            <p:ph type="body" sz="quarter" idx="10"/>
          </p:nvPr>
        </p:nvSpPr>
        <p:spPr/>
        <p:txBody>
          <a:bodyPr/>
          <a:lstStyle/>
          <a:p>
            <a:r>
              <a:rPr lang="en-US" dirty="0"/>
              <a:t>The transaction from Alice to Bob must now be recorded in the blockchain. This is done by adding it to a block and the block to the blockchain.</a:t>
            </a:r>
          </a:p>
          <a:p>
            <a:r>
              <a:rPr lang="en-US" dirty="0"/>
              <a:t>Minnie, the miner, has volunteered to validate transactions. After she validates transactions, she builds them into a block. </a:t>
            </a:r>
            <a:br>
              <a:rPr lang="en-US" dirty="0"/>
            </a:br>
            <a:br>
              <a:rPr lang="en-US" dirty="0"/>
            </a:br>
            <a:r>
              <a:rPr lang="en-US" dirty="0"/>
              <a:t>Then she announces the block to the network.</a:t>
            </a:r>
          </a:p>
          <a:p>
            <a:r>
              <a:rPr lang="en-US" dirty="0"/>
              <a:t>Each node that hears of the new block will do its own validation and add that block to their blockchain.</a:t>
            </a:r>
          </a:p>
          <a:p>
            <a:r>
              <a:rPr lang="en-US" dirty="0"/>
              <a:t>This extends the blockchain by one block (and included immutable proof that Alice sent Bob 0.9 BTC)!</a:t>
            </a:r>
          </a:p>
        </p:txBody>
      </p:sp>
    </p:spTree>
    <p:extLst>
      <p:ext uri="{BB962C8B-B14F-4D97-AF65-F5344CB8AC3E}">
        <p14:creationId xmlns:p14="http://schemas.microsoft.com/office/powerpoint/2010/main" val="368873346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a:t>
            </a:r>
          </a:p>
        </p:txBody>
      </p:sp>
      <p:sp>
        <p:nvSpPr>
          <p:cNvPr id="3" name="Content Placeholder 2"/>
          <p:cNvSpPr>
            <a:spLocks noGrp="1"/>
          </p:cNvSpPr>
          <p:nvPr>
            <p:ph type="body" sz="quarter" idx="10"/>
          </p:nvPr>
        </p:nvSpPr>
        <p:spPr/>
        <p:txBody>
          <a:bodyPr/>
          <a:lstStyle/>
          <a:p>
            <a:r>
              <a:rPr lang="en-US" dirty="0"/>
              <a:t>The blocks are linked together into a chain</a:t>
            </a:r>
          </a:p>
          <a:p>
            <a:r>
              <a:rPr lang="en-US" dirty="0"/>
              <a:t>The reason it is a chain is that a block contains a pointer to the previous block</a:t>
            </a:r>
          </a:p>
          <a:p>
            <a:r>
              <a:rPr lang="en-US" dirty="0"/>
              <a:t>This way all the blocks are linked into a </a:t>
            </a:r>
            <a:r>
              <a:rPr lang="en-US" i="1" dirty="0"/>
              <a:t>blockchain</a:t>
            </a:r>
          </a:p>
          <a:p>
            <a:r>
              <a:rPr lang="en-US" b="1" i="1" dirty="0"/>
              <a:t>Each block contains a hash of the previous block, thereby the connecting all blocks to the current block</a:t>
            </a:r>
          </a:p>
          <a:p>
            <a:r>
              <a:rPr lang="en-US" dirty="0"/>
              <a:t>The current blocks hash is the fingerprint of the entire blockchain (from the beginning)</a:t>
            </a:r>
          </a:p>
          <a:p>
            <a:r>
              <a:rPr lang="en-US" dirty="0"/>
              <a:t>Each (full) node in the bitcoin network stores a complete local copy of the blockchain. This makes the system decentralized (compare this to </a:t>
            </a:r>
            <a:r>
              <a:rPr lang="en-US" dirty="0" err="1"/>
              <a:t>ebay</a:t>
            </a:r>
            <a:r>
              <a:rPr lang="en-US" dirty="0"/>
              <a:t>, amazon or </a:t>
            </a:r>
            <a:r>
              <a:rPr lang="en-US" dirty="0" err="1"/>
              <a:t>facebook</a:t>
            </a:r>
            <a:r>
              <a:rPr lang="en-US" dirty="0"/>
              <a:t>)</a:t>
            </a:r>
          </a:p>
          <a:p>
            <a:r>
              <a:rPr lang="en-US" dirty="0"/>
              <a:t>As new blocks are built and broadcast, the node adds the new block to their blockchain, thereby extending it</a:t>
            </a:r>
          </a:p>
          <a:p>
            <a:endParaRPr lang="en-US" dirty="0"/>
          </a:p>
        </p:txBody>
      </p:sp>
    </p:spTree>
    <p:extLst>
      <p:ext uri="{BB962C8B-B14F-4D97-AF65-F5344CB8AC3E}">
        <p14:creationId xmlns:p14="http://schemas.microsoft.com/office/powerpoint/2010/main" val="6541493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tructure</a:t>
            </a:r>
          </a:p>
        </p:txBody>
      </p:sp>
      <p:sp>
        <p:nvSpPr>
          <p:cNvPr id="3" name="Content Placeholder 2"/>
          <p:cNvSpPr>
            <a:spLocks noGrp="1"/>
          </p:cNvSpPr>
          <p:nvPr>
            <p:ph type="body" sz="quarter" idx="10"/>
          </p:nvPr>
        </p:nvSpPr>
        <p:spPr/>
        <p:txBody>
          <a:bodyPr/>
          <a:lstStyle/>
          <a:p>
            <a:r>
              <a:rPr lang="en-US" dirty="0"/>
              <a:t>The block is a permanent record of transactions. This makes it a ledger of peer-to-peer transactions.</a:t>
            </a:r>
          </a:p>
          <a:p>
            <a:r>
              <a:rPr lang="en-US" dirty="0"/>
              <a:t>Explore here </a:t>
            </a:r>
            <a:r>
              <a:rPr lang="en-US" dirty="0">
                <a:hlinkClick r:id="rId2"/>
              </a:rPr>
              <a:t>https://webbtc.com/block/000000000000000004ec466ce4732fe6f1ed1cddc2ed4b328fff5224276e3f6f</a:t>
            </a:r>
            <a:endParaRPr lang="en-US" dirty="0"/>
          </a:p>
          <a:p>
            <a:r>
              <a:rPr lang="en-US" dirty="0"/>
              <a:t>Then view the same block on blockchain.info</a:t>
            </a:r>
          </a:p>
          <a:p>
            <a:r>
              <a:rPr lang="en-US" dirty="0"/>
              <a:t>View it in </a:t>
            </a:r>
            <a:r>
              <a:rPr lang="en-US" dirty="0" err="1"/>
              <a:t>json</a:t>
            </a:r>
            <a:r>
              <a:rPr lang="en-US" dirty="0"/>
              <a:t> format</a:t>
            </a:r>
          </a:p>
          <a:p>
            <a:r>
              <a:rPr lang="en-US" dirty="0"/>
              <a:t>We will now explore the various parts of the block</a:t>
            </a:r>
          </a:p>
          <a:p>
            <a:endParaRPr lang="en-US" dirty="0"/>
          </a:p>
        </p:txBody>
      </p:sp>
    </p:spTree>
    <p:extLst>
      <p:ext uri="{BB962C8B-B14F-4D97-AF65-F5344CB8AC3E}">
        <p14:creationId xmlns:p14="http://schemas.microsoft.com/office/powerpoint/2010/main" val="48177857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tructure</a:t>
            </a:r>
          </a:p>
        </p:txBody>
      </p:sp>
      <p:graphicFrame>
        <p:nvGraphicFramePr>
          <p:cNvPr id="8" name="Diagram 7"/>
          <p:cNvGraphicFramePr/>
          <p:nvPr>
            <p:extLst/>
          </p:nvPr>
        </p:nvGraphicFramePr>
        <p:xfrm>
          <a:off x="2258476" y="2043506"/>
          <a:ext cx="7395934" cy="39096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30323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tKGYfe_ek.TvQldrKAMFA"/>
</p:tagLst>
</file>

<file path=ppt/theme/theme1.xml><?xml version="1.0" encoding="utf-8"?>
<a:theme xmlns:a="http://schemas.openxmlformats.org/drawingml/2006/main" name="SAP_2016_16x9_black">
  <a:themeElements>
    <a:clrScheme name="SAP_colors_black_template">
      <a:dk1>
        <a:srgbClr val="000000"/>
      </a:dk1>
      <a:lt1>
        <a:srgbClr val="FFFFFF"/>
      </a:lt1>
      <a:dk2>
        <a:srgbClr val="CCCCCC"/>
      </a:dk2>
      <a:lt2>
        <a:srgbClr val="0076CB"/>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6_16x9_black.pptx" id="{872C9048-2E88-48BB-A528-3F05C8D1E3A4}" vid="{9EE464DF-4D33-4CA5-A369-CFD5D9025B26}"/>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505</TotalTime>
  <Words>13766</Words>
  <Application>Microsoft Office PowerPoint</Application>
  <PresentationFormat>Custom</PresentationFormat>
  <Paragraphs>1617</Paragraphs>
  <Slides>216</Slides>
  <Notes>11</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216</vt:i4>
      </vt:variant>
    </vt:vector>
  </HeadingPairs>
  <TitlesOfParts>
    <vt:vector size="234" baseType="lpstr">
      <vt:lpstr>Courier New</vt:lpstr>
      <vt:lpstr>Wingdings</vt:lpstr>
      <vt:lpstr>Calibri</vt:lpstr>
      <vt:lpstr>Playfair Display</vt:lpstr>
      <vt:lpstr>Open Sans Condensed Light</vt:lpstr>
      <vt:lpstr>SFMono-Regular</vt:lpstr>
      <vt:lpstr>Cambria Math</vt:lpstr>
      <vt:lpstr>BentonSans Light</vt:lpstr>
      <vt:lpstr>Symbol</vt:lpstr>
      <vt:lpstr>Helvetica Neue</vt:lpstr>
      <vt:lpstr>Adobe Fangsong Std R</vt:lpstr>
      <vt:lpstr>BentonSans</vt:lpstr>
      <vt:lpstr>Open Sans Semibold</vt:lpstr>
      <vt:lpstr>Wingdings</vt:lpstr>
      <vt:lpstr>Arial</vt:lpstr>
      <vt:lpstr>Arial Unicode MS</vt:lpstr>
      <vt:lpstr>SAP_2016_16x9_black</vt:lpstr>
      <vt:lpstr>think-cell Slide</vt:lpstr>
      <vt:lpstr>PowerPoint Presentation</vt:lpstr>
      <vt:lpstr>About me</vt:lpstr>
      <vt:lpstr>Download workshop materials here</vt:lpstr>
      <vt:lpstr>Landmark technological advances</vt:lpstr>
      <vt:lpstr>2017: The year of bitcoin</vt:lpstr>
      <vt:lpstr>PowerPoint Presentation</vt:lpstr>
      <vt:lpstr>PowerPoint Presentation</vt:lpstr>
      <vt:lpstr>PowerPoint Presentation</vt:lpstr>
      <vt:lpstr>PowerPoint Presentation</vt:lpstr>
      <vt:lpstr>Workshop goals</vt:lpstr>
      <vt:lpstr>Exponential Learning Workshop</vt:lpstr>
      <vt:lpstr>Disclaimer (and warning)!</vt:lpstr>
      <vt:lpstr>AGENDA</vt:lpstr>
      <vt:lpstr>Quiz: Identify these five</vt:lpstr>
      <vt:lpstr>Preliminaries</vt:lpstr>
      <vt:lpstr>Required reading assignment</vt:lpstr>
      <vt:lpstr>Optional reading</vt:lpstr>
      <vt:lpstr>Our actors today (standard convention in cryptography)</vt:lpstr>
      <vt:lpstr>Workshop rewards and prize</vt:lpstr>
      <vt:lpstr>A Story About Money</vt:lpstr>
      <vt:lpstr>Origins of writing</vt:lpstr>
      <vt:lpstr>PowerPoint Presentation</vt:lpstr>
      <vt:lpstr>400 miles from Yap to Palau</vt:lpstr>
      <vt:lpstr>How to “mint” Rai (aka Fei) stones</vt:lpstr>
      <vt:lpstr>PowerPoint Presentation</vt:lpstr>
      <vt:lpstr>PowerPoint Presentation</vt:lpstr>
      <vt:lpstr>Important Observations about Rai stones</vt:lpstr>
      <vt:lpstr>Blockchain Basics </vt:lpstr>
      <vt:lpstr>PowerPoint Presentation</vt:lpstr>
      <vt:lpstr>Etymology</vt:lpstr>
      <vt:lpstr>Hype cycle</vt:lpstr>
      <vt:lpstr>Famous Quotes</vt:lpstr>
      <vt:lpstr>PowerPoint Presentation</vt:lpstr>
      <vt:lpstr>What is Blockchain?</vt:lpstr>
      <vt:lpstr>Types of networks (from the viewpoint of control) </vt:lpstr>
      <vt:lpstr>Client/Server to Peer-to-peer</vt:lpstr>
      <vt:lpstr>Every node has a copy of the blockchain (database)</vt:lpstr>
      <vt:lpstr>Why Blockchain?</vt:lpstr>
      <vt:lpstr>Some definitions</vt:lpstr>
      <vt:lpstr>Where is blockchain?</vt:lpstr>
      <vt:lpstr>Proof of State</vt:lpstr>
      <vt:lpstr>Where is Blockchain?</vt:lpstr>
      <vt:lpstr>Blockchain</vt:lpstr>
      <vt:lpstr>Blockchain structure</vt:lpstr>
      <vt:lpstr>How is a Blockchain built</vt:lpstr>
      <vt:lpstr>Blockchain Exploration</vt:lpstr>
      <vt:lpstr>Now what?</vt:lpstr>
      <vt:lpstr>Bitcoin</vt:lpstr>
      <vt:lpstr>What do you get by combining these?</vt:lpstr>
      <vt:lpstr>Bitcoin is like cake, it is a brilliant invention that combines several advances in technology in a totally unique way</vt:lpstr>
      <vt:lpstr>Cryptoeconomics</vt:lpstr>
      <vt:lpstr>History of money</vt:lpstr>
      <vt:lpstr>PowerPoint Presentation</vt:lpstr>
      <vt:lpstr>Three major functions of money</vt:lpstr>
      <vt:lpstr>Sources of Money</vt:lpstr>
      <vt:lpstr>What is Bitcoin?</vt:lpstr>
      <vt:lpstr>Who is Satoshi Nakamoto?</vt:lpstr>
      <vt:lpstr>Double spend problem</vt:lpstr>
      <vt:lpstr>PowerPoint Presentation</vt:lpstr>
      <vt:lpstr>Permissioned vs Permissionless identify</vt:lpstr>
      <vt:lpstr>Properties of Bitcoin</vt:lpstr>
      <vt:lpstr>The sordid surprising History of Bitcoin</vt:lpstr>
      <vt:lpstr>PowerPoint Presentation</vt:lpstr>
      <vt:lpstr>Exchange rate with Fiat</vt:lpstr>
      <vt:lpstr>Investment Bubbles</vt:lpstr>
      <vt:lpstr>Ponzi or Metcalfe or … </vt:lpstr>
      <vt:lpstr>Deep dive into bitcoin</vt:lpstr>
      <vt:lpstr>Hashing</vt:lpstr>
      <vt:lpstr>Hashes</vt:lpstr>
      <vt:lpstr>Let’s try some hash</vt:lpstr>
      <vt:lpstr>Properties of Hash function</vt:lpstr>
      <vt:lpstr>Hash functions and hashes</vt:lpstr>
      <vt:lpstr>Hashes in blockchain</vt:lpstr>
      <vt:lpstr>Blockchain structure</vt:lpstr>
      <vt:lpstr>Identity in bitcoin</vt:lpstr>
      <vt:lpstr>Generating public address and private key</vt:lpstr>
      <vt:lpstr>Keys</vt:lpstr>
      <vt:lpstr>Transactions</vt:lpstr>
      <vt:lpstr>Bitcoin Transaction</vt:lpstr>
      <vt:lpstr>Bitcoin Transaction structure</vt:lpstr>
      <vt:lpstr>PowerPoint Presentation</vt:lpstr>
      <vt:lpstr>Satoshis</vt:lpstr>
      <vt:lpstr>Divisibility (granularity)</vt:lpstr>
      <vt:lpstr>Change Address</vt:lpstr>
      <vt:lpstr>What is a digital signature</vt:lpstr>
      <vt:lpstr>Why do we need digital signature</vt:lpstr>
      <vt:lpstr>Use a pair of public KEY and private key</vt:lpstr>
      <vt:lpstr>How does the digital signature work</vt:lpstr>
      <vt:lpstr>Digital Signature</vt:lpstr>
      <vt:lpstr>Address as identity</vt:lpstr>
      <vt:lpstr>Lets create a private key and a public key pair</vt:lpstr>
      <vt:lpstr>Keys</vt:lpstr>
      <vt:lpstr>Where would you store keys?</vt:lpstr>
      <vt:lpstr>Cost of transactions</vt:lpstr>
      <vt:lpstr>Blocks</vt:lpstr>
      <vt:lpstr>From transactions to blocks</vt:lpstr>
      <vt:lpstr>Blockchain</vt:lpstr>
      <vt:lpstr>Block Structure</vt:lpstr>
      <vt:lpstr>Block structure</vt:lpstr>
      <vt:lpstr>Block header (in detail)</vt:lpstr>
      <vt:lpstr>PowerPoint Presentation</vt:lpstr>
      <vt:lpstr>Block hash</vt:lpstr>
      <vt:lpstr>Proof of State</vt:lpstr>
      <vt:lpstr>Genesis block</vt:lpstr>
      <vt:lpstr>Tamper evidence</vt:lpstr>
      <vt:lpstr>Where are the nodes in the network?</vt:lpstr>
      <vt:lpstr>Blockchain</vt:lpstr>
      <vt:lpstr>Building a block</vt:lpstr>
      <vt:lpstr>Genesis Block</vt:lpstr>
      <vt:lpstr>Trust Minnie? </vt:lpstr>
      <vt:lpstr>Mining</vt:lpstr>
      <vt:lpstr>What is mining?</vt:lpstr>
      <vt:lpstr>Mining</vt:lpstr>
      <vt:lpstr>Mining</vt:lpstr>
      <vt:lpstr>Mining</vt:lpstr>
      <vt:lpstr>Proof of Work</vt:lpstr>
      <vt:lpstr>Proof of work</vt:lpstr>
      <vt:lpstr>Hash Cryptography: Proof of Work</vt:lpstr>
      <vt:lpstr>How does Bitcoin work</vt:lpstr>
      <vt:lpstr>Mining difficulty</vt:lpstr>
      <vt:lpstr>Mining difficulty</vt:lpstr>
      <vt:lpstr>Mining difficulty</vt:lpstr>
      <vt:lpstr>Why bitcoin needs mining?</vt:lpstr>
      <vt:lpstr>What is proof of work?</vt:lpstr>
      <vt:lpstr>Block reward</vt:lpstr>
      <vt:lpstr>Try some nonces</vt:lpstr>
      <vt:lpstr>Nonce</vt:lpstr>
      <vt:lpstr>Mining details</vt:lpstr>
      <vt:lpstr>Mining Difficulty</vt:lpstr>
      <vt:lpstr>Difficulty,  target, bits</vt:lpstr>
      <vt:lpstr>Target</vt:lpstr>
      <vt:lpstr>Difficulty,  target, bits</vt:lpstr>
      <vt:lpstr>Difficulty,  target, bits</vt:lpstr>
      <vt:lpstr>Difficulty,  target, bits</vt:lpstr>
      <vt:lpstr>Difficulty,  target, bits</vt:lpstr>
      <vt:lpstr>Difficulty and hashrate</vt:lpstr>
      <vt:lpstr>Mining stats</vt:lpstr>
      <vt:lpstr>Modern Monetary System (conventional banking)</vt:lpstr>
      <vt:lpstr>Economics</vt:lpstr>
      <vt:lpstr>Bitcoin Supply and asymptote</vt:lpstr>
      <vt:lpstr>Bitcoin monetary system</vt:lpstr>
      <vt:lpstr>PowerPoint Presentation</vt:lpstr>
      <vt:lpstr>Consensus</vt:lpstr>
      <vt:lpstr>Consensus building</vt:lpstr>
      <vt:lpstr>Consensus</vt:lpstr>
      <vt:lpstr>Chain Fork</vt:lpstr>
      <vt:lpstr>Chain Fork</vt:lpstr>
      <vt:lpstr>When is a transaction confirmed? </vt:lpstr>
      <vt:lpstr>Double Spending</vt:lpstr>
      <vt:lpstr>Bitcoin economy</vt:lpstr>
      <vt:lpstr>Compute average transaction fee</vt:lpstr>
      <vt:lpstr>How to acquire bitcoin*</vt:lpstr>
      <vt:lpstr>Exchanges</vt:lpstr>
      <vt:lpstr>Storing and using bitcoin</vt:lpstr>
      <vt:lpstr>Wallets</vt:lpstr>
      <vt:lpstr>Types of wallets</vt:lpstr>
      <vt:lpstr>Storage</vt:lpstr>
      <vt:lpstr>Bitcoin experiment @ MIT</vt:lpstr>
      <vt:lpstr>Technology Adoption S-curve</vt:lpstr>
      <vt:lpstr>Bitcoin Challenges</vt:lpstr>
      <vt:lpstr>Hype and hope</vt:lpstr>
      <vt:lpstr>Acceptance</vt:lpstr>
      <vt:lpstr>Scalability</vt:lpstr>
      <vt:lpstr>Scalability</vt:lpstr>
      <vt:lpstr>Consensus about protocol rules</vt:lpstr>
      <vt:lpstr>Decentralized consensus</vt:lpstr>
      <vt:lpstr>How to update software</vt:lpstr>
      <vt:lpstr>Software changes/upgrade and consensus</vt:lpstr>
      <vt:lpstr>Software changes/upgrade and consensus</vt:lpstr>
      <vt:lpstr>FORKs</vt:lpstr>
      <vt:lpstr>Upgraded vs non-upgraded nodes</vt:lpstr>
      <vt:lpstr>Soft fork</vt:lpstr>
      <vt:lpstr>Hard fork</vt:lpstr>
      <vt:lpstr>Fungibility</vt:lpstr>
      <vt:lpstr>Attacks and hacks</vt:lpstr>
      <vt:lpstr>So where are Satoshi’s bitcoin?</vt:lpstr>
      <vt:lpstr>Blockchains beyond bitcoin</vt:lpstr>
      <vt:lpstr>PowerPoint Presentation</vt:lpstr>
      <vt:lpstr>Smart Contracts: Ethereum</vt:lpstr>
      <vt:lpstr>Single purpose/multi purpose</vt:lpstr>
      <vt:lpstr>PowerPoint Presentation</vt:lpstr>
      <vt:lpstr>Limitations of bitcoin blockchain</vt:lpstr>
      <vt:lpstr>Ethereum</vt:lpstr>
      <vt:lpstr>Ethereum blockchain</vt:lpstr>
      <vt:lpstr>Bitcoin vs Ethereum</vt:lpstr>
      <vt:lpstr>Ethereum money supply</vt:lpstr>
      <vt:lpstr>Accounts</vt:lpstr>
      <vt:lpstr>State machine</vt:lpstr>
      <vt:lpstr>Language</vt:lpstr>
      <vt:lpstr>High level language</vt:lpstr>
      <vt:lpstr>Gas</vt:lpstr>
      <vt:lpstr>Smart contract</vt:lpstr>
      <vt:lpstr>Use Cases of Blockchain</vt:lpstr>
      <vt:lpstr>Altcoins</vt:lpstr>
      <vt:lpstr>Blockchain in Financial Institutions</vt:lpstr>
      <vt:lpstr>Blockchain as a permanent record of assets</vt:lpstr>
      <vt:lpstr>Everledger (diamond (on a blockchain) is forever)</vt:lpstr>
      <vt:lpstr>Disintermediation</vt:lpstr>
      <vt:lpstr>Blockchain for people</vt:lpstr>
      <vt:lpstr>Blockchain for government</vt:lpstr>
      <vt:lpstr>Enterprise Blockchain </vt:lpstr>
      <vt:lpstr>PowerPoint Presentation</vt:lpstr>
      <vt:lpstr>PowerPoint Presentation</vt:lpstr>
      <vt:lpstr>TrueRec</vt:lpstr>
      <vt:lpstr>TrueRec</vt:lpstr>
      <vt:lpstr>How TrueRec works – Example Employment Verification</vt:lpstr>
      <vt:lpstr>Hyperledger – SAP a Premier Member</vt:lpstr>
      <vt:lpstr>PowerPoint Presentation</vt:lpstr>
      <vt:lpstr>PowerPoint Presentation</vt:lpstr>
      <vt:lpstr>PowerPoint Presentation</vt:lpstr>
      <vt:lpstr>Final Thoughts</vt:lpstr>
      <vt:lpstr>Learn More</vt:lpstr>
      <vt:lpstr>Test your knowledge</vt:lpstr>
      <vt:lpstr>And now … the prize!</vt:lpstr>
      <vt:lpstr>Wrap up</vt:lpstr>
      <vt:lpstr>Thank You!   </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SE</dc:creator>
  <cp:keywords>2016/16:9/black</cp:keywords>
  <cp:lastModifiedBy>Nitin Kale</cp:lastModifiedBy>
  <cp:revision>352</cp:revision>
  <dcterms:created xsi:type="dcterms:W3CDTF">2017-05-24T17:04:43Z</dcterms:created>
  <dcterms:modified xsi:type="dcterms:W3CDTF">2018-02-01T03: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06307747</vt:i4>
  </property>
  <property fmtid="{D5CDD505-2E9C-101B-9397-08002B2CF9AE}" pid="3" name="_NewReviewCycle">
    <vt:lpwstr/>
  </property>
  <property fmtid="{D5CDD505-2E9C-101B-9397-08002B2CF9AE}" pid="4" name="_EmailSubject">
    <vt:lpwstr>Ann, for approval: Speaker ppt template for AC</vt:lpwstr>
  </property>
  <property fmtid="{D5CDD505-2E9C-101B-9397-08002B2CF9AE}" pid="5" name="_AuthorEmail">
    <vt:lpwstr>john.baxter@sap.com</vt:lpwstr>
  </property>
  <property fmtid="{D5CDD505-2E9C-101B-9397-08002B2CF9AE}" pid="6" name="_AuthorEmailDisplayName">
    <vt:lpwstr>Baxter, John</vt:lpwstr>
  </property>
  <property fmtid="{D5CDD505-2E9C-101B-9397-08002B2CF9AE}" pid="7" name="_PreviousAdHocReviewCycleID">
    <vt:i4>1357826825</vt:i4>
  </property>
</Properties>
</file>